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1.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8" r:id="rId2"/>
    <p:sldMasterId id="2147483722" r:id="rId3"/>
    <p:sldMasterId id="2147483735" r:id="rId4"/>
    <p:sldMasterId id="2147483817" r:id="rId5"/>
    <p:sldMasterId id="2147483829" r:id="rId6"/>
    <p:sldMasterId id="2147483922" r:id="rId7"/>
    <p:sldMasterId id="2147483960" r:id="rId8"/>
    <p:sldMasterId id="2147483974" r:id="rId9"/>
    <p:sldMasterId id="2147483985" r:id="rId10"/>
    <p:sldMasterId id="2147484013" r:id="rId11"/>
    <p:sldMasterId id="2147484031" r:id="rId12"/>
  </p:sldMasterIdLst>
  <p:notesMasterIdLst>
    <p:notesMasterId r:id="rId56"/>
  </p:notesMasterIdLst>
  <p:sldIdLst>
    <p:sldId id="482" r:id="rId13"/>
    <p:sldId id="505" r:id="rId14"/>
    <p:sldId id="501" r:id="rId15"/>
    <p:sldId id="269" r:id="rId16"/>
    <p:sldId id="312" r:id="rId17"/>
    <p:sldId id="313" r:id="rId18"/>
    <p:sldId id="361" r:id="rId19"/>
    <p:sldId id="362" r:id="rId20"/>
    <p:sldId id="273" r:id="rId21"/>
    <p:sldId id="503" r:id="rId22"/>
    <p:sldId id="353" r:id="rId23"/>
    <p:sldId id="506" r:id="rId24"/>
    <p:sldId id="484" r:id="rId25"/>
    <p:sldId id="370" r:id="rId26"/>
    <p:sldId id="344" r:id="rId27"/>
    <p:sldId id="492" r:id="rId28"/>
    <p:sldId id="493" r:id="rId29"/>
    <p:sldId id="494" r:id="rId30"/>
    <p:sldId id="495" r:id="rId31"/>
    <p:sldId id="507" r:id="rId32"/>
    <p:sldId id="261" r:id="rId33"/>
    <p:sldId id="485" r:id="rId34"/>
    <p:sldId id="488" r:id="rId35"/>
    <p:sldId id="491" r:id="rId36"/>
    <p:sldId id="487" r:id="rId37"/>
    <p:sldId id="327" r:id="rId38"/>
    <p:sldId id="500" r:id="rId39"/>
    <p:sldId id="333" r:id="rId40"/>
    <p:sldId id="490" r:id="rId41"/>
    <p:sldId id="489" r:id="rId42"/>
    <p:sldId id="517" r:id="rId43"/>
    <p:sldId id="508" r:id="rId44"/>
    <p:sldId id="509" r:id="rId45"/>
    <p:sldId id="510" r:id="rId46"/>
    <p:sldId id="511" r:id="rId47"/>
    <p:sldId id="512" r:id="rId48"/>
    <p:sldId id="513" r:id="rId49"/>
    <p:sldId id="514" r:id="rId50"/>
    <p:sldId id="515" r:id="rId51"/>
    <p:sldId id="516" r:id="rId52"/>
    <p:sldId id="498" r:id="rId53"/>
    <p:sldId id="496" r:id="rId54"/>
    <p:sldId id="504" r:id="rId55"/>
  </p:sldIdLst>
  <p:sldSz cx="9144000" cy="6858000" type="screen4x3"/>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DED2FE"/>
    <a:srgbClr val="EEECE1"/>
    <a:srgbClr val="FF00FF"/>
    <a:srgbClr val="00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3119" autoAdjust="0"/>
  </p:normalViewPr>
  <p:slideViewPr>
    <p:cSldViewPr>
      <p:cViewPr varScale="1">
        <p:scale>
          <a:sx n="108" d="100"/>
          <a:sy n="108" d="100"/>
        </p:scale>
        <p:origin x="1710" y="96"/>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54" Type="http://schemas.openxmlformats.org/officeDocument/2006/relationships/slide" Target="slides/slide4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D57FC65-5319-4736-821B-8F764B7E382F}" type="datetimeFigureOut">
              <a:rPr lang="it-IT" smtClean="0"/>
              <a:pPr/>
              <a:t>18/05/2017</a:t>
            </a:fld>
            <a:endParaRPr lang="it-IT"/>
          </a:p>
        </p:txBody>
      </p:sp>
      <p:sp>
        <p:nvSpPr>
          <p:cNvPr id="4" name="Segnaposto immagin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C21F318-FDEE-46D1-BF76-899BF0046150}" type="slidenum">
              <a:rPr lang="it-IT" smtClean="0"/>
              <a:pPr/>
              <a:t>‹N›</a:t>
            </a:fld>
            <a:endParaRPr lang="it-IT"/>
          </a:p>
        </p:txBody>
      </p:sp>
    </p:spTree>
    <p:extLst>
      <p:ext uri="{BB962C8B-B14F-4D97-AF65-F5344CB8AC3E}">
        <p14:creationId xmlns:p14="http://schemas.microsoft.com/office/powerpoint/2010/main" val="13861131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685800"/>
            <a:ext cx="4575175" cy="3430588"/>
          </a:xfrm>
        </p:spPr>
      </p:sp>
      <p:sp>
        <p:nvSpPr>
          <p:cNvPr id="3" name="Notes Placeholder 2"/>
          <p:cNvSpPr>
            <a:spLocks noGrp="1"/>
          </p:cNvSpPr>
          <p:nvPr>
            <p:ph type="body" idx="1"/>
          </p:nvPr>
        </p:nvSpPr>
        <p:spPr/>
        <p:txBody>
          <a:bodyPr>
            <a:normAutofit/>
          </a:bodyPr>
          <a:lstStyle/>
          <a:p>
            <a:r>
              <a:rPr lang="it-IT" dirty="0" smtClean="0"/>
              <a:t>Ci sono vari sistemi in cui gli osteoblasti attivano gli osteoclasti. Uno è anche una molecola di adesione che richiama </a:t>
            </a:r>
            <a:r>
              <a:rPr lang="it-IT" dirty="0" err="1" smtClean="0"/>
              <a:t>immunociti</a:t>
            </a:r>
            <a:r>
              <a:rPr lang="it-IT" dirty="0" smtClean="0"/>
              <a:t> dal circolo e il </a:t>
            </a:r>
            <a:r>
              <a:rPr lang="it-IT" dirty="0" err="1" smtClean="0"/>
              <a:t>rank</a:t>
            </a:r>
            <a:r>
              <a:rPr lang="it-IT" baseline="0" dirty="0" smtClean="0"/>
              <a:t> è importante per attivare gli osteoclasti.</a:t>
            </a:r>
          </a:p>
          <a:p>
            <a:r>
              <a:rPr lang="it-IT" baseline="0" dirty="0" smtClean="0"/>
              <a:t>Ma il </a:t>
            </a:r>
            <a:r>
              <a:rPr lang="it-IT" baseline="0" dirty="0" err="1" smtClean="0"/>
              <a:t>rank</a:t>
            </a:r>
            <a:r>
              <a:rPr lang="it-IT" baseline="0" dirty="0" smtClean="0"/>
              <a:t> L è anche un potente </a:t>
            </a:r>
            <a:r>
              <a:rPr lang="it-IT" baseline="0" dirty="0" err="1" smtClean="0"/>
              <a:t>chemiotattico</a:t>
            </a:r>
            <a:r>
              <a:rPr lang="it-IT" baseline="0" dirty="0" smtClean="0"/>
              <a:t>, per gli osteoclasti e per le cellule neoplastiche. Le cellule neoplastiche sono in grado di esprimere, tra le varie cose, anche il </a:t>
            </a:r>
            <a:r>
              <a:rPr lang="it-IT" baseline="0" dirty="0" err="1" smtClean="0"/>
              <a:t>rank</a:t>
            </a:r>
            <a:r>
              <a:rPr lang="it-IT" baseline="0" dirty="0" smtClean="0"/>
              <a:t>, esattamente come i precursori degli osteoclasti. Dunque, una condizione di osso che esprima tanto </a:t>
            </a:r>
            <a:r>
              <a:rPr lang="it-IT" baseline="0" dirty="0" err="1" smtClean="0"/>
              <a:t>rank</a:t>
            </a:r>
            <a:r>
              <a:rPr lang="it-IT" baseline="0" dirty="0" smtClean="0"/>
              <a:t> porterà ad una condizione favorente la penetrazione e l’</a:t>
            </a:r>
            <a:r>
              <a:rPr lang="it-IT" baseline="0" dirty="0" err="1" smtClean="0"/>
              <a:t>homing</a:t>
            </a:r>
            <a:r>
              <a:rPr lang="it-IT" baseline="0" dirty="0" smtClean="0"/>
              <a:t> delle cellule neoplastiche.</a:t>
            </a:r>
          </a:p>
          <a:p>
            <a:r>
              <a:rPr lang="it-IT" baseline="0" dirty="0" smtClean="0"/>
              <a:t>Il bersaglio </a:t>
            </a:r>
            <a:r>
              <a:rPr lang="it-IT" baseline="0" dirty="0" err="1" smtClean="0"/>
              <a:t>rank</a:t>
            </a:r>
            <a:r>
              <a:rPr lang="it-IT" baseline="0" dirty="0" smtClean="0"/>
              <a:t> L diventa importante non solo nel bloccare l’attività </a:t>
            </a:r>
            <a:r>
              <a:rPr lang="it-IT" baseline="0" dirty="0" err="1" smtClean="0"/>
              <a:t>osteoclastica</a:t>
            </a:r>
            <a:r>
              <a:rPr lang="it-IT" baseline="0" dirty="0" smtClean="0"/>
              <a:t> attiva ma anche nel prevenire la penetrazione delle cellule neoplastiche con la determinazione della nicchia </a:t>
            </a:r>
            <a:r>
              <a:rPr lang="it-IT" baseline="0" dirty="0" err="1" smtClean="0"/>
              <a:t>pre-metastatica</a:t>
            </a:r>
            <a:r>
              <a:rPr lang="it-IT" baseline="0" dirty="0" smtClean="0"/>
              <a:t>.  </a:t>
            </a:r>
            <a:r>
              <a:rPr lang="it-IT" dirty="0" smtClean="0"/>
              <a:t> </a:t>
            </a:r>
            <a:endParaRPr lang="it-IT" dirty="0"/>
          </a:p>
        </p:txBody>
      </p:sp>
      <p:sp>
        <p:nvSpPr>
          <p:cNvPr id="4" name="Slide Number Placeholder 3"/>
          <p:cNvSpPr>
            <a:spLocks noGrp="1"/>
          </p:cNvSpPr>
          <p:nvPr>
            <p:ph type="sldNum" sz="quarter" idx="10"/>
          </p:nvPr>
        </p:nvSpPr>
        <p:spPr/>
        <p:txBody>
          <a:bodyPr/>
          <a:lstStyle/>
          <a:p>
            <a:pPr>
              <a:defRPr/>
            </a:pPr>
            <a:fld id="{CED6651E-A1BE-4BAD-AD18-06B0A36DE772}" type="slidenum">
              <a:rPr lang="en-US" smtClean="0"/>
              <a:pPr>
                <a:defRPr/>
              </a:pPr>
              <a:t>14</a:t>
            </a:fld>
            <a:endParaRPr lang="en-US"/>
          </a:p>
        </p:txBody>
      </p:sp>
    </p:spTree>
    <p:extLst>
      <p:ext uri="{BB962C8B-B14F-4D97-AF65-F5344CB8AC3E}">
        <p14:creationId xmlns:p14="http://schemas.microsoft.com/office/powerpoint/2010/main" val="3339616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6834" name="Segnaposto immagine diapositiva 1"/>
          <p:cNvSpPr>
            <a:spLocks noGrp="1" noRot="1" noChangeAspect="1" noTextEdit="1"/>
          </p:cNvSpPr>
          <p:nvPr>
            <p:ph type="sldImg"/>
          </p:nvPr>
        </p:nvSpPr>
        <p:spPr>
          <a:ln/>
        </p:spPr>
      </p:sp>
      <p:sp>
        <p:nvSpPr>
          <p:cNvPr id="1016835" name="Segnaposto note 2"/>
          <p:cNvSpPr>
            <a:spLocks noGrp="1"/>
          </p:cNvSpPr>
          <p:nvPr>
            <p:ph type="body" idx="1"/>
          </p:nvPr>
        </p:nvSpPr>
        <p:spPr>
          <a:noFill/>
          <a:ln/>
        </p:spPr>
        <p:txBody>
          <a:bodyPr/>
          <a:lstStyle/>
          <a:p>
            <a:r>
              <a:rPr lang="it-IT" smtClean="0"/>
              <a:t>And engage the same  molecular pathway that osteoclast precursor and actve osteclasts</a:t>
            </a:r>
          </a:p>
        </p:txBody>
      </p:sp>
      <p:sp>
        <p:nvSpPr>
          <p:cNvPr id="1016836" name="Segnaposto numero diapositiva 3"/>
          <p:cNvSpPr>
            <a:spLocks noGrp="1"/>
          </p:cNvSpPr>
          <p:nvPr>
            <p:ph type="sldNum" sz="quarter" idx="5"/>
          </p:nvPr>
        </p:nvSpPr>
        <p:spPr>
          <a:noFill/>
        </p:spPr>
        <p:txBody>
          <a:bodyPr/>
          <a:lstStyle/>
          <a:p>
            <a:fld id="{D5E8674A-2FFB-4F59-8985-7ECBA0BAC3A3}" type="slidenum">
              <a:rPr lang="it-IT">
                <a:solidFill>
                  <a:prstClr val="black"/>
                </a:solidFill>
              </a:rPr>
              <a:pPr/>
              <a:t>15</a:t>
            </a:fld>
            <a:endParaRPr lang="it-IT">
              <a:solidFill>
                <a:prstClr val="black"/>
              </a:solidFill>
            </a:endParaRPr>
          </a:p>
        </p:txBody>
      </p:sp>
    </p:spTree>
    <p:extLst>
      <p:ext uri="{BB962C8B-B14F-4D97-AF65-F5344CB8AC3E}">
        <p14:creationId xmlns:p14="http://schemas.microsoft.com/office/powerpoint/2010/main" val="2443331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Number Placeholder 7"/>
          <p:cNvSpPr>
            <a:spLocks noGrp="1" noChangeArrowheads="1"/>
          </p:cNvSpPr>
          <p:nvPr>
            <p:ph type="sldNum" sz="quarter" idx="5"/>
          </p:nvPr>
        </p:nvSpPr>
        <p:spPr>
          <a:noFill/>
          <a:ln>
            <a:miter lim="800000"/>
            <a:headEnd/>
            <a:tailEnd/>
          </a:ln>
        </p:spPr>
        <p:txBody>
          <a:bodyPr/>
          <a:lstStyle/>
          <a:p>
            <a:fld id="{63B6C5D1-029B-4519-AFDC-671502ECA86E}" type="slidenum">
              <a:rPr lang="it-IT" smtClean="0">
                <a:latin typeface="Arial" charset="0"/>
                <a:ea typeface="ＭＳ Ｐゴシック"/>
                <a:cs typeface="ＭＳ Ｐゴシック"/>
              </a:rPr>
              <a:pPr/>
              <a:t>16</a:t>
            </a:fld>
            <a:endParaRPr lang="it-IT" smtClean="0">
              <a:latin typeface="Arial" charset="0"/>
              <a:ea typeface="ＭＳ Ｐゴシック"/>
              <a:cs typeface="ＭＳ Ｐゴシック"/>
            </a:endParaRPr>
          </a:p>
        </p:txBody>
      </p:sp>
      <p:sp>
        <p:nvSpPr>
          <p:cNvPr id="41986"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87401A61-220B-4570-BB7B-3FF9C8A42A98}" type="slidenum">
              <a:rPr lang="it-IT" sz="1200"/>
              <a:pPr algn="r"/>
              <a:t>16</a:t>
            </a:fld>
            <a:endParaRPr lang="it-IT" sz="1200"/>
          </a:p>
        </p:txBody>
      </p:sp>
      <p:sp>
        <p:nvSpPr>
          <p:cNvPr id="41987" name="Rectangle 2"/>
          <p:cNvSpPr>
            <a:spLocks noGrp="1" noRot="1" noChangeAspect="1" noChangeArrowheads="1" noTextEdit="1"/>
          </p:cNvSpPr>
          <p:nvPr>
            <p:ph type="sldImg"/>
          </p:nvPr>
        </p:nvSpPr>
        <p:spPr>
          <a:xfrm>
            <a:off x="1166813" y="285750"/>
            <a:ext cx="4533900" cy="3400425"/>
          </a:xfrm>
          <a:ln/>
        </p:spPr>
      </p:sp>
      <p:sp>
        <p:nvSpPr>
          <p:cNvPr id="41988" name="Rectangle 3"/>
          <p:cNvSpPr>
            <a:spLocks noGrp="1" noChangeArrowheads="1"/>
          </p:cNvSpPr>
          <p:nvPr>
            <p:ph type="body" idx="1"/>
          </p:nvPr>
        </p:nvSpPr>
        <p:spPr>
          <a:xfrm>
            <a:off x="376238" y="4011613"/>
            <a:ext cx="5953125" cy="4751387"/>
          </a:xfrm>
          <a:noFill/>
        </p:spPr>
        <p:txBody>
          <a:bodyPr/>
          <a:lstStyle/>
          <a:p>
            <a:pPr marL="285750" eaLnBrk="1" hangingPunct="1"/>
            <a:r>
              <a:rPr lang="en-US" sz="1000" smtClean="0">
                <a:ea typeface="ＭＳ Ｐゴシック"/>
              </a:rPr>
              <a:t>In animal models with intracardiac injection of human MDA-231 breast cancer cells, the ability of OPG to inhibit tumor-induced osteoclastogenesis, and osteolysis was evaluated.</a:t>
            </a:r>
            <a:r>
              <a:rPr lang="en-US" sz="1000" baseline="30000" smtClean="0">
                <a:ea typeface="ＭＳ Ｐゴシック"/>
              </a:rPr>
              <a:t>1</a:t>
            </a:r>
            <a:r>
              <a:rPr lang="en-US" sz="1000" smtClean="0">
                <a:ea typeface="ＭＳ Ｐゴシック"/>
              </a:rPr>
              <a:t>  The injection of MDA-231 breast cancer cells into the left ventricle of nude mice resulted in experimental bone metastases that were associated with osteolytic lesions.  Mice were treated with OPG (at the indicated doses, 3 times per week for 4 weeks) starting immediately after tumor cell inoculation. RANK Ligand inhibition with OPG dose-dependently decreased the number and area of radiographically evident lytic bone lesions.</a:t>
            </a:r>
            <a:r>
              <a:rPr lang="en-US" sz="1000" baseline="30000" smtClean="0">
                <a:ea typeface="ＭＳ Ｐゴシック"/>
              </a:rPr>
              <a:t>1</a:t>
            </a:r>
            <a:r>
              <a:rPr lang="en-US" sz="1000" smtClean="0">
                <a:ea typeface="ＭＳ Ｐゴシック"/>
              </a:rPr>
              <a:t> OPG treatment at the highest doses completely prevented the radiographic appearance of osteolytic lesions (right radiograph). In the animals treated with OPG,</a:t>
            </a:r>
            <a:r>
              <a:rPr lang="en-US" sz="1000" i="1" smtClean="0">
                <a:ea typeface="ＭＳ Ｐゴシック"/>
              </a:rPr>
              <a:t> </a:t>
            </a:r>
            <a:r>
              <a:rPr lang="en-US" sz="1000" smtClean="0">
                <a:ea typeface="ＭＳ Ｐゴシック"/>
              </a:rPr>
              <a:t>note the increased radio-opacity of the tibial and femoral metaphyseal growth plate region associated with OPG treatment. This increase is a normal pharmacological response to OPG treatment by growing mice, whereby resorption of the secondary spongiosa is inhibited, and trabecular bone accumulates. RANK Ligand inhibition was also observed to significantly decrease the number of osteoclasts within the tumor, with a maximal reduction of 90% at 3 mg/kg (</a:t>
            </a:r>
            <a:r>
              <a:rPr lang="en-US" sz="1000" i="1" smtClean="0">
                <a:ea typeface="ＭＳ Ｐゴシック"/>
              </a:rPr>
              <a:t>P </a:t>
            </a:r>
            <a:r>
              <a:rPr lang="en-US" sz="1000" i="1" smtClean="0">
                <a:ea typeface="ＭＳ Ｐゴシック"/>
                <a:cs typeface="Times New Roman" pitchFamily="18" charset="0"/>
              </a:rPr>
              <a:t>&lt;</a:t>
            </a:r>
            <a:r>
              <a:rPr lang="en-US" sz="1000" smtClean="0">
                <a:ea typeface="ＭＳ Ｐゴシック"/>
              </a:rPr>
              <a:t> 0.01). In this model of experimental bone metastases, RANK Ligand inhibition was associated with significant reductions in both the frequency and the size of skeletal tumor nests and in preventing tumor-associated osteolysis.</a:t>
            </a:r>
            <a:r>
              <a:rPr lang="en-US" sz="1000" baseline="30000" smtClean="0">
                <a:ea typeface="ＭＳ Ｐゴシック"/>
              </a:rPr>
              <a:t>1</a:t>
            </a:r>
          </a:p>
          <a:p>
            <a:pPr marL="285750" eaLnBrk="1" hangingPunct="1"/>
            <a:endParaRPr lang="en-US" sz="1000" baseline="30000" smtClean="0">
              <a:ea typeface="ＭＳ Ｐゴシック"/>
            </a:endParaRPr>
          </a:p>
          <a:p>
            <a:pPr marL="285750" eaLnBrk="1" hangingPunct="1">
              <a:buFontTx/>
              <a:buAutoNum type="arabicPeriod"/>
            </a:pPr>
            <a:r>
              <a:rPr lang="en-US" sz="800" smtClean="0">
                <a:ea typeface="ＭＳ Ｐゴシック"/>
              </a:rPr>
              <a:t>Morony S, et al. Osteoprotegerin Inhibits Osteolysis and Decreases Skeletal Tumor Burden in Syngeneic and Nude Mouse Models of Experimental Bone Metastasis. </a:t>
            </a:r>
            <a:r>
              <a:rPr lang="en-US" sz="800" i="1" smtClean="0">
                <a:ea typeface="ＭＳ Ｐゴシック"/>
              </a:rPr>
              <a:t>Cancer Res</a:t>
            </a:r>
            <a:r>
              <a:rPr lang="en-US" sz="800" smtClean="0">
                <a:ea typeface="ＭＳ Ｐゴシック"/>
              </a:rPr>
              <a:t>.  2001;61:4432-6.</a:t>
            </a:r>
          </a:p>
          <a:p>
            <a:pPr marL="285750" eaLnBrk="1" hangingPunct="1"/>
            <a:endParaRPr lang="en-US" sz="800" smtClean="0">
              <a:latin typeface="Times New Roman" pitchFamily="18" charset="0"/>
              <a:ea typeface="ＭＳ Ｐゴシック"/>
            </a:endParaRPr>
          </a:p>
          <a:p>
            <a:pPr marL="285750" eaLnBrk="1" hangingPunct="1"/>
            <a:endParaRPr lang="en-US" sz="800" smtClean="0">
              <a:latin typeface="Times New Roman" pitchFamily="18" charset="0"/>
              <a:ea typeface="ＭＳ Ｐゴシック"/>
            </a:endParaRPr>
          </a:p>
          <a:p>
            <a:pPr marL="285750" eaLnBrk="1" hangingPunct="1"/>
            <a:endParaRPr lang="en-US" sz="800" smtClean="0">
              <a:ea typeface="ＭＳ Ｐゴシック"/>
            </a:endParaRPr>
          </a:p>
          <a:p>
            <a:pPr marL="285750" eaLnBrk="1" hangingPunct="1">
              <a:buFontTx/>
              <a:buAutoNum type="arabicPeriod"/>
            </a:pPr>
            <a:endParaRPr lang="en-US" sz="800" smtClean="0">
              <a:ea typeface="ＭＳ Ｐゴシック"/>
            </a:endParaRPr>
          </a:p>
          <a:p>
            <a:pPr marL="285750" eaLnBrk="1" hangingPunct="1">
              <a:buFontTx/>
              <a:buAutoNum type="arabicPeriod"/>
            </a:pPr>
            <a:endParaRPr lang="en-US" sz="1000" smtClean="0">
              <a:latin typeface="Times New Roman" pitchFamily="18" charset="0"/>
              <a:ea typeface="ＭＳ Ｐゴシック"/>
            </a:endParaRPr>
          </a:p>
          <a:p>
            <a:pPr marL="571500" lvl="1" eaLnBrk="1" hangingPunct="1"/>
            <a:endParaRPr lang="en-US" sz="1000" smtClean="0">
              <a:latin typeface="Times New Roman" pitchFamily="18" charset="0"/>
              <a:ea typeface="ＭＳ Ｐゴシック"/>
            </a:endParaRPr>
          </a:p>
          <a:p>
            <a:pPr marL="285750" eaLnBrk="1" hangingPunct="1"/>
            <a:endParaRPr lang="en-US" sz="1000" smtClean="0">
              <a:latin typeface="Times New Roman" pitchFamily="18" charset="0"/>
              <a:ea typeface="ＭＳ Ｐゴシック"/>
            </a:endParaRPr>
          </a:p>
          <a:p>
            <a:pPr marL="285750" eaLnBrk="1" hangingPunct="1"/>
            <a:endParaRPr lang="en-US" sz="1000" smtClean="0">
              <a:latin typeface="Times New Roman" pitchFamily="18" charset="0"/>
              <a:ea typeface="ＭＳ Ｐゴシック"/>
            </a:endParaRPr>
          </a:p>
        </p:txBody>
      </p:sp>
    </p:spTree>
    <p:extLst>
      <p:ext uri="{BB962C8B-B14F-4D97-AF65-F5344CB8AC3E}">
        <p14:creationId xmlns:p14="http://schemas.microsoft.com/office/powerpoint/2010/main" val="186146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Number Placeholder 7"/>
          <p:cNvSpPr>
            <a:spLocks noGrp="1" noChangeArrowheads="1"/>
          </p:cNvSpPr>
          <p:nvPr>
            <p:ph type="sldNum" sz="quarter" idx="5"/>
          </p:nvPr>
        </p:nvSpPr>
        <p:spPr>
          <a:noFill/>
          <a:ln>
            <a:miter lim="800000"/>
            <a:headEnd/>
            <a:tailEnd/>
          </a:ln>
        </p:spPr>
        <p:txBody>
          <a:bodyPr/>
          <a:lstStyle/>
          <a:p>
            <a:fld id="{0CF10E3B-9850-418E-9B97-011A1622193F}" type="slidenum">
              <a:rPr lang="it-IT" smtClean="0">
                <a:latin typeface="Arial" charset="0"/>
                <a:ea typeface="ＭＳ Ｐゴシック"/>
                <a:cs typeface="ＭＳ Ｐゴシック"/>
              </a:rPr>
              <a:pPr/>
              <a:t>17</a:t>
            </a:fld>
            <a:endParaRPr lang="it-IT" smtClean="0">
              <a:latin typeface="Arial" charset="0"/>
              <a:ea typeface="ＭＳ Ｐゴシック"/>
              <a:cs typeface="ＭＳ Ｐゴシック"/>
            </a:endParaRPr>
          </a:p>
        </p:txBody>
      </p:sp>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p:spPr>
        <p:txBody>
          <a:bodyPr/>
          <a:lstStyle/>
          <a:p>
            <a:pPr marL="171450" indent="-171450" eaLnBrk="1" hangingPunct="1">
              <a:spcBef>
                <a:spcPct val="0"/>
              </a:spcBef>
            </a:pPr>
            <a:r>
              <a:rPr lang="en-GB" sz="1100" smtClean="0">
                <a:ea typeface="ＭＳ Ｐゴシック"/>
              </a:rPr>
              <a:t>Analysis of 295 primary breast cancer tissues from the Netherlands Cancer Institute (NKI) microarray dataset showed that patients with low RANK expression had better disease-free survival (P = 0.059) and statistically significantly improved overall survival (P = 0.0078) compared with patients with high RANK expression.</a:t>
            </a:r>
            <a:r>
              <a:rPr lang="en-GB" sz="1100" baseline="30000" smtClean="0">
                <a:ea typeface="ＭＳ Ｐゴシック"/>
              </a:rPr>
              <a:t>1</a:t>
            </a:r>
          </a:p>
          <a:p>
            <a:pPr marL="171450" indent="-171450" eaLnBrk="1" hangingPunct="1">
              <a:spcBef>
                <a:spcPct val="0"/>
              </a:spcBef>
            </a:pPr>
            <a:endParaRPr lang="en-GB" sz="1100" smtClean="0">
              <a:ea typeface="ＭＳ Ｐゴシック"/>
            </a:endParaRPr>
          </a:p>
          <a:p>
            <a:pPr marL="171450" indent="-171450" eaLnBrk="1" hangingPunct="1">
              <a:spcBef>
                <a:spcPct val="0"/>
              </a:spcBef>
            </a:pPr>
            <a:r>
              <a:rPr lang="en-GB" sz="1100" b="1" smtClean="0">
                <a:ea typeface="ＭＳ Ｐゴシック"/>
              </a:rPr>
              <a:t>Reference</a:t>
            </a:r>
          </a:p>
          <a:p>
            <a:pPr marL="171450" indent="-171450" eaLnBrk="1" hangingPunct="1">
              <a:spcBef>
                <a:spcPct val="0"/>
              </a:spcBef>
              <a:buFont typeface="Calibri" pitchFamily="34" charset="0"/>
              <a:buNone/>
            </a:pPr>
            <a:r>
              <a:rPr lang="en-GB" sz="1100" smtClean="0">
                <a:ea typeface="ＭＳ Ｐゴシック"/>
              </a:rPr>
              <a:t>Santini D, Schiavon G, Vincenzi B, et al. Receptor activator of NF-kB (RANK) expression in primary tumors associates with bone metastasis occurrence in breast cancer patients. PLoS One 2011;6:e19234.</a:t>
            </a:r>
          </a:p>
        </p:txBody>
      </p:sp>
      <p:sp>
        <p:nvSpPr>
          <p:cNvPr id="44036"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anchor="b"/>
          <a:lstStyle/>
          <a:p>
            <a:pPr algn="r"/>
            <a:fld id="{6CAB6F2F-8004-48B8-9475-E04058957EFB}" type="slidenum">
              <a:rPr lang="en-US" sz="1200">
                <a:latin typeface="Calibri" pitchFamily="34" charset="0"/>
              </a:rPr>
              <a:pPr algn="r"/>
              <a:t>17</a:t>
            </a:fld>
            <a:endParaRPr lang="en-US" sz="1200">
              <a:latin typeface="Calibri" pitchFamily="34" charset="0"/>
            </a:endParaRPr>
          </a:p>
        </p:txBody>
      </p:sp>
    </p:spTree>
    <p:extLst>
      <p:ext uri="{BB962C8B-B14F-4D97-AF65-F5344CB8AC3E}">
        <p14:creationId xmlns:p14="http://schemas.microsoft.com/office/powerpoint/2010/main" val="4090829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just" eaLnBrk="1" hangingPunct="1">
              <a:lnSpc>
                <a:spcPct val="110000"/>
              </a:lnSpc>
              <a:spcBef>
                <a:spcPct val="0"/>
              </a:spcBef>
            </a:pPr>
            <a:r>
              <a:rPr lang="en-US" altLang="it-IT" smtClean="0">
                <a:solidFill>
                  <a:srgbClr val="000000"/>
                </a:solidFill>
              </a:rPr>
              <a:t>CTCs immunostaining: analysis of five rare cells (event #: 30, 65, 71, 79, 85) in a blood sample of a metastatic breast cancer patient (MBC) using an Analyzer II device. Horizontally, the photos show the same cell, imaged separately, and stained for different fluorophores: [1] combination of DAPI (violet, nucleated cells) and CK-FLU (green, epithelial marker), [2] CK-FLU only; [3] DAPI only, [4] CD45-APC only (specificity control), [5] RANK-PE only (osteotropic marker). The orange squares indicate positively stained cells both for DAPI and CK, blu squares show RANK positive cells; both dim and strong CK staining are presented. Based on RANK staining profile (sufficient signal relative to background), event # 30 and # 65 are classified as RANK-positive CTCs. </a:t>
            </a:r>
          </a:p>
          <a:p>
            <a:pPr eaLnBrk="1" hangingPunct="1"/>
            <a:endParaRPr lang="it-IT" altLang="it-IT" smtClean="0"/>
          </a:p>
        </p:txBody>
      </p:sp>
    </p:spTree>
    <p:extLst>
      <p:ext uri="{BB962C8B-B14F-4D97-AF65-F5344CB8AC3E}">
        <p14:creationId xmlns:p14="http://schemas.microsoft.com/office/powerpoint/2010/main" val="2169938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noTextEdit="1"/>
          </p:cNvSpPr>
          <p:nvPr>
            <p:ph type="sldImg"/>
          </p:nvPr>
        </p:nvSpPr>
        <p:spPr>
          <a:ln/>
        </p:spPr>
      </p:sp>
      <p:sp>
        <p:nvSpPr>
          <p:cNvPr id="20482" name="Notes Placeholder 2"/>
          <p:cNvSpPr>
            <a:spLocks noGrp="1"/>
          </p:cNvSpPr>
          <p:nvPr>
            <p:ph type="body" idx="1"/>
          </p:nvPr>
        </p:nvSpPr>
        <p:spPr>
          <a:noFill/>
        </p:spPr>
        <p:txBody>
          <a:bodyPr/>
          <a:lstStyle/>
          <a:p>
            <a:endParaRPr lang="it-IT" smtClean="0">
              <a:ea typeface="ＭＳ Ｐゴシック"/>
            </a:endParaRPr>
          </a:p>
        </p:txBody>
      </p:sp>
      <p:sp>
        <p:nvSpPr>
          <p:cNvPr id="4" name="Slide Number Placeholder 3"/>
          <p:cNvSpPr txBox="1">
            <a:spLocks noGrp="1"/>
          </p:cNvSpPr>
          <p:nvPr/>
        </p:nvSpPr>
        <p:spPr>
          <a:xfrm>
            <a:off x="3884613" y="8685213"/>
            <a:ext cx="2971800" cy="457200"/>
          </a:xfrm>
          <a:prstGeom prst="rect">
            <a:avLst/>
          </a:prstGeom>
          <a:noFill/>
        </p:spPr>
        <p:txBody>
          <a:bodyPr anchor="b"/>
          <a:lstStyle/>
          <a:p>
            <a:pPr algn="r" fontAlgn="auto">
              <a:spcBef>
                <a:spcPts val="0"/>
              </a:spcBef>
              <a:spcAft>
                <a:spcPts val="0"/>
              </a:spcAft>
              <a:defRPr/>
            </a:pPr>
            <a:fld id="{E77497AB-6470-4C42-ACEA-961934D8BBDE}" type="slidenum">
              <a:rPr lang="en-US" sz="1200">
                <a:latin typeface="+mn-lt"/>
                <a:ea typeface="+mn-ea"/>
                <a:cs typeface="+mn-cs"/>
              </a:rPr>
              <a:pPr algn="r" fontAlgn="auto">
                <a:spcBef>
                  <a:spcPts val="0"/>
                </a:spcBef>
                <a:spcAft>
                  <a:spcPts val="0"/>
                </a:spcAft>
                <a:defRPr/>
              </a:pPr>
              <a:t>23</a:t>
            </a:fld>
            <a:endParaRPr lang="en-US" sz="1200" dirty="0">
              <a:latin typeface="+mn-lt"/>
              <a:ea typeface="+mn-ea"/>
              <a:cs typeface="+mn-cs"/>
            </a:endParaRPr>
          </a:p>
        </p:txBody>
      </p:sp>
    </p:spTree>
    <p:extLst>
      <p:ext uri="{BB962C8B-B14F-4D97-AF65-F5344CB8AC3E}">
        <p14:creationId xmlns:p14="http://schemas.microsoft.com/office/powerpoint/2010/main" val="13541495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2"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428" tIns="46214" rIns="92428" bIns="46214" numCol="1" anchor="t" anchorCtr="0" compatLnSpc="1">
            <a:prstTxWarp prst="textNoShape">
              <a:avLst/>
            </a:prstTxWarp>
          </a:bodyPr>
          <a:lstStyle/>
          <a:p>
            <a:pPr marL="171450" indent="-171450"/>
            <a:endParaRPr lang="en-US" altLang="it-IT" smtClean="0"/>
          </a:p>
          <a:p>
            <a:pPr marL="171450" indent="-171450"/>
            <a:endParaRPr lang="en-US" altLang="it-IT" smtClean="0"/>
          </a:p>
        </p:txBody>
      </p:sp>
    </p:spTree>
    <p:extLst>
      <p:ext uri="{BB962C8B-B14F-4D97-AF65-F5344CB8AC3E}">
        <p14:creationId xmlns:p14="http://schemas.microsoft.com/office/powerpoint/2010/main" val="2007398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200" b="0" i="0" u="none" strike="noStrike" kern="1200" baseline="0" dirty="0" err="1" smtClean="0">
                <a:solidFill>
                  <a:schemeClr val="tx1"/>
                </a:solidFill>
                <a:latin typeface="+mn-lt"/>
                <a:ea typeface="+mn-ea"/>
                <a:cs typeface="+mn-cs"/>
              </a:rPr>
              <a:t>Tumour</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cells</a:t>
            </a:r>
            <a:r>
              <a:rPr lang="it-IT" sz="1200" b="0" i="0" u="none" strike="noStrike" kern="1200" baseline="0" dirty="0" smtClean="0">
                <a:solidFill>
                  <a:schemeClr val="tx1"/>
                </a:solidFill>
                <a:latin typeface="+mn-lt"/>
                <a:ea typeface="+mn-ea"/>
                <a:cs typeface="+mn-cs"/>
              </a:rPr>
              <a:t> use a </a:t>
            </a:r>
            <a:r>
              <a:rPr lang="it-IT" sz="1200" b="0" i="0" u="none" strike="noStrike" kern="1200" baseline="0" dirty="0" err="1" smtClean="0">
                <a:solidFill>
                  <a:schemeClr val="tx1"/>
                </a:solidFill>
                <a:latin typeface="+mn-lt"/>
                <a:ea typeface="+mn-ea"/>
                <a:cs typeface="+mn-cs"/>
              </a:rPr>
              <a:t>repertoire</a:t>
            </a:r>
            <a:r>
              <a:rPr lang="it-IT" sz="1200" b="0" i="0" u="none" strike="noStrike" kern="1200" baseline="0" dirty="0" smtClean="0">
                <a:solidFill>
                  <a:schemeClr val="tx1"/>
                </a:solidFill>
                <a:latin typeface="+mn-lt"/>
                <a:ea typeface="+mn-ea"/>
                <a:cs typeface="+mn-cs"/>
              </a:rPr>
              <a:t> of </a:t>
            </a:r>
            <a:r>
              <a:rPr lang="it-IT" sz="1200" b="0" i="0" u="none" strike="noStrike" kern="1200" baseline="0" dirty="0" err="1" smtClean="0">
                <a:solidFill>
                  <a:schemeClr val="tx1"/>
                </a:solidFill>
                <a:latin typeface="+mn-lt"/>
                <a:ea typeface="+mn-ea"/>
                <a:cs typeface="+mn-cs"/>
              </a:rPr>
              <a:t>molecules</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that</a:t>
            </a:r>
            <a:r>
              <a:rPr lang="it-IT" sz="1200" b="0" i="0" u="none" strike="noStrike" kern="1200" baseline="0" dirty="0" smtClean="0">
                <a:solidFill>
                  <a:schemeClr val="tx1"/>
                </a:solidFill>
                <a:latin typeface="+mn-lt"/>
                <a:ea typeface="+mn-ea"/>
                <a:cs typeface="+mn-cs"/>
              </a:rPr>
              <a:t> are </a:t>
            </a:r>
            <a:r>
              <a:rPr lang="it-IT" sz="1200" b="0" i="0" u="none" strike="noStrike" kern="1200" baseline="0" dirty="0" err="1" smtClean="0">
                <a:solidFill>
                  <a:schemeClr val="tx1"/>
                </a:solidFill>
                <a:latin typeface="+mn-lt"/>
                <a:ea typeface="+mn-ea"/>
                <a:cs typeface="+mn-cs"/>
              </a:rPr>
              <a:t>important</a:t>
            </a:r>
            <a:r>
              <a:rPr lang="it-IT" sz="1200" b="0" i="0" u="none" strike="noStrike" kern="1200" baseline="0" dirty="0" smtClean="0">
                <a:solidFill>
                  <a:schemeClr val="tx1"/>
                </a:solidFill>
                <a:latin typeface="+mn-lt"/>
                <a:ea typeface="+mn-ea"/>
                <a:cs typeface="+mn-cs"/>
              </a:rPr>
              <a:t> in </a:t>
            </a:r>
            <a:r>
              <a:rPr lang="it-IT" sz="1200" b="0" i="0" u="none" strike="noStrike" kern="1200" baseline="0" dirty="0" err="1" smtClean="0">
                <a:solidFill>
                  <a:schemeClr val="tx1"/>
                </a:solidFill>
                <a:latin typeface="+mn-lt"/>
                <a:ea typeface="+mn-ea"/>
                <a:cs typeface="+mn-cs"/>
              </a:rPr>
              <a:t>colonizing</a:t>
            </a:r>
            <a:r>
              <a:rPr lang="it-IT" sz="1200" b="0" i="0" u="none" strike="noStrike" kern="1200" baseline="0" dirty="0" smtClean="0">
                <a:solidFill>
                  <a:schemeClr val="tx1"/>
                </a:solidFill>
                <a:latin typeface="+mn-lt"/>
                <a:ea typeface="+mn-ea"/>
                <a:cs typeface="+mn-cs"/>
              </a:rPr>
              <a:t> bone and </a:t>
            </a:r>
            <a:r>
              <a:rPr lang="it-IT" sz="1200" b="0" i="0" u="none" strike="noStrike" kern="1200" baseline="0" dirty="0" err="1" smtClean="0">
                <a:solidFill>
                  <a:schemeClr val="tx1"/>
                </a:solidFill>
                <a:latin typeface="+mn-lt"/>
                <a:ea typeface="+mn-ea"/>
                <a:cs typeface="+mn-cs"/>
              </a:rPr>
              <a:t>engaging</a:t>
            </a:r>
            <a:r>
              <a:rPr lang="it-IT" sz="1200" b="0" i="0" u="none" strike="noStrike" kern="1200" baseline="0" dirty="0" smtClean="0">
                <a:solidFill>
                  <a:schemeClr val="tx1"/>
                </a:solidFill>
                <a:latin typeface="+mn-lt"/>
                <a:ea typeface="+mn-ea"/>
                <a:cs typeface="+mn-cs"/>
              </a:rPr>
              <a:t> in a </a:t>
            </a:r>
            <a:r>
              <a:rPr lang="it-IT" sz="1200" b="0" i="0" u="none" strike="noStrike" kern="1200" baseline="0" dirty="0" err="1" smtClean="0">
                <a:solidFill>
                  <a:schemeClr val="tx1"/>
                </a:solidFill>
                <a:latin typeface="+mn-lt"/>
                <a:ea typeface="+mn-ea"/>
                <a:cs typeface="+mn-cs"/>
              </a:rPr>
              <a:t>niche</a:t>
            </a:r>
            <a:r>
              <a:rPr lang="it-IT" sz="1200" b="0" i="0" u="none" strike="noStrike" kern="1200" baseline="0" dirty="0" smtClean="0">
                <a:solidFill>
                  <a:schemeClr val="tx1"/>
                </a:solidFill>
                <a:latin typeface="+mn-lt"/>
                <a:ea typeface="+mn-ea"/>
                <a:cs typeface="+mn-cs"/>
              </a:rPr>
              <a:t> in bone (panel </a:t>
            </a:r>
            <a:r>
              <a:rPr lang="it-IT" sz="1200" b="1" i="0" u="none" strike="noStrike" kern="1200" baseline="0" dirty="0" smtClean="0">
                <a:solidFill>
                  <a:schemeClr val="tx1"/>
                </a:solidFill>
                <a:latin typeface="+mn-lt"/>
                <a:ea typeface="+mn-ea"/>
                <a:cs typeface="+mn-cs"/>
              </a:rPr>
              <a:t>a</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These</a:t>
            </a:r>
            <a:r>
              <a:rPr lang="it-IT" sz="1200" b="0" i="0" u="none" strike="noStrike" kern="1200" baseline="0" dirty="0" smtClean="0">
                <a:solidFill>
                  <a:schemeClr val="tx1"/>
                </a:solidFill>
                <a:latin typeface="+mn-lt"/>
                <a:ea typeface="+mn-ea"/>
                <a:cs typeface="+mn-cs"/>
              </a:rPr>
              <a:t> include C‑X‑C </a:t>
            </a:r>
            <a:r>
              <a:rPr lang="it-IT" sz="1200" b="0" i="0" u="none" strike="noStrike" kern="1200" baseline="0" dirty="0" err="1" smtClean="0">
                <a:solidFill>
                  <a:schemeClr val="tx1"/>
                </a:solidFill>
                <a:latin typeface="+mn-lt"/>
                <a:ea typeface="+mn-ea"/>
                <a:cs typeface="+mn-cs"/>
              </a:rPr>
              <a:t>motif</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chemokine</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receptor</a:t>
            </a:r>
            <a:r>
              <a:rPr lang="it-IT" sz="1200" b="0" i="0" u="none" strike="noStrike" kern="1200" baseline="0" dirty="0" smtClean="0">
                <a:solidFill>
                  <a:schemeClr val="tx1"/>
                </a:solidFill>
                <a:latin typeface="+mn-lt"/>
                <a:ea typeface="+mn-ea"/>
                <a:cs typeface="+mn-cs"/>
              </a:rPr>
              <a:t> 4 (CXCR4), </a:t>
            </a:r>
            <a:r>
              <a:rPr lang="it-IT" sz="1200" b="0" i="0" u="none" strike="noStrike" kern="1200" baseline="0" dirty="0" err="1" smtClean="0">
                <a:solidFill>
                  <a:schemeClr val="tx1"/>
                </a:solidFill>
                <a:latin typeface="+mn-lt"/>
                <a:ea typeface="+mn-ea"/>
                <a:cs typeface="+mn-cs"/>
              </a:rPr>
              <a:t>integrin</a:t>
            </a:r>
            <a:r>
              <a:rPr lang="it-IT" sz="1200" b="0" i="0" u="none" strike="noStrike" kern="1200" baseline="0" dirty="0" smtClean="0">
                <a:solidFill>
                  <a:schemeClr val="tx1"/>
                </a:solidFill>
                <a:latin typeface="+mn-lt"/>
                <a:ea typeface="+mn-ea"/>
                <a:cs typeface="+mn-cs"/>
              </a:rPr>
              <a:t> </a:t>
            </a:r>
            <a:r>
              <a:rPr lang="el-GR" sz="1200" b="0" i="0" u="none" strike="noStrike" kern="1200" baseline="0" dirty="0" smtClean="0">
                <a:solidFill>
                  <a:schemeClr val="tx1"/>
                </a:solidFill>
                <a:latin typeface="+mn-lt"/>
                <a:ea typeface="+mn-ea"/>
                <a:cs typeface="+mn-cs"/>
              </a:rPr>
              <a:t>α4β1, </a:t>
            </a:r>
            <a:r>
              <a:rPr lang="it-IT" sz="1200" b="0" i="0" u="none" strike="noStrike" kern="1200" baseline="0" dirty="0" err="1" smtClean="0">
                <a:solidFill>
                  <a:schemeClr val="tx1"/>
                </a:solidFill>
                <a:latin typeface="+mn-lt"/>
                <a:ea typeface="+mn-ea"/>
                <a:cs typeface="+mn-cs"/>
              </a:rPr>
              <a:t>receptor</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activator</a:t>
            </a:r>
            <a:r>
              <a:rPr lang="it-IT" sz="1200" b="0" i="0" u="none" strike="noStrike" kern="1200" baseline="0" dirty="0" smtClean="0">
                <a:solidFill>
                  <a:schemeClr val="tx1"/>
                </a:solidFill>
                <a:latin typeface="+mn-lt"/>
                <a:ea typeface="+mn-ea"/>
                <a:cs typeface="+mn-cs"/>
              </a:rPr>
              <a:t> of </a:t>
            </a:r>
            <a:r>
              <a:rPr lang="it-IT" sz="1200" b="0" i="0" u="none" strike="noStrike" kern="1200" baseline="0" dirty="0" err="1" smtClean="0">
                <a:solidFill>
                  <a:schemeClr val="tx1"/>
                </a:solidFill>
                <a:latin typeface="+mn-lt"/>
                <a:ea typeface="+mn-ea"/>
                <a:cs typeface="+mn-cs"/>
              </a:rPr>
              <a:t>nuclear</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factor</a:t>
            </a:r>
            <a:r>
              <a:rPr lang="it-IT" sz="1200" b="0" i="0" u="none" strike="noStrike" kern="1200" baseline="0" dirty="0" smtClean="0">
                <a:solidFill>
                  <a:schemeClr val="tx1"/>
                </a:solidFill>
                <a:latin typeface="+mn-lt"/>
                <a:ea typeface="+mn-ea"/>
                <a:cs typeface="+mn-cs"/>
              </a:rPr>
              <a:t>‑</a:t>
            </a:r>
            <a:r>
              <a:rPr lang="el-GR" sz="1200" b="0" i="0" u="none" strike="noStrike" kern="1200" baseline="0" dirty="0" smtClean="0">
                <a:solidFill>
                  <a:schemeClr val="tx1"/>
                </a:solidFill>
                <a:latin typeface="+mn-lt"/>
                <a:ea typeface="+mn-ea"/>
                <a:cs typeface="+mn-cs"/>
              </a:rPr>
              <a:t>κ</a:t>
            </a:r>
            <a:r>
              <a:rPr lang="it-IT" sz="1200" b="0" i="0" u="none" strike="noStrike" kern="1200" baseline="0" dirty="0" smtClean="0">
                <a:solidFill>
                  <a:schemeClr val="tx1"/>
                </a:solidFill>
                <a:latin typeface="+mn-lt"/>
                <a:ea typeface="+mn-ea"/>
                <a:cs typeface="+mn-cs"/>
              </a:rPr>
              <a:t>B (RANK), </a:t>
            </a:r>
            <a:r>
              <a:rPr lang="it-IT" sz="1200" b="0" i="0" u="none" strike="noStrike" kern="1200" baseline="0" dirty="0" err="1" smtClean="0">
                <a:solidFill>
                  <a:schemeClr val="tx1"/>
                </a:solidFill>
                <a:latin typeface="+mn-lt"/>
                <a:ea typeface="+mn-ea"/>
                <a:cs typeface="+mn-cs"/>
              </a:rPr>
              <a:t>integrins</a:t>
            </a:r>
            <a:r>
              <a:rPr lang="it-IT" sz="1200" b="0" i="0" u="none" strike="noStrike" kern="1200" baseline="0" dirty="0" smtClean="0">
                <a:solidFill>
                  <a:schemeClr val="tx1"/>
                </a:solidFill>
                <a:latin typeface="+mn-lt"/>
                <a:ea typeface="+mn-ea"/>
                <a:cs typeface="+mn-cs"/>
              </a:rPr>
              <a:t> </a:t>
            </a:r>
            <a:r>
              <a:rPr lang="el-GR" sz="1200" b="0" i="0" u="none" strike="noStrike" kern="1200" baseline="0" dirty="0" smtClean="0">
                <a:solidFill>
                  <a:schemeClr val="tx1"/>
                </a:solidFill>
                <a:latin typeface="+mn-lt"/>
                <a:ea typeface="+mn-ea"/>
                <a:cs typeface="+mn-cs"/>
              </a:rPr>
              <a:t>α</a:t>
            </a:r>
            <a:r>
              <a:rPr lang="it-IT" sz="1200" b="0" i="0" u="none" strike="noStrike" kern="1200" baseline="0" dirty="0" smtClean="0">
                <a:solidFill>
                  <a:schemeClr val="tx1"/>
                </a:solidFill>
                <a:latin typeface="+mn-lt"/>
                <a:ea typeface="+mn-ea"/>
                <a:cs typeface="+mn-cs"/>
              </a:rPr>
              <a:t>v</a:t>
            </a:r>
            <a:r>
              <a:rPr lang="el-GR" sz="1200" b="0" i="0" u="none" strike="noStrike" kern="1200" baseline="0" dirty="0" smtClean="0">
                <a:solidFill>
                  <a:schemeClr val="tx1"/>
                </a:solidFill>
                <a:latin typeface="+mn-lt"/>
                <a:ea typeface="+mn-ea"/>
                <a:cs typeface="+mn-cs"/>
              </a:rPr>
              <a:t>β5 </a:t>
            </a:r>
            <a:r>
              <a:rPr lang="it-IT" sz="1200" b="0" i="0" u="none" strike="noStrike" kern="1200" baseline="0" dirty="0" smtClean="0">
                <a:solidFill>
                  <a:schemeClr val="tx1"/>
                </a:solidFill>
                <a:latin typeface="+mn-lt"/>
                <a:ea typeface="+mn-ea"/>
                <a:cs typeface="+mn-cs"/>
              </a:rPr>
              <a:t>and </a:t>
            </a:r>
            <a:r>
              <a:rPr lang="el-GR" sz="1200" b="0" i="0" u="none" strike="noStrike" kern="1200" baseline="0" dirty="0" smtClean="0">
                <a:solidFill>
                  <a:schemeClr val="tx1"/>
                </a:solidFill>
                <a:latin typeface="+mn-lt"/>
                <a:ea typeface="+mn-ea"/>
                <a:cs typeface="+mn-cs"/>
              </a:rPr>
              <a:t>α5β3, </a:t>
            </a:r>
            <a:r>
              <a:rPr lang="it-IT" sz="1200" b="0" i="0" u="none" strike="noStrike" kern="1200" baseline="0" dirty="0" err="1" smtClean="0">
                <a:solidFill>
                  <a:schemeClr val="tx1"/>
                </a:solidFill>
                <a:latin typeface="+mn-lt"/>
                <a:ea typeface="+mn-ea"/>
                <a:cs typeface="+mn-cs"/>
              </a:rPr>
              <a:t>osteopontin</a:t>
            </a:r>
            <a:r>
              <a:rPr lang="it-IT" sz="1200" b="0" i="0" u="none" strike="noStrike" kern="1200" baseline="0" dirty="0" smtClean="0">
                <a:solidFill>
                  <a:schemeClr val="tx1"/>
                </a:solidFill>
                <a:latin typeface="+mn-lt"/>
                <a:ea typeface="+mn-ea"/>
                <a:cs typeface="+mn-cs"/>
              </a:rPr>
              <a:t> (OPN), bone </a:t>
            </a:r>
            <a:r>
              <a:rPr lang="it-IT" sz="1200" b="0" i="0" u="none" strike="noStrike" kern="1200" baseline="0" dirty="0" err="1" smtClean="0">
                <a:solidFill>
                  <a:schemeClr val="tx1"/>
                </a:solidFill>
                <a:latin typeface="+mn-lt"/>
                <a:ea typeface="+mn-ea"/>
                <a:cs typeface="+mn-cs"/>
              </a:rPr>
              <a:t>sialoprotein</a:t>
            </a:r>
            <a:r>
              <a:rPr lang="it-IT" sz="1200" b="0" i="0" u="none" strike="noStrike" kern="1200" baseline="0" dirty="0" smtClean="0">
                <a:solidFill>
                  <a:schemeClr val="tx1"/>
                </a:solidFill>
                <a:latin typeface="+mn-lt"/>
                <a:ea typeface="+mn-ea"/>
                <a:cs typeface="+mn-cs"/>
              </a:rPr>
              <a:t> (BSP) and E‑</a:t>
            </a:r>
            <a:r>
              <a:rPr lang="it-IT" sz="1200" b="0" i="0" u="none" strike="noStrike" kern="1200" baseline="0" dirty="0" err="1" smtClean="0">
                <a:solidFill>
                  <a:schemeClr val="tx1"/>
                </a:solidFill>
                <a:latin typeface="+mn-lt"/>
                <a:ea typeface="+mn-ea"/>
                <a:cs typeface="+mn-cs"/>
              </a:rPr>
              <a:t>cadherin</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which</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bind</a:t>
            </a:r>
            <a:r>
              <a:rPr lang="it-IT" sz="1200" b="0" i="0" u="none" strike="noStrike" kern="1200" baseline="0" dirty="0" smtClean="0">
                <a:solidFill>
                  <a:schemeClr val="tx1"/>
                </a:solidFill>
                <a:latin typeface="+mn-lt"/>
                <a:ea typeface="+mn-ea"/>
                <a:cs typeface="+mn-cs"/>
              </a:rPr>
              <a:t> to </a:t>
            </a:r>
            <a:r>
              <a:rPr lang="it-IT" sz="1200" b="0" i="0" u="none" strike="noStrike" kern="1200" baseline="0" dirty="0" err="1" smtClean="0">
                <a:solidFill>
                  <a:schemeClr val="tx1"/>
                </a:solidFill>
                <a:latin typeface="+mn-lt"/>
                <a:ea typeface="+mn-ea"/>
                <a:cs typeface="+mn-cs"/>
              </a:rPr>
              <a:t>their</a:t>
            </a:r>
            <a:r>
              <a:rPr lang="it-IT" sz="1200" b="0" i="0" u="none" strike="noStrike" kern="1200" baseline="0" dirty="0" smtClean="0">
                <a:solidFill>
                  <a:schemeClr val="tx1"/>
                </a:solidFill>
                <a:latin typeface="+mn-lt"/>
                <a:ea typeface="+mn-ea"/>
                <a:cs typeface="+mn-cs"/>
              </a:rPr>
              <a:t> cognate </a:t>
            </a:r>
            <a:r>
              <a:rPr lang="it-IT" sz="1200" b="0" i="0" u="none" strike="noStrike" kern="1200" baseline="0" dirty="0" err="1" smtClean="0">
                <a:solidFill>
                  <a:schemeClr val="tx1"/>
                </a:solidFill>
                <a:latin typeface="+mn-lt"/>
                <a:ea typeface="+mn-ea"/>
                <a:cs typeface="+mn-cs"/>
              </a:rPr>
              <a:t>ligands</a:t>
            </a:r>
            <a:r>
              <a:rPr lang="it-IT" sz="1200" b="0" i="0" u="none" strike="noStrike" kern="1200" baseline="0" dirty="0" smtClean="0">
                <a:solidFill>
                  <a:schemeClr val="tx1"/>
                </a:solidFill>
                <a:latin typeface="+mn-lt"/>
                <a:ea typeface="+mn-ea"/>
                <a:cs typeface="+mn-cs"/>
              </a:rPr>
              <a:t> on </a:t>
            </a:r>
            <a:r>
              <a:rPr lang="it-IT" sz="1200" b="0" i="0" u="none" strike="noStrike" kern="1200" baseline="0" dirty="0" err="1" smtClean="0">
                <a:solidFill>
                  <a:schemeClr val="tx1"/>
                </a:solidFill>
                <a:latin typeface="+mn-lt"/>
                <a:ea typeface="+mn-ea"/>
                <a:cs typeface="+mn-cs"/>
              </a:rPr>
              <a:t>cells</a:t>
            </a:r>
            <a:r>
              <a:rPr lang="it-IT" sz="1200" b="0" i="0" u="none" strike="noStrike" kern="1200" baseline="0" dirty="0" smtClean="0">
                <a:solidFill>
                  <a:schemeClr val="tx1"/>
                </a:solidFill>
                <a:latin typeface="+mn-lt"/>
                <a:ea typeface="+mn-ea"/>
                <a:cs typeface="+mn-cs"/>
              </a:rPr>
              <a:t> in the </a:t>
            </a:r>
            <a:r>
              <a:rPr lang="it-IT" sz="1200" b="0" i="0" u="none" strike="noStrike" kern="1200" baseline="0" dirty="0" err="1" smtClean="0">
                <a:solidFill>
                  <a:schemeClr val="tx1"/>
                </a:solidFill>
                <a:latin typeface="+mn-lt"/>
                <a:ea typeface="+mn-ea"/>
                <a:cs typeface="+mn-cs"/>
              </a:rPr>
              <a:t>niche</a:t>
            </a:r>
            <a:r>
              <a:rPr lang="it-IT" sz="1200" b="0" i="0" u="none" strike="noStrike" kern="1200" baseline="0" dirty="0" smtClean="0">
                <a:solidFill>
                  <a:schemeClr val="tx1"/>
                </a:solidFill>
                <a:latin typeface="+mn-lt"/>
                <a:ea typeface="+mn-ea"/>
                <a:cs typeface="+mn-cs"/>
              </a:rPr>
              <a:t>: C‑X‑C </a:t>
            </a:r>
            <a:r>
              <a:rPr lang="it-IT" sz="1200" b="0" i="0" u="none" strike="noStrike" kern="1200" baseline="0" dirty="0" err="1" smtClean="0">
                <a:solidFill>
                  <a:schemeClr val="tx1"/>
                </a:solidFill>
                <a:latin typeface="+mn-lt"/>
                <a:ea typeface="+mn-ea"/>
                <a:cs typeface="+mn-cs"/>
              </a:rPr>
              <a:t>motif</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chemokine</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ligand</a:t>
            </a:r>
            <a:r>
              <a:rPr lang="it-IT" sz="1200" b="0" i="0" u="none" strike="noStrike" kern="1200" baseline="0" dirty="0" smtClean="0">
                <a:solidFill>
                  <a:schemeClr val="tx1"/>
                </a:solidFill>
                <a:latin typeface="+mn-lt"/>
                <a:ea typeface="+mn-ea"/>
                <a:cs typeface="+mn-cs"/>
              </a:rPr>
              <a:t> 12 (CXCL12), </a:t>
            </a:r>
            <a:r>
              <a:rPr lang="it-IT" sz="1200" b="0" i="0" u="none" strike="noStrike" kern="1200" baseline="0" dirty="0" err="1" smtClean="0">
                <a:solidFill>
                  <a:schemeClr val="tx1"/>
                </a:solidFill>
                <a:latin typeface="+mn-lt"/>
                <a:ea typeface="+mn-ea"/>
                <a:cs typeface="+mn-cs"/>
              </a:rPr>
              <a:t>vascular</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cell</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adhesion</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molecule</a:t>
            </a:r>
            <a:r>
              <a:rPr lang="it-IT" sz="1200" b="0" i="0" u="none" strike="noStrike" kern="1200" baseline="0" dirty="0" smtClean="0">
                <a:solidFill>
                  <a:schemeClr val="tx1"/>
                </a:solidFill>
                <a:latin typeface="+mn-lt"/>
                <a:ea typeface="+mn-ea"/>
                <a:cs typeface="+mn-cs"/>
              </a:rPr>
              <a:t> 1 (VCAM1), RANK </a:t>
            </a:r>
            <a:r>
              <a:rPr lang="it-IT" sz="1200" b="0" i="0" u="none" strike="noStrike" kern="1200" baseline="0" dirty="0" err="1" smtClean="0">
                <a:solidFill>
                  <a:schemeClr val="tx1"/>
                </a:solidFill>
                <a:latin typeface="+mn-lt"/>
                <a:ea typeface="+mn-ea"/>
                <a:cs typeface="+mn-cs"/>
              </a:rPr>
              <a:t>ligand</a:t>
            </a:r>
            <a:r>
              <a:rPr lang="it-IT" sz="1200" b="0" i="0" u="none" strike="noStrike" kern="1200" baseline="0" dirty="0" smtClean="0">
                <a:solidFill>
                  <a:schemeClr val="tx1"/>
                </a:solidFill>
                <a:latin typeface="+mn-lt"/>
                <a:ea typeface="+mn-ea"/>
                <a:cs typeface="+mn-cs"/>
              </a:rPr>
              <a:t> (RANKL), OPN, BSP, </a:t>
            </a:r>
            <a:r>
              <a:rPr lang="it-IT" sz="1200" b="0" i="0" u="none" strike="noStrike" kern="1200" baseline="0" dirty="0" err="1" smtClean="0">
                <a:solidFill>
                  <a:schemeClr val="tx1"/>
                </a:solidFill>
                <a:latin typeface="+mn-lt"/>
                <a:ea typeface="+mn-ea"/>
                <a:cs typeface="+mn-cs"/>
              </a:rPr>
              <a:t>fibronectin</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vitronectin</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integrin</a:t>
            </a:r>
            <a:r>
              <a:rPr lang="it-IT" sz="1200" b="0" i="0" u="none" strike="noStrike" kern="1200" baseline="0" dirty="0" smtClean="0">
                <a:solidFill>
                  <a:schemeClr val="tx1"/>
                </a:solidFill>
                <a:latin typeface="+mn-lt"/>
                <a:ea typeface="+mn-ea"/>
                <a:cs typeface="+mn-cs"/>
              </a:rPr>
              <a:t> </a:t>
            </a:r>
            <a:r>
              <a:rPr lang="el-GR" sz="1200" b="0" i="0" u="none" strike="noStrike" kern="1200" baseline="0" dirty="0" smtClean="0">
                <a:solidFill>
                  <a:schemeClr val="tx1"/>
                </a:solidFill>
                <a:latin typeface="+mn-lt"/>
                <a:ea typeface="+mn-ea"/>
                <a:cs typeface="+mn-cs"/>
              </a:rPr>
              <a:t>α</a:t>
            </a:r>
            <a:r>
              <a:rPr lang="it-IT" sz="1200" b="0" i="0" u="none" strike="noStrike" kern="1200" baseline="0" dirty="0" smtClean="0">
                <a:solidFill>
                  <a:schemeClr val="tx1"/>
                </a:solidFill>
                <a:latin typeface="+mn-lt"/>
                <a:ea typeface="+mn-ea"/>
                <a:cs typeface="+mn-cs"/>
              </a:rPr>
              <a:t>v</a:t>
            </a:r>
            <a:r>
              <a:rPr lang="el-GR" sz="1200" b="0" i="0" u="none" strike="noStrike" kern="1200" baseline="0" dirty="0" smtClean="0">
                <a:solidFill>
                  <a:schemeClr val="tx1"/>
                </a:solidFill>
                <a:latin typeface="+mn-lt"/>
                <a:ea typeface="+mn-ea"/>
                <a:cs typeface="+mn-cs"/>
              </a:rPr>
              <a:t>β3 </a:t>
            </a:r>
            <a:r>
              <a:rPr lang="it-IT" sz="1200" b="0" i="0" u="none" strike="noStrike" kern="1200" baseline="0" dirty="0" smtClean="0">
                <a:solidFill>
                  <a:schemeClr val="tx1"/>
                </a:solidFill>
                <a:latin typeface="+mn-lt"/>
                <a:ea typeface="+mn-ea"/>
                <a:cs typeface="+mn-cs"/>
              </a:rPr>
              <a:t>and N‑</a:t>
            </a:r>
            <a:r>
              <a:rPr lang="it-IT" sz="1200" b="0" i="0" u="none" strike="noStrike" kern="1200" baseline="0" dirty="0" err="1" smtClean="0">
                <a:solidFill>
                  <a:schemeClr val="tx1"/>
                </a:solidFill>
                <a:latin typeface="+mn-lt"/>
                <a:ea typeface="+mn-ea"/>
                <a:cs typeface="+mn-cs"/>
              </a:rPr>
              <a:t>cadherin</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respectively</a:t>
            </a:r>
            <a:r>
              <a:rPr lang="it-IT" sz="1200" b="0" i="0" u="none" strike="noStrike" kern="1200" baseline="0" dirty="0" smtClean="0">
                <a:solidFill>
                  <a:schemeClr val="tx1"/>
                </a:solidFill>
                <a:latin typeface="+mn-lt"/>
                <a:ea typeface="+mn-ea"/>
                <a:cs typeface="+mn-cs"/>
              </a:rPr>
              <a:t>. The engagement of </a:t>
            </a:r>
            <a:r>
              <a:rPr lang="it-IT" sz="1200" b="0" i="0" u="none" strike="noStrike" kern="1200" baseline="0" dirty="0" err="1" smtClean="0">
                <a:solidFill>
                  <a:schemeClr val="tx1"/>
                </a:solidFill>
                <a:latin typeface="+mn-lt"/>
                <a:ea typeface="+mn-ea"/>
                <a:cs typeface="+mn-cs"/>
              </a:rPr>
              <a:t>cells</a:t>
            </a:r>
            <a:r>
              <a:rPr lang="it-IT" sz="1200" b="0" i="0" u="none" strike="noStrike" kern="1200" baseline="0" dirty="0" smtClean="0">
                <a:solidFill>
                  <a:schemeClr val="tx1"/>
                </a:solidFill>
                <a:latin typeface="+mn-lt"/>
                <a:ea typeface="+mn-ea"/>
                <a:cs typeface="+mn-cs"/>
              </a:rPr>
              <a:t> in the </a:t>
            </a:r>
            <a:r>
              <a:rPr lang="it-IT" sz="1200" b="0" i="0" u="none" strike="noStrike" kern="1200" baseline="0" dirty="0" err="1" smtClean="0">
                <a:solidFill>
                  <a:schemeClr val="tx1"/>
                </a:solidFill>
                <a:latin typeface="+mn-lt"/>
                <a:ea typeface="+mn-ea"/>
                <a:cs typeface="+mn-cs"/>
              </a:rPr>
              <a:t>niche</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leads</a:t>
            </a:r>
            <a:r>
              <a:rPr lang="it-IT" sz="1200" b="0" i="0" u="none" strike="noStrike" kern="1200" baseline="0" dirty="0" smtClean="0">
                <a:solidFill>
                  <a:schemeClr val="tx1"/>
                </a:solidFill>
                <a:latin typeface="+mn-lt"/>
                <a:ea typeface="+mn-ea"/>
                <a:cs typeface="+mn-cs"/>
              </a:rPr>
              <a:t> to the </a:t>
            </a:r>
            <a:r>
              <a:rPr lang="it-IT" sz="1200" b="0" i="0" u="none" strike="noStrike" kern="1200" baseline="0" dirty="0" err="1" smtClean="0">
                <a:solidFill>
                  <a:schemeClr val="tx1"/>
                </a:solidFill>
                <a:latin typeface="+mn-lt"/>
                <a:ea typeface="+mn-ea"/>
                <a:cs typeface="+mn-cs"/>
              </a:rPr>
              <a:t>expression</a:t>
            </a:r>
            <a:r>
              <a:rPr lang="it-IT" sz="1200" b="0" i="0" u="none" strike="noStrike" kern="1200" baseline="0" dirty="0" smtClean="0">
                <a:solidFill>
                  <a:schemeClr val="tx1"/>
                </a:solidFill>
                <a:latin typeface="+mn-lt"/>
                <a:ea typeface="+mn-ea"/>
                <a:cs typeface="+mn-cs"/>
              </a:rPr>
              <a:t> of </a:t>
            </a:r>
            <a:r>
              <a:rPr lang="it-IT" sz="1200" b="0" i="0" u="none" strike="noStrike" kern="1200" baseline="0" dirty="0" err="1" smtClean="0">
                <a:solidFill>
                  <a:schemeClr val="tx1"/>
                </a:solidFill>
                <a:latin typeface="+mn-lt"/>
                <a:ea typeface="+mn-ea"/>
                <a:cs typeface="+mn-cs"/>
              </a:rPr>
              <a:t>genes</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that</a:t>
            </a:r>
            <a:r>
              <a:rPr lang="it-IT" sz="1200" b="0" i="0" u="none" strike="noStrike" kern="1200" baseline="0" dirty="0" smtClean="0">
                <a:solidFill>
                  <a:schemeClr val="tx1"/>
                </a:solidFill>
                <a:latin typeface="+mn-lt"/>
                <a:ea typeface="+mn-ea"/>
                <a:cs typeface="+mn-cs"/>
              </a:rPr>
              <a:t> can induce </a:t>
            </a:r>
            <a:r>
              <a:rPr lang="it-IT" sz="1200" b="0" i="0" u="none" strike="noStrike" kern="1200" baseline="0" dirty="0" err="1" smtClean="0">
                <a:solidFill>
                  <a:schemeClr val="tx1"/>
                </a:solidFill>
                <a:latin typeface="+mn-lt"/>
                <a:ea typeface="+mn-ea"/>
                <a:cs typeface="+mn-cs"/>
              </a:rPr>
              <a:t>dormancy</a:t>
            </a:r>
            <a:r>
              <a:rPr lang="it-IT" sz="1200" b="0" i="0" u="none" strike="noStrike" kern="1200" baseline="0" dirty="0" smtClean="0">
                <a:solidFill>
                  <a:schemeClr val="tx1"/>
                </a:solidFill>
                <a:latin typeface="+mn-lt"/>
                <a:ea typeface="+mn-ea"/>
                <a:cs typeface="+mn-cs"/>
              </a:rPr>
              <a:t> (panel </a:t>
            </a:r>
            <a:r>
              <a:rPr lang="it-IT" sz="1200" b="1" i="0" u="none" strike="noStrike" kern="1200" baseline="0" dirty="0" smtClean="0">
                <a:solidFill>
                  <a:schemeClr val="tx1"/>
                </a:solidFill>
                <a:latin typeface="+mn-lt"/>
                <a:ea typeface="+mn-ea"/>
                <a:cs typeface="+mn-cs"/>
              </a:rPr>
              <a:t>b</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These</a:t>
            </a:r>
            <a:r>
              <a:rPr lang="it-IT" sz="1200" b="0" i="0" u="none" strike="noStrike" kern="1200" baseline="0" dirty="0" smtClean="0">
                <a:solidFill>
                  <a:schemeClr val="tx1"/>
                </a:solidFill>
                <a:latin typeface="+mn-lt"/>
                <a:ea typeface="+mn-ea"/>
                <a:cs typeface="+mn-cs"/>
              </a:rPr>
              <a:t> include the </a:t>
            </a:r>
            <a:r>
              <a:rPr lang="it-IT" sz="1200" b="0" i="0" u="none" strike="noStrike" kern="1200" baseline="0" dirty="0" err="1" smtClean="0">
                <a:solidFill>
                  <a:schemeClr val="tx1"/>
                </a:solidFill>
                <a:latin typeface="+mn-lt"/>
                <a:ea typeface="+mn-ea"/>
                <a:cs typeface="+mn-cs"/>
              </a:rPr>
              <a:t>annexin</a:t>
            </a:r>
            <a:r>
              <a:rPr lang="it-IT" sz="1200" b="0" i="0" u="none" strike="noStrike" kern="1200" baseline="0" dirty="0" smtClean="0">
                <a:solidFill>
                  <a:schemeClr val="tx1"/>
                </a:solidFill>
                <a:latin typeface="+mn-lt"/>
                <a:ea typeface="+mn-ea"/>
                <a:cs typeface="+mn-cs"/>
              </a:rPr>
              <a:t> II </a:t>
            </a:r>
            <a:r>
              <a:rPr lang="it-IT" sz="1200" b="0" i="0" u="none" strike="noStrike" kern="1200" baseline="0" dirty="0" err="1" smtClean="0">
                <a:solidFill>
                  <a:schemeClr val="tx1"/>
                </a:solidFill>
                <a:latin typeface="+mn-lt"/>
                <a:ea typeface="+mn-ea"/>
                <a:cs typeface="+mn-cs"/>
              </a:rPr>
              <a:t>receptor</a:t>
            </a:r>
            <a:r>
              <a:rPr lang="it-IT" sz="1200" b="0" i="0" u="none" strike="noStrike" kern="1200" baseline="0" dirty="0" smtClean="0">
                <a:solidFill>
                  <a:schemeClr val="tx1"/>
                </a:solidFill>
                <a:latin typeface="+mn-lt"/>
                <a:ea typeface="+mn-ea"/>
                <a:cs typeface="+mn-cs"/>
              </a:rPr>
              <a:t> and AXL on </a:t>
            </a:r>
            <a:r>
              <a:rPr lang="it-IT" sz="1200" b="0" i="0" u="none" strike="noStrike" kern="1200" baseline="0" dirty="0" err="1" smtClean="0">
                <a:solidFill>
                  <a:schemeClr val="tx1"/>
                </a:solidFill>
                <a:latin typeface="+mn-lt"/>
                <a:ea typeface="+mn-ea"/>
                <a:cs typeface="+mn-cs"/>
              </a:rPr>
              <a:t>tumour</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cells</a:t>
            </a:r>
            <a:r>
              <a:rPr lang="it-IT" sz="1200" b="0" i="0" u="none" strike="noStrike" kern="1200" baseline="0" dirty="0" smtClean="0">
                <a:solidFill>
                  <a:schemeClr val="tx1"/>
                </a:solidFill>
                <a:latin typeface="+mn-lt"/>
                <a:ea typeface="+mn-ea"/>
                <a:cs typeface="+mn-cs"/>
              </a:rPr>
              <a:t> and </a:t>
            </a:r>
            <a:r>
              <a:rPr lang="it-IT" sz="1200" b="0" i="0" u="none" strike="noStrike" kern="1200" baseline="0" dirty="0" err="1" smtClean="0">
                <a:solidFill>
                  <a:schemeClr val="tx1"/>
                </a:solidFill>
                <a:latin typeface="+mn-lt"/>
                <a:ea typeface="+mn-ea"/>
                <a:cs typeface="+mn-cs"/>
              </a:rPr>
              <a:t>their</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ligands</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annexin</a:t>
            </a:r>
            <a:r>
              <a:rPr lang="it-IT" sz="1200" b="0" i="0" u="none" strike="noStrike" kern="1200" baseline="0" dirty="0" smtClean="0">
                <a:solidFill>
                  <a:schemeClr val="tx1"/>
                </a:solidFill>
                <a:latin typeface="+mn-lt"/>
                <a:ea typeface="+mn-ea"/>
                <a:cs typeface="+mn-cs"/>
              </a:rPr>
              <a:t> II and </a:t>
            </a:r>
            <a:r>
              <a:rPr lang="it-IT" sz="1200" b="0" i="0" u="none" strike="noStrike" kern="1200" baseline="0" dirty="0" err="1" smtClean="0">
                <a:solidFill>
                  <a:schemeClr val="tx1"/>
                </a:solidFill>
                <a:latin typeface="+mn-lt"/>
                <a:ea typeface="+mn-ea"/>
                <a:cs typeface="+mn-cs"/>
              </a:rPr>
              <a:t>growth</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arrest-specific</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protein</a:t>
            </a:r>
            <a:r>
              <a:rPr lang="it-IT" sz="1200" b="0" i="0" u="none" strike="noStrike" kern="1200" baseline="0" dirty="0" smtClean="0">
                <a:solidFill>
                  <a:schemeClr val="tx1"/>
                </a:solidFill>
                <a:latin typeface="+mn-lt"/>
                <a:ea typeface="+mn-ea"/>
                <a:cs typeface="+mn-cs"/>
              </a:rPr>
              <a:t> 6 (GAS6) on bone </a:t>
            </a:r>
            <a:r>
              <a:rPr lang="it-IT" sz="1200" b="0" i="0" u="none" strike="noStrike" kern="1200" baseline="0" dirty="0" err="1" smtClean="0">
                <a:solidFill>
                  <a:schemeClr val="tx1"/>
                </a:solidFill>
                <a:latin typeface="+mn-lt"/>
                <a:ea typeface="+mn-ea"/>
                <a:cs typeface="+mn-cs"/>
              </a:rPr>
              <a:t>lining</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cells</a:t>
            </a:r>
            <a:r>
              <a:rPr lang="it-IT" sz="1200" b="0" i="0" u="none" strike="noStrike" kern="1200" baseline="0" dirty="0" smtClean="0">
                <a:solidFill>
                  <a:schemeClr val="tx1"/>
                </a:solidFill>
                <a:latin typeface="+mn-lt"/>
                <a:ea typeface="+mn-ea"/>
                <a:cs typeface="+mn-cs"/>
              </a:rPr>
              <a:t>. Local </a:t>
            </a:r>
            <a:r>
              <a:rPr lang="it-IT" sz="1200" b="0" i="0" u="none" strike="noStrike" kern="1200" baseline="0" dirty="0" err="1" smtClean="0">
                <a:solidFill>
                  <a:schemeClr val="tx1"/>
                </a:solidFill>
                <a:latin typeface="+mn-lt"/>
                <a:ea typeface="+mn-ea"/>
                <a:cs typeface="+mn-cs"/>
              </a:rPr>
              <a:t>cytokines</a:t>
            </a:r>
            <a:r>
              <a:rPr lang="it-IT" sz="1200" b="0" i="0" u="none" strike="noStrike" kern="1200" baseline="0" dirty="0" smtClean="0">
                <a:solidFill>
                  <a:schemeClr val="tx1"/>
                </a:solidFill>
                <a:latin typeface="+mn-lt"/>
                <a:ea typeface="+mn-ea"/>
                <a:cs typeface="+mn-cs"/>
              </a:rPr>
              <a:t> and </a:t>
            </a:r>
            <a:r>
              <a:rPr lang="it-IT" sz="1200" b="0" i="0" u="none" strike="noStrike" kern="1200" baseline="0" dirty="0" err="1" smtClean="0">
                <a:solidFill>
                  <a:schemeClr val="tx1"/>
                </a:solidFill>
                <a:latin typeface="+mn-lt"/>
                <a:ea typeface="+mn-ea"/>
                <a:cs typeface="+mn-cs"/>
              </a:rPr>
              <a:t>growth</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factors</a:t>
            </a:r>
            <a:r>
              <a:rPr lang="it-IT" sz="1200" b="0" i="0" u="none" strike="noStrike" kern="1200" baseline="0" dirty="0" smtClean="0">
                <a:solidFill>
                  <a:schemeClr val="tx1"/>
                </a:solidFill>
                <a:latin typeface="+mn-lt"/>
                <a:ea typeface="+mn-ea"/>
                <a:cs typeface="+mn-cs"/>
              </a:rPr>
              <a:t>, for </a:t>
            </a:r>
            <a:r>
              <a:rPr lang="it-IT" sz="1200" b="0" i="0" u="none" strike="noStrike" kern="1200" baseline="0" dirty="0" err="1" smtClean="0">
                <a:solidFill>
                  <a:schemeClr val="tx1"/>
                </a:solidFill>
                <a:latin typeface="+mn-lt"/>
                <a:ea typeface="+mn-ea"/>
                <a:cs typeface="+mn-cs"/>
              </a:rPr>
              <a:t>example</a:t>
            </a:r>
            <a:r>
              <a:rPr lang="it-IT" sz="1200" b="0" i="0" u="none" strike="noStrike" kern="1200" baseline="0" dirty="0" smtClean="0">
                <a:solidFill>
                  <a:schemeClr val="tx1"/>
                </a:solidFill>
                <a:latin typeface="+mn-lt"/>
                <a:ea typeface="+mn-ea"/>
                <a:cs typeface="+mn-cs"/>
              </a:rPr>
              <a:t> interleukin‑6 (IL‑6), </a:t>
            </a:r>
            <a:r>
              <a:rPr lang="it-IT" sz="1200" b="0" i="0" u="none" strike="noStrike" kern="1200" baseline="0" dirty="0" err="1" smtClean="0">
                <a:solidFill>
                  <a:schemeClr val="tx1"/>
                </a:solidFill>
                <a:latin typeface="+mn-lt"/>
                <a:ea typeface="+mn-ea"/>
                <a:cs typeface="+mn-cs"/>
              </a:rPr>
              <a:t>may</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also</a:t>
            </a:r>
            <a:r>
              <a:rPr lang="it-IT" sz="1200" b="0" i="0" u="none" strike="noStrike" kern="1200" baseline="0" dirty="0" smtClean="0">
                <a:solidFill>
                  <a:schemeClr val="tx1"/>
                </a:solidFill>
                <a:latin typeface="+mn-lt"/>
                <a:ea typeface="+mn-ea"/>
                <a:cs typeface="+mn-cs"/>
              </a:rPr>
              <a:t> control </a:t>
            </a:r>
            <a:r>
              <a:rPr lang="it-IT" sz="1200" b="0" i="0" u="none" strike="noStrike" kern="1200" baseline="0" dirty="0" err="1" smtClean="0">
                <a:solidFill>
                  <a:schemeClr val="tx1"/>
                </a:solidFill>
                <a:latin typeface="+mn-lt"/>
                <a:ea typeface="+mn-ea"/>
                <a:cs typeface="+mn-cs"/>
              </a:rPr>
              <a:t>dormancy</a:t>
            </a:r>
            <a:r>
              <a:rPr lang="it-IT" sz="1200" b="0" i="0" u="none" strike="noStrike" kern="1200" baseline="0" dirty="0" smtClean="0">
                <a:solidFill>
                  <a:schemeClr val="tx1"/>
                </a:solidFill>
                <a:latin typeface="+mn-lt"/>
                <a:ea typeface="+mn-ea"/>
                <a:cs typeface="+mn-cs"/>
              </a:rPr>
              <a:t> by </a:t>
            </a:r>
            <a:r>
              <a:rPr lang="it-IT" sz="1200" b="0" i="0" u="none" strike="noStrike" kern="1200" baseline="0" dirty="0" err="1" smtClean="0">
                <a:solidFill>
                  <a:schemeClr val="tx1"/>
                </a:solidFill>
                <a:latin typeface="+mn-lt"/>
                <a:ea typeface="+mn-ea"/>
                <a:cs typeface="+mn-cs"/>
              </a:rPr>
              <a:t>binding</a:t>
            </a:r>
            <a:r>
              <a:rPr lang="it-IT" sz="1200" b="0" i="0" u="none" strike="noStrike" kern="1200" baseline="0" dirty="0" smtClean="0">
                <a:solidFill>
                  <a:schemeClr val="tx1"/>
                </a:solidFill>
                <a:latin typeface="+mn-lt"/>
                <a:ea typeface="+mn-ea"/>
                <a:cs typeface="+mn-cs"/>
              </a:rPr>
              <a:t> IL‑6 </a:t>
            </a:r>
            <a:r>
              <a:rPr lang="it-IT" sz="1200" b="0" i="0" u="none" strike="noStrike" kern="1200" baseline="0" dirty="0" err="1" smtClean="0">
                <a:solidFill>
                  <a:schemeClr val="tx1"/>
                </a:solidFill>
                <a:latin typeface="+mn-lt"/>
                <a:ea typeface="+mn-ea"/>
                <a:cs typeface="+mn-cs"/>
              </a:rPr>
              <a:t>receptor</a:t>
            </a:r>
            <a:r>
              <a:rPr lang="it-IT" sz="1200" b="0" i="0" u="none" strike="noStrike" kern="1200" baseline="0" dirty="0" smtClean="0">
                <a:solidFill>
                  <a:schemeClr val="tx1"/>
                </a:solidFill>
                <a:latin typeface="+mn-lt"/>
                <a:ea typeface="+mn-ea"/>
                <a:cs typeface="+mn-cs"/>
              </a:rPr>
              <a:t> (IL‑6R) on </a:t>
            </a:r>
            <a:r>
              <a:rPr lang="it-IT" sz="1200" b="0" i="0" u="none" strike="noStrike" kern="1200" baseline="0" dirty="0" err="1" smtClean="0">
                <a:solidFill>
                  <a:schemeClr val="tx1"/>
                </a:solidFill>
                <a:latin typeface="+mn-lt"/>
                <a:ea typeface="+mn-ea"/>
                <a:cs typeface="+mn-cs"/>
              </a:rPr>
              <a:t>tumour</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cells</a:t>
            </a:r>
            <a:r>
              <a:rPr lang="it-IT" sz="1200" b="0" i="0" u="none" strike="noStrike" kern="1200" baseline="0" dirty="0" smtClean="0">
                <a:solidFill>
                  <a:schemeClr val="tx1"/>
                </a:solidFill>
                <a:latin typeface="+mn-lt"/>
                <a:ea typeface="+mn-ea"/>
                <a:cs typeface="+mn-cs"/>
              </a:rPr>
              <a:t>. </a:t>
            </a:r>
            <a:endParaRPr lang="it-IT" dirty="0"/>
          </a:p>
        </p:txBody>
      </p:sp>
      <p:sp>
        <p:nvSpPr>
          <p:cNvPr id="4" name="Segnaposto numero diapositiva 3"/>
          <p:cNvSpPr>
            <a:spLocks noGrp="1"/>
          </p:cNvSpPr>
          <p:nvPr>
            <p:ph type="sldNum" sz="quarter" idx="10"/>
          </p:nvPr>
        </p:nvSpPr>
        <p:spPr/>
        <p:txBody>
          <a:bodyPr/>
          <a:lstStyle/>
          <a:p>
            <a:fld id="{5F4CB135-1094-46BC-8F92-00C01C680695}" type="slidenum">
              <a:rPr lang="it-IT" smtClean="0">
                <a:solidFill>
                  <a:prstClr val="black"/>
                </a:solidFill>
              </a:rPr>
              <a:pPr/>
              <a:t>27</a:t>
            </a:fld>
            <a:endParaRPr lang="it-IT">
              <a:solidFill>
                <a:prstClr val="black"/>
              </a:solidFill>
            </a:endParaRPr>
          </a:p>
        </p:txBody>
      </p:sp>
    </p:spTree>
    <p:extLst>
      <p:ext uri="{BB962C8B-B14F-4D97-AF65-F5344CB8AC3E}">
        <p14:creationId xmlns:p14="http://schemas.microsoft.com/office/powerpoint/2010/main" val="35232411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1954" name="Segnaposto immagine diapositiva 1"/>
          <p:cNvSpPr>
            <a:spLocks noGrp="1" noRot="1" noChangeAspect="1" noTextEdit="1"/>
          </p:cNvSpPr>
          <p:nvPr>
            <p:ph type="sldImg"/>
          </p:nvPr>
        </p:nvSpPr>
        <p:spPr>
          <a:ln/>
        </p:spPr>
      </p:sp>
      <p:sp>
        <p:nvSpPr>
          <p:cNvPr id="1021955" name="Segnaposto note 2"/>
          <p:cNvSpPr>
            <a:spLocks noGrp="1"/>
          </p:cNvSpPr>
          <p:nvPr>
            <p:ph type="body" idx="1"/>
          </p:nvPr>
        </p:nvSpPr>
        <p:spPr>
          <a:noFill/>
          <a:ln/>
        </p:spPr>
        <p:txBody>
          <a:bodyPr/>
          <a:lstStyle/>
          <a:p>
            <a:r>
              <a:rPr lang="it-IT" smtClean="0"/>
              <a:t>Osteblast manage cancer stem cell as hsc: CSC are tightly linkedto OB trough moluculR LINK: AND THIS ALLOWS TO CSC TO RENEWAL WITHOUT PROLIFERATE AND DIFFERENTIATE</a:t>
            </a:r>
          </a:p>
        </p:txBody>
      </p:sp>
      <p:sp>
        <p:nvSpPr>
          <p:cNvPr id="1021956" name="Segnaposto numero diapositiva 3"/>
          <p:cNvSpPr>
            <a:spLocks noGrp="1"/>
          </p:cNvSpPr>
          <p:nvPr>
            <p:ph type="sldNum" sz="quarter" idx="5"/>
          </p:nvPr>
        </p:nvSpPr>
        <p:spPr>
          <a:noFill/>
        </p:spPr>
        <p:txBody>
          <a:bodyPr/>
          <a:lstStyle/>
          <a:p>
            <a:fld id="{F12DBD64-A850-4F63-9674-EB5EF2768385}" type="slidenum">
              <a:rPr lang="it-IT">
                <a:solidFill>
                  <a:prstClr val="black"/>
                </a:solidFill>
              </a:rPr>
              <a:pPr/>
              <a:t>28</a:t>
            </a:fld>
            <a:endParaRPr lang="it-IT">
              <a:solidFill>
                <a:prstClr val="black"/>
              </a:solidFill>
            </a:endParaRPr>
          </a:p>
        </p:txBody>
      </p:sp>
    </p:spTree>
    <p:extLst>
      <p:ext uri="{BB962C8B-B14F-4D97-AF65-F5344CB8AC3E}">
        <p14:creationId xmlns:p14="http://schemas.microsoft.com/office/powerpoint/2010/main" val="17559030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image" Target="file://localhost/ARTWORK/North%20Design%20Consultants/Slides_December/pin.png" TargetMode="External"/><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9.xml"/><Relationship Id="rId7"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slideMaster" Target="../slideMasters/slideMaster12.xml"/><Relationship Id="rId5" Type="http://schemas.openxmlformats.org/officeDocument/2006/relationships/tags" Target="../tags/tag11.xml"/><Relationship Id="rId4" Type="http://schemas.openxmlformats.org/officeDocument/2006/relationships/tags" Target="../tags/tag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3.xml"/><Relationship Id="rId7" Type="http://schemas.openxmlformats.org/officeDocument/2006/relationships/oleObject" Target="../embeddings/oleObject3.bin"/><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slideMaster" Target="../slideMasters/slideMaster12.xml"/><Relationship Id="rId5" Type="http://schemas.openxmlformats.org/officeDocument/2006/relationships/tags" Target="../tags/tag15.xml"/><Relationship Id="rId4" Type="http://schemas.openxmlformats.org/officeDocument/2006/relationships/tags" Target="../tags/tag14.xml"/></Relationships>
</file>

<file path=ppt/slideLayouts/_rels/slideLayout13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7.xml"/><Relationship Id="rId7" Type="http://schemas.openxmlformats.org/officeDocument/2006/relationships/oleObject" Target="../embeddings/oleObject4.bin"/><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slideMaster" Target="../slideMasters/slideMaster12.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1.xml"/><Relationship Id="rId7" Type="http://schemas.openxmlformats.org/officeDocument/2006/relationships/oleObject" Target="../embeddings/oleObject5.bin"/><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slideMaster" Target="../slideMasters/slideMaster12.xml"/><Relationship Id="rId5" Type="http://schemas.openxmlformats.org/officeDocument/2006/relationships/tags" Target="../tags/tag23.xml"/><Relationship Id="rId4" Type="http://schemas.openxmlformats.org/officeDocument/2006/relationships/tags" Target="../tags/tag22.xml"/></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12.xml"/><Relationship Id="rId5" Type="http://schemas.openxmlformats.org/officeDocument/2006/relationships/tags" Target="../tags/tag27.xml"/><Relationship Id="rId4" Type="http://schemas.openxmlformats.org/officeDocument/2006/relationships/tags" Target="../tags/tag26.xml"/></Relationships>
</file>

<file path=ppt/slideLayouts/_rels/slideLayout142.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9.xml"/><Relationship Id="rId7" Type="http://schemas.openxmlformats.org/officeDocument/2006/relationships/slideMaster" Target="../slideMasters/slideMaster12.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11" Type="http://schemas.openxmlformats.org/officeDocument/2006/relationships/image" Target="../media/image9.jpeg"/><Relationship Id="rId5" Type="http://schemas.openxmlformats.org/officeDocument/2006/relationships/tags" Target="../tags/tag31.xml"/><Relationship Id="rId10" Type="http://schemas.openxmlformats.org/officeDocument/2006/relationships/oleObject" Target="../embeddings/oleObject8.bin"/><Relationship Id="rId4" Type="http://schemas.openxmlformats.org/officeDocument/2006/relationships/tags" Target="../tags/tag30.xml"/><Relationship Id="rId9" Type="http://schemas.openxmlformats.org/officeDocument/2006/relationships/image" Target="../media/image7.emf"/></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4.xml"/><Relationship Id="rId7" Type="http://schemas.openxmlformats.org/officeDocument/2006/relationships/oleObject" Target="../embeddings/oleObject9.bin"/><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slideMaster" Target="../slideMasters/slideMaster12.xml"/><Relationship Id="rId5" Type="http://schemas.openxmlformats.org/officeDocument/2006/relationships/tags" Target="../tags/tag36.xml"/><Relationship Id="rId4" Type="http://schemas.openxmlformats.org/officeDocument/2006/relationships/tags" Target="../tags/tag35.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8.xml"/><Relationship Id="rId7" Type="http://schemas.openxmlformats.org/officeDocument/2006/relationships/oleObject" Target="../embeddings/oleObject10.bin"/><Relationship Id="rId2" Type="http://schemas.openxmlformats.org/officeDocument/2006/relationships/tags" Target="../tags/tag37.xml"/><Relationship Id="rId1" Type="http://schemas.openxmlformats.org/officeDocument/2006/relationships/vmlDrawing" Target="../drawings/vmlDrawing9.vml"/><Relationship Id="rId6" Type="http://schemas.openxmlformats.org/officeDocument/2006/relationships/slideMaster" Target="../slideMasters/slideMaster12.xml"/><Relationship Id="rId5" Type="http://schemas.openxmlformats.org/officeDocument/2006/relationships/tags" Target="../tags/tag40.xml"/><Relationship Id="rId4" Type="http://schemas.openxmlformats.org/officeDocument/2006/relationships/tags" Target="../tags/tag39.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42.xml"/><Relationship Id="rId7" Type="http://schemas.openxmlformats.org/officeDocument/2006/relationships/oleObject" Target="../embeddings/oleObject11.bin"/><Relationship Id="rId2" Type="http://schemas.openxmlformats.org/officeDocument/2006/relationships/tags" Target="../tags/tag41.xml"/><Relationship Id="rId1" Type="http://schemas.openxmlformats.org/officeDocument/2006/relationships/vmlDrawing" Target="../drawings/vmlDrawing10.vml"/><Relationship Id="rId6" Type="http://schemas.openxmlformats.org/officeDocument/2006/relationships/slideMaster" Target="../slideMasters/slideMaster12.xml"/><Relationship Id="rId5" Type="http://schemas.openxmlformats.org/officeDocument/2006/relationships/tags" Target="../tags/tag44.xml"/><Relationship Id="rId4" Type="http://schemas.openxmlformats.org/officeDocument/2006/relationships/tags" Target="../tags/tag43.xml"/></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46.xml"/><Relationship Id="rId7" Type="http://schemas.openxmlformats.org/officeDocument/2006/relationships/oleObject" Target="../embeddings/oleObject12.bin"/><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slideMaster" Target="../slideMasters/slideMaster12.xml"/><Relationship Id="rId5" Type="http://schemas.openxmlformats.org/officeDocument/2006/relationships/tags" Target="../tags/tag48.xml"/><Relationship Id="rId4" Type="http://schemas.openxmlformats.org/officeDocument/2006/relationships/tags" Target="../tags/tag47.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0.xml"/><Relationship Id="rId7" Type="http://schemas.openxmlformats.org/officeDocument/2006/relationships/oleObject" Target="../embeddings/oleObject13.bin"/><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slideMaster" Target="../slideMasters/slideMaster12.xml"/><Relationship Id="rId5" Type="http://schemas.openxmlformats.org/officeDocument/2006/relationships/tags" Target="../tags/tag52.xml"/><Relationship Id="rId4" Type="http://schemas.openxmlformats.org/officeDocument/2006/relationships/tags" Target="../tags/tag51.xml"/></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4.xml"/><Relationship Id="rId7" Type="http://schemas.openxmlformats.org/officeDocument/2006/relationships/oleObject" Target="../embeddings/oleObject14.bin"/><Relationship Id="rId2" Type="http://schemas.openxmlformats.org/officeDocument/2006/relationships/tags" Target="../tags/tag53.xml"/><Relationship Id="rId1" Type="http://schemas.openxmlformats.org/officeDocument/2006/relationships/vmlDrawing" Target="../drawings/vmlDrawing13.vml"/><Relationship Id="rId6" Type="http://schemas.openxmlformats.org/officeDocument/2006/relationships/slideMaster" Target="../slideMasters/slideMaster12.xml"/><Relationship Id="rId5" Type="http://schemas.openxmlformats.org/officeDocument/2006/relationships/tags" Target="../tags/tag56.xml"/><Relationship Id="rId4" Type="http://schemas.openxmlformats.org/officeDocument/2006/relationships/tags" Target="../tags/tag55.xml"/></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8.xml"/><Relationship Id="rId7" Type="http://schemas.openxmlformats.org/officeDocument/2006/relationships/oleObject" Target="../embeddings/oleObject15.bin"/><Relationship Id="rId2"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slideMaster" Target="../slideMasters/slideMaster12.xml"/><Relationship Id="rId5" Type="http://schemas.openxmlformats.org/officeDocument/2006/relationships/tags" Target="../tags/tag60.xml"/><Relationship Id="rId4" Type="http://schemas.openxmlformats.org/officeDocument/2006/relationships/tags" Target="../tags/tag5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62.xml"/><Relationship Id="rId7" Type="http://schemas.openxmlformats.org/officeDocument/2006/relationships/oleObject" Target="../embeddings/oleObject16.bin"/><Relationship Id="rId2" Type="http://schemas.openxmlformats.org/officeDocument/2006/relationships/tags" Target="../tags/tag61.xml"/><Relationship Id="rId1" Type="http://schemas.openxmlformats.org/officeDocument/2006/relationships/vmlDrawing" Target="../drawings/vmlDrawing15.vml"/><Relationship Id="rId6" Type="http://schemas.openxmlformats.org/officeDocument/2006/relationships/slideMaster" Target="../slideMasters/slideMaster12.xml"/><Relationship Id="rId5" Type="http://schemas.openxmlformats.org/officeDocument/2006/relationships/tags" Target="../tags/tag64.xml"/><Relationship Id="rId4" Type="http://schemas.openxmlformats.org/officeDocument/2006/relationships/tags" Target="../tags/tag6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file://localhost/ARTWORK/North%20Design%20Consultants/Slides_December/pin.png" TargetMode="External"/><Relationship Id="rId2" Type="http://schemas.openxmlformats.org/officeDocument/2006/relationships/image" Target="../media/image3.png"/><Relationship Id="rId1" Type="http://schemas.openxmlformats.org/officeDocument/2006/relationships/slideMaster" Target="../slideMasters/slideMaster6.xml"/><Relationship Id="rId5" Type="http://schemas.openxmlformats.org/officeDocument/2006/relationships/image" Target="NULL"/><Relationship Id="rId4" Type="http://schemas.openxmlformats.org/officeDocument/2006/relationships/image" Target="../media/image4.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file://localhost/ARTWORK/North%20Design%20Consultants/Slides_December/pin.png" TargetMode="External"/><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35506" y="6415277"/>
            <a:ext cx="7087343" cy="430887"/>
          </a:xfrm>
          <a:prstGeom prst="rect">
            <a:avLst/>
          </a:prstGeom>
        </p:spPr>
        <p:txBody>
          <a:bodyPr anchor="b">
            <a:noAutofit/>
          </a:bodyPr>
          <a:lstStyle>
            <a:lvl1pPr marL="0" indent="0">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14325"/>
            <a:ext cx="5004049" cy="430887"/>
          </a:xfrm>
          <a:prstGeom prst="rect">
            <a:avLst/>
          </a:prstGeom>
        </p:spPr>
        <p:txBody>
          <a:bodyPr anchor="b">
            <a:normAutofit/>
          </a:bodyPr>
          <a:lstStyle>
            <a:lvl1pPr algn="r">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p>
            <a:r>
              <a:rPr lang="en-US" dirty="0" smtClean="0"/>
              <a:t>Click to edit Master title style</a:t>
            </a:r>
            <a:endParaRPr lang="en-GB" dirty="0"/>
          </a:p>
        </p:txBody>
      </p:sp>
    </p:spTree>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blank">
  <p:cSld name="Vuota">
    <p:spTree>
      <p:nvGrpSpPr>
        <p:cNvPr id="1" name=""/>
        <p:cNvGrpSpPr/>
        <p:nvPr/>
      </p:nvGrpSpPr>
      <p:grpSpPr>
        <a:xfrm>
          <a:off x="0" y="0"/>
          <a:ext cx="0" cy="0"/>
          <a:chOff x="0" y="0"/>
          <a:chExt cx="0" cy="0"/>
        </a:xfrm>
      </p:grpSpPr>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685921" y="609600"/>
            <a:ext cx="7772159" cy="1143000"/>
          </a:xfrm>
          <a:prstGeom prst="rect">
            <a:avLst/>
          </a:prstGeom>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a:xfrm>
            <a:off x="685800" y="6248400"/>
            <a:ext cx="1905000" cy="457200"/>
          </a:xfrm>
          <a:prstGeom prst="rect">
            <a:avLst/>
          </a:prstGeom>
        </p:spPr>
        <p:txBody>
          <a:bodyPr/>
          <a:lstStyle>
            <a:lvl1pPr>
              <a:defRPr>
                <a:solidFill>
                  <a:srgbClr val="00446A"/>
                </a:solidFill>
                <a:latin typeface="Arial" charset="0"/>
                <a:ea typeface="+mn-ea"/>
                <a:cs typeface="Arial" charset="0"/>
              </a:defRPr>
            </a:lvl1pPr>
          </a:lstStyle>
          <a:p>
            <a:pPr fontAlgn="base">
              <a:spcBef>
                <a:spcPct val="0"/>
              </a:spcBef>
              <a:spcAft>
                <a:spcPct val="0"/>
              </a:spcAft>
              <a:defRPr/>
            </a:pPr>
            <a:endParaRPr lang="it-IT"/>
          </a:p>
        </p:txBody>
      </p:sp>
      <p:sp>
        <p:nvSpPr>
          <p:cNvPr id="4" name="Segnaposto piè di pagina 3"/>
          <p:cNvSpPr>
            <a:spLocks noGrp="1"/>
          </p:cNvSpPr>
          <p:nvPr>
            <p:ph type="ftr" sz="quarter" idx="11"/>
          </p:nvPr>
        </p:nvSpPr>
        <p:spPr>
          <a:xfrm>
            <a:off x="3124200" y="6248400"/>
            <a:ext cx="2895600" cy="457200"/>
          </a:xfrm>
          <a:prstGeom prst="rect">
            <a:avLst/>
          </a:prstGeom>
        </p:spPr>
        <p:txBody>
          <a:bodyPr/>
          <a:lstStyle>
            <a:lvl1pPr>
              <a:defRPr>
                <a:solidFill>
                  <a:srgbClr val="00446A"/>
                </a:solidFill>
                <a:latin typeface="Arial" charset="0"/>
                <a:ea typeface="+mn-ea"/>
                <a:cs typeface="Arial" charset="0"/>
              </a:defRPr>
            </a:lvl1pPr>
          </a:lstStyle>
          <a:p>
            <a:pPr fontAlgn="base">
              <a:spcBef>
                <a:spcPct val="0"/>
              </a:spcBef>
              <a:spcAft>
                <a:spcPct val="0"/>
              </a:spcAft>
              <a:defRPr/>
            </a:pPr>
            <a:endParaRPr lang="it-IT"/>
          </a:p>
        </p:txBody>
      </p:sp>
      <p:sp>
        <p:nvSpPr>
          <p:cNvPr id="5" name="Segnaposto numero diapositiva 4"/>
          <p:cNvSpPr>
            <a:spLocks noGrp="1"/>
          </p:cNvSpPr>
          <p:nvPr>
            <p:ph type="sldNum" sz="quarter" idx="12"/>
          </p:nvPr>
        </p:nvSpPr>
        <p:spPr>
          <a:xfrm>
            <a:off x="6553200" y="6248400"/>
            <a:ext cx="1905000" cy="457200"/>
          </a:xfrm>
          <a:prstGeom prst="rect">
            <a:avLst/>
          </a:prstGeom>
        </p:spPr>
        <p:txBody>
          <a:bodyPr/>
          <a:lstStyle>
            <a:lvl1pPr>
              <a:defRPr>
                <a:solidFill>
                  <a:srgbClr val="00446A"/>
                </a:solidFill>
                <a:latin typeface="Arial" charset="0"/>
                <a:ea typeface="+mn-ea"/>
                <a:cs typeface="Arial" charset="0"/>
              </a:defRPr>
            </a:lvl1pPr>
          </a:lstStyle>
          <a:p>
            <a:pPr fontAlgn="base">
              <a:spcBef>
                <a:spcPct val="0"/>
              </a:spcBef>
              <a:spcAft>
                <a:spcPct val="0"/>
              </a:spcAft>
              <a:defRPr/>
            </a:pPr>
            <a:fld id="{B1B064D8-2EA8-47DD-B890-3749B62C9EFD}" type="slidenum">
              <a:rPr lang="it-IT"/>
              <a:pPr fontAlgn="base">
                <a:spcBef>
                  <a:spcPct val="0"/>
                </a:spcBef>
                <a:spcAft>
                  <a:spcPct val="0"/>
                </a:spcAft>
                <a:defRPr/>
              </a:pPr>
              <a:t>‹N›</a:t>
            </a:fld>
            <a:endParaRPr lang="it-IT"/>
          </a:p>
        </p:txBody>
      </p:sp>
    </p:spTree>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6"/>
          <p:cNvSpPr/>
          <p:nvPr userDrawn="1"/>
        </p:nvSpPr>
        <p:spPr>
          <a:xfrm>
            <a:off x="0" y="0"/>
            <a:ext cx="9144000" cy="6240463"/>
          </a:xfrm>
          <a:prstGeom prst="rect">
            <a:avLst/>
          </a:prstGeom>
          <a:solidFill>
            <a:srgbClr val="00446A"/>
          </a:solidFill>
          <a:ln>
            <a:solidFill>
              <a:srgbClr val="00446A"/>
            </a:solidFill>
          </a:ln>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srgbClr val="FFFFFF"/>
              </a:solidFill>
            </a:endParaRPr>
          </a:p>
        </p:txBody>
      </p:sp>
      <p:sp>
        <p:nvSpPr>
          <p:cNvPr id="5" name="Rectangle 4"/>
          <p:cNvSpPr/>
          <p:nvPr userDrawn="1"/>
        </p:nvSpPr>
        <p:spPr>
          <a:xfrm>
            <a:off x="0" y="6189663"/>
            <a:ext cx="9144000" cy="58737"/>
          </a:xfrm>
          <a:prstGeom prst="rect">
            <a:avLst/>
          </a:prstGeom>
          <a:solidFill>
            <a:srgbClr val="F26649"/>
          </a:solidFill>
          <a:ln w="9525" cap="flat" cmpd="sng" algn="ctr">
            <a:solidFill>
              <a:srgbClr val="E25326">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base">
              <a:spcBef>
                <a:spcPct val="0"/>
              </a:spcBef>
              <a:spcAft>
                <a:spcPct val="0"/>
              </a:spcAft>
              <a:defRPr/>
            </a:pPr>
            <a:endParaRPr lang="en-US">
              <a:solidFill>
                <a:srgbClr val="FFFFFF"/>
              </a:solidFill>
              <a:ea typeface="MS PGothic" pitchFamily="34" charset="-128"/>
            </a:endParaRPr>
          </a:p>
        </p:txBody>
      </p:sp>
      <p:sp>
        <p:nvSpPr>
          <p:cNvPr id="173059" name="Text Placeholder 2"/>
          <p:cNvSpPr>
            <a:spLocks noGrp="1"/>
          </p:cNvSpPr>
          <p:nvPr>
            <p:ph type="subTitle" idx="1"/>
          </p:nvPr>
        </p:nvSpPr>
        <p:spPr>
          <a:xfrm>
            <a:off x="1371600" y="3886200"/>
            <a:ext cx="6400800" cy="1752600"/>
          </a:xfrm>
        </p:spPr>
        <p:txBody>
          <a:bodyPr/>
          <a:lstStyle>
            <a:lvl1pPr marL="0" indent="0" algn="ctr">
              <a:buFontTx/>
              <a:buNone/>
              <a:defRPr smtClean="0"/>
            </a:lvl1pPr>
          </a:lstStyle>
          <a:p>
            <a:r>
              <a:rPr lang="en-US" smtClean="0"/>
              <a:t>Click to edit Master subtitle style</a:t>
            </a:r>
          </a:p>
        </p:txBody>
      </p:sp>
      <p:sp>
        <p:nvSpPr>
          <p:cNvPr id="173061" name="Title Placeholder 15"/>
          <p:cNvSpPr>
            <a:spLocks noGrp="1"/>
          </p:cNvSpPr>
          <p:nvPr>
            <p:ph type="ctrTitle"/>
          </p:nvPr>
        </p:nvSpPr>
        <p:spPr>
          <a:xfrm>
            <a:off x="685800" y="2130425"/>
            <a:ext cx="7772400" cy="1470025"/>
          </a:xfrm>
        </p:spPr>
        <p:txBody>
          <a:bodyPr/>
          <a:lstStyle>
            <a:lvl1pPr algn="ctr">
              <a:defRPr sz="3200" smtClean="0"/>
            </a:lvl1pPr>
          </a:lstStyle>
          <a:p>
            <a:r>
              <a:rPr lang="en-US" smtClean="0"/>
              <a:t>Click to edit Master title style</a:t>
            </a:r>
          </a:p>
        </p:txBody>
      </p:sp>
    </p:spTree>
  </p:cSld>
  <p:clrMapOvr>
    <a:masterClrMapping/>
  </p:clrMapOvr>
  <p:transition advClick="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35506" y="6415277"/>
            <a:ext cx="7087343" cy="430887"/>
          </a:xfrm>
        </p:spPr>
        <p:txBody>
          <a:bodyPr anchor="b">
            <a:noAutofit/>
          </a:bodyPr>
          <a:lstStyle>
            <a:lvl1pPr marL="0" indent="0">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14325"/>
            <a:ext cx="5004049" cy="430887"/>
          </a:xfrm>
        </p:spPr>
        <p:txBody>
          <a:bodyPr anchor="b">
            <a:normAutofit/>
          </a:bodyPr>
          <a:lstStyle>
            <a:lvl1pPr algn="r">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p>
            <a:r>
              <a:rPr lang="en-US" dirty="0" smtClean="0"/>
              <a:t>Click to edit Master title style</a:t>
            </a:r>
            <a:endParaRPr lang="en-GB" dirty="0"/>
          </a:p>
        </p:txBody>
      </p:sp>
    </p:spTree>
  </p:cSld>
  <p:clrMapOvr>
    <a:masterClrMapping/>
  </p:clrMapOvr>
  <p:transition advClick="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ormAutofit/>
          </a:bodyPr>
          <a:lstStyle>
            <a:lvl1pPr marL="0" indent="0">
              <a:buNone/>
              <a:defRPr sz="3600" b="1">
                <a:solidFill>
                  <a:srgbClr val="00446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Tree>
  </p:cSld>
  <p:clrMapOvr>
    <a:masterClrMapping/>
  </p:clrMapOvr>
  <p:transition advClick="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5"/>
          <p:cNvSpPr>
            <a:spLocks noGrp="1"/>
          </p:cNvSpPr>
          <p:nvPr>
            <p:ph type="title"/>
          </p:nvPr>
        </p:nvSpPr>
        <p:spPr>
          <a:xfrm>
            <a:off x="457200" y="116632"/>
            <a:ext cx="8229600" cy="1224136"/>
          </a:xfrm>
          <a:prstGeom prst="rect">
            <a:avLst/>
          </a:prstGeom>
        </p:spPr>
        <p:txBody>
          <a:bodyPr rtlCol="0">
            <a:normAutofit/>
          </a:bodyPr>
          <a:lstStyle/>
          <a:p>
            <a:r>
              <a:rPr lang="en-US" smtClean="0"/>
              <a:t>Click to edit Master title style</a:t>
            </a:r>
            <a:endParaRPr lang="en-GB"/>
          </a:p>
        </p:txBody>
      </p:sp>
    </p:spTree>
  </p:cSld>
  <p:clrMapOvr>
    <a:masterClrMapping/>
  </p:clrMapOvr>
  <p:transition advClick="0"/>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advClick="0"/>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advClick="0"/>
</p:sldLayout>
</file>

<file path=ppt/slideLayouts/slideLayout109.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ransition advClick="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90500"/>
            <a:ext cx="8226425"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5613" y="1598613"/>
            <a:ext cx="8226425" cy="41132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6"/>
          <p:cNvSpPr>
            <a:spLocks noGrp="1"/>
          </p:cNvSpPr>
          <p:nvPr>
            <p:ph sz="quarter" idx="11"/>
          </p:nvPr>
        </p:nvSpPr>
        <p:spPr>
          <a:xfrm>
            <a:off x="455612" y="6200780"/>
            <a:ext cx="8226425" cy="482600"/>
          </a:xfrm>
          <a:prstGeom prst="rect">
            <a:avLst/>
          </a:prstGeom>
        </p:spPr>
        <p:txBody>
          <a:bodyPr anchor="b"/>
          <a:lstStyle>
            <a:lvl1pPr>
              <a:buNone/>
              <a:defRPr sz="1000"/>
            </a:lvl1pPr>
            <a:lvl2pPr>
              <a:buNone/>
              <a:defRPr/>
            </a:lvl2pPr>
          </a:lstStyle>
          <a:p>
            <a:pPr lvl="0"/>
            <a:r>
              <a:rPr lang="en-US" smtClean="0"/>
              <a:t>Click to edit Master text styles</a:t>
            </a:r>
          </a:p>
        </p:txBody>
      </p:sp>
      <p:sp>
        <p:nvSpPr>
          <p:cNvPr id="5" name="Slide Number Placeholder 3"/>
          <p:cNvSpPr>
            <a:spLocks noGrp="1"/>
          </p:cNvSpPr>
          <p:nvPr>
            <p:ph type="sldNum" sz="quarter" idx="12"/>
          </p:nvPr>
        </p:nvSpPr>
        <p:spPr>
          <a:xfrm>
            <a:off x="8682038" y="6554788"/>
            <a:ext cx="323850" cy="228600"/>
          </a:xfrm>
          <a:prstGeom prst="rect">
            <a:avLst/>
          </a:prstGeom>
        </p:spPr>
        <p:txBody>
          <a:bodyPr/>
          <a:lstStyle>
            <a:lvl1pPr>
              <a:defRPr>
                <a:solidFill>
                  <a:srgbClr val="000000"/>
                </a:solidFill>
                <a:latin typeface="Arial"/>
                <a:ea typeface="+mn-ea"/>
              </a:defRPr>
            </a:lvl1pPr>
          </a:lstStyle>
          <a:p>
            <a:pPr fontAlgn="base">
              <a:spcBef>
                <a:spcPct val="0"/>
              </a:spcBef>
              <a:spcAft>
                <a:spcPct val="0"/>
              </a:spcAft>
              <a:defRPr/>
            </a:pPr>
            <a:fld id="{75B3749A-975A-4CA6-8E00-D93DA435AED2}" type="slidenum">
              <a:rPr lang="en-US"/>
              <a:pPr fontAlgn="base">
                <a:spcBef>
                  <a:spcPct val="0"/>
                </a:spcBef>
                <a:spcAft>
                  <a:spcPct val="0"/>
                </a:spcAft>
                <a:defRPr/>
              </a:pPr>
              <a:t>‹N›</a:t>
            </a:fld>
            <a:endParaRPr lang="en-US" dirty="0"/>
          </a:p>
        </p:txBody>
      </p:sp>
    </p:spTree>
  </p:cSld>
  <p:clrMapOvr>
    <a:masterClrMapping/>
  </p:clrMapOvr>
  <p:transition advClick="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90500"/>
            <a:ext cx="8226425"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5613" y="1598613"/>
            <a:ext cx="8226425" cy="41132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6"/>
          <p:cNvSpPr>
            <a:spLocks noGrp="1"/>
          </p:cNvSpPr>
          <p:nvPr>
            <p:ph sz="quarter" idx="11"/>
          </p:nvPr>
        </p:nvSpPr>
        <p:spPr>
          <a:xfrm>
            <a:off x="455612" y="6200780"/>
            <a:ext cx="8226425" cy="482600"/>
          </a:xfrm>
          <a:prstGeom prst="rect">
            <a:avLst/>
          </a:prstGeom>
        </p:spPr>
        <p:txBody>
          <a:bodyPr anchor="b"/>
          <a:lstStyle>
            <a:lvl1pPr>
              <a:buNone/>
              <a:defRPr sz="1000"/>
            </a:lvl1pPr>
            <a:lvl2pPr>
              <a:buNone/>
              <a:defRPr/>
            </a:lvl2pPr>
          </a:lstStyle>
          <a:p>
            <a:pPr lvl="0"/>
            <a:r>
              <a:rPr lang="en-US" smtClean="0"/>
              <a:t>Click to edit Master text styles</a:t>
            </a:r>
          </a:p>
        </p:txBody>
      </p:sp>
      <p:sp>
        <p:nvSpPr>
          <p:cNvPr id="5" name="Slide Number Placeholder 3"/>
          <p:cNvSpPr>
            <a:spLocks noGrp="1"/>
          </p:cNvSpPr>
          <p:nvPr>
            <p:ph type="sldNum" sz="quarter" idx="12"/>
          </p:nvPr>
        </p:nvSpPr>
        <p:spPr>
          <a:xfrm>
            <a:off x="8682038" y="6554788"/>
            <a:ext cx="323850" cy="228600"/>
          </a:xfrm>
          <a:prstGeom prst="rect">
            <a:avLst/>
          </a:prstGeom>
        </p:spPr>
        <p:txBody>
          <a:bodyPr/>
          <a:lstStyle>
            <a:lvl1pPr>
              <a:defRPr>
                <a:solidFill>
                  <a:srgbClr val="000000"/>
                </a:solidFill>
                <a:latin typeface="Arial"/>
                <a:ea typeface="+mn-ea"/>
              </a:defRPr>
            </a:lvl1pPr>
          </a:lstStyle>
          <a:p>
            <a:pPr fontAlgn="base">
              <a:spcBef>
                <a:spcPct val="0"/>
              </a:spcBef>
              <a:spcAft>
                <a:spcPct val="0"/>
              </a:spcAft>
              <a:defRPr/>
            </a:pPr>
            <a:fld id="{932B1751-1D03-4EC5-A15C-EC0B9DEF519D}" type="slidenum">
              <a:rPr lang="en-US"/>
              <a:pPr fontAlgn="base">
                <a:spcBef>
                  <a:spcPct val="0"/>
                </a:spcBef>
                <a:spcAft>
                  <a:spcPct val="0"/>
                </a:spcAft>
                <a:defRPr/>
              </a:pPr>
              <a:t>‹N›</a:t>
            </a:fld>
            <a:endParaRPr lang="en-US" dirty="0"/>
          </a:p>
        </p:txBody>
      </p:sp>
    </p:spTree>
  </p:cSld>
  <p:clrMapOvr>
    <a:masterClrMapping/>
  </p:clrMapOvr>
  <p:transition advClick="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35506" y="6415277"/>
            <a:ext cx="7087343" cy="430887"/>
          </a:xfrm>
        </p:spPr>
        <p:txBody>
          <a:bodyPr anchor="b">
            <a:noAutofit/>
          </a:bodyPr>
          <a:lstStyle>
            <a:lvl1pPr marL="0" indent="0">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14325"/>
            <a:ext cx="5004049" cy="430887"/>
          </a:xfrm>
        </p:spPr>
        <p:txBody>
          <a:bodyPr anchor="b">
            <a:normAutofit/>
          </a:bodyPr>
          <a:lstStyle>
            <a:lvl1pPr algn="r">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lvl1pPr>
              <a:defRPr sz="2800"/>
            </a:lvl1pPr>
          </a:lstStyle>
          <a:p>
            <a:r>
              <a:rPr lang="en-US" dirty="0" smtClean="0"/>
              <a:t>Click to edit Master title style</a:t>
            </a:r>
            <a:endParaRPr lang="en-GB" dirty="0"/>
          </a:p>
        </p:txBody>
      </p:sp>
    </p:spTree>
  </p:cSld>
  <p:clrMapOvr>
    <a:masterClrMapping/>
  </p:clrMapOvr>
  <p:transition advClick="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a:xfrm>
            <a:off x="458788" y="135734"/>
            <a:ext cx="8228011" cy="1143000"/>
          </a:xfrm>
          <a:prstGeom prst="rect">
            <a:avLst/>
          </a:prstGeom>
        </p:spPr>
        <p:txBody>
          <a:bodyPr lIns="0"/>
          <a:lstStyle>
            <a:lvl1pPr>
              <a:defRPr>
                <a:solidFill>
                  <a:schemeClr val="bg1"/>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449263" y="1602000"/>
            <a:ext cx="8250237" cy="4311650"/>
          </a:xfrm>
          <a:prstGeom prst="rect">
            <a:avLst/>
          </a:prstGeom>
        </p:spPr>
        <p:txBody>
          <a:bodyPr lIns="0"/>
          <a:lstStyle>
            <a:lvl1pPr marL="254000" indent="-254000">
              <a:spcBef>
                <a:spcPts val="0"/>
              </a:spcBef>
              <a:spcAft>
                <a:spcPts val="800"/>
              </a:spcAft>
              <a:buClrTx/>
              <a:buSzPct val="120000"/>
              <a:buFontTx/>
              <a:buBlip>
                <a:blip r:embed="rId2" r:link="rId3"/>
              </a:buBlip>
              <a:defRPr/>
            </a:lvl1pPr>
            <a:lvl2pPr marL="515938" indent="-244475">
              <a:spcBef>
                <a:spcPts val="0"/>
              </a:spcBef>
              <a:spcAft>
                <a:spcPts val="800"/>
              </a:spcAft>
              <a:buClrTx/>
              <a:buSzPct val="120000"/>
              <a:buFontTx/>
              <a:buBlip>
                <a:blip r:embed="rId2" r:link="rId3"/>
              </a:buBlip>
              <a:defRPr/>
            </a:lvl2pPr>
            <a:lvl3pPr marL="762000" indent="-236538">
              <a:spcBef>
                <a:spcPts val="0"/>
              </a:spcBef>
              <a:spcAft>
                <a:spcPts val="800"/>
              </a:spcAft>
              <a:buClrTx/>
              <a:buSzPct val="120000"/>
              <a:buFontTx/>
              <a:buBlip>
                <a:blip r:embed="rId2" r:link="rId3"/>
              </a:buBlip>
              <a:defRPr/>
            </a:lvl3pPr>
            <a:lvl4pPr marL="1033463" indent="-263525">
              <a:spcBef>
                <a:spcPts val="0"/>
              </a:spcBef>
              <a:spcAft>
                <a:spcPts val="800"/>
              </a:spcAft>
              <a:buClrTx/>
              <a:buSzPct val="120000"/>
              <a:buFontTx/>
              <a:buBlip>
                <a:blip r:embed="rId2" r:link="rId3"/>
              </a:buBlip>
              <a:defRPr/>
            </a:lvl4pPr>
            <a:lvl5pPr marL="1270000" indent="-220663">
              <a:spcBef>
                <a:spcPts val="0"/>
              </a:spcBef>
              <a:spcAft>
                <a:spcPts val="800"/>
              </a:spcAft>
              <a:buClrTx/>
              <a:buSzPct val="120000"/>
              <a:buFontTx/>
              <a:buBlip>
                <a:blip r:embed="rId2" r:link="rId3"/>
              </a:buBlip>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457200" y="6097915"/>
            <a:ext cx="6635080" cy="630942"/>
          </a:xfrm>
          <a:prstGeom prst="rect">
            <a:avLst/>
          </a:prstGeom>
        </p:spPr>
        <p:txBody>
          <a:bodyPr lIns="0" anchor="b">
            <a:normAutofit/>
          </a:bodyPr>
          <a:lstStyle>
            <a:lvl1pPr marL="0" indent="0" algn="l">
              <a:buFontTx/>
              <a:buNone/>
              <a:defRPr sz="1000">
                <a:solidFill>
                  <a:schemeClr val="tx1"/>
                </a:solidFill>
              </a:defRPr>
            </a:lvl1pPr>
            <a:lvl2pPr algn="l">
              <a:buFontTx/>
              <a:buNone/>
              <a:defRPr sz="1000">
                <a:solidFill>
                  <a:schemeClr val="tx1"/>
                </a:solidFill>
              </a:defRPr>
            </a:lvl2pPr>
            <a:lvl3pPr algn="l">
              <a:buFontTx/>
              <a:buNone/>
              <a:defRPr sz="1000">
                <a:solidFill>
                  <a:schemeClr val="tx1"/>
                </a:solidFill>
              </a:defRPr>
            </a:lvl3pPr>
            <a:lvl4pPr algn="l">
              <a:buFontTx/>
              <a:buNone/>
              <a:defRPr sz="1000">
                <a:solidFill>
                  <a:schemeClr val="tx1"/>
                </a:solidFill>
              </a:defRPr>
            </a:lvl4pPr>
            <a:lvl5pPr algn="l">
              <a:buFontTx/>
              <a:buNone/>
              <a:defRPr sz="10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Tree>
  </p:cSld>
  <p:clrMapOvr>
    <a:masterClrMapping/>
  </p:clrMapOvr>
  <p:transition advClick="0"/>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1" y="6427113"/>
            <a:ext cx="5004049" cy="430887"/>
          </a:xfrm>
        </p:spPr>
        <p:txBody>
          <a:bodyPr anchor="b">
            <a:normAutofit/>
          </a:bodyPr>
          <a:lstStyle>
            <a:lvl1pPr marL="0" indent="0">
              <a:spcBef>
                <a:spcPts val="0"/>
              </a:spcBef>
              <a:buNone/>
              <a:defRPr sz="1000" b="0">
                <a:solidFill>
                  <a:schemeClr val="accent1"/>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27113"/>
            <a:ext cx="5004049" cy="430887"/>
          </a:xfrm>
        </p:spPr>
        <p:txBody>
          <a:bodyPr anchor="b">
            <a:normAutofit/>
          </a:bodyPr>
          <a:lstStyle>
            <a:lvl1pPr algn="r">
              <a:buNone/>
              <a:defRPr sz="1000" b="0">
                <a:solidFill>
                  <a:schemeClr val="accent1"/>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p>
            <a:r>
              <a:rPr lang="en-US" dirty="0" smtClean="0"/>
              <a:t>Click to edit Master title style</a:t>
            </a:r>
            <a:endParaRPr lang="en-GB" dirty="0"/>
          </a:p>
        </p:txBody>
      </p:sp>
    </p:spTree>
  </p:cSld>
  <p:clrMapOvr>
    <a:masterClrMapping/>
  </p:clrMapOvr>
  <p:transition advClick="0"/>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Tree>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Tree>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314325" y="1614488"/>
            <a:ext cx="4186238"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52963" y="1614488"/>
            <a:ext cx="418623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3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5"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4C4A33B8-6A3A-4924-A556-4DC1C808322D}" type="slidenum">
              <a:rPr lang="it-IT"/>
              <a:pPr>
                <a:defRPr/>
              </a:pPr>
              <a:t>‹N›</a:t>
            </a:fld>
            <a:endParaRPr lang="it-IT"/>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708775" y="119063"/>
            <a:ext cx="2130425" cy="5886450"/>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314325" y="119063"/>
            <a:ext cx="6242050" cy="5886450"/>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35506" y="6415277"/>
            <a:ext cx="7087343" cy="430887"/>
          </a:xfrm>
        </p:spPr>
        <p:txBody>
          <a:bodyPr anchor="b">
            <a:noAutofit/>
          </a:bodyPr>
          <a:lstStyle>
            <a:lvl1pPr marL="0" indent="0">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14325"/>
            <a:ext cx="5004049" cy="430887"/>
          </a:xfrm>
        </p:spPr>
        <p:txBody>
          <a:bodyPr anchor="b">
            <a:normAutofit/>
          </a:bodyPr>
          <a:lstStyle>
            <a:lvl1pPr algn="r">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p>
            <a:r>
              <a:rPr lang="en-US" dirty="0" smtClean="0"/>
              <a:t>Click to edit Master title style</a:t>
            </a:r>
            <a:endParaRPr lang="en-GB" dirty="0"/>
          </a:p>
        </p:txBody>
      </p:sp>
    </p:spTree>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5" name="Rectangle 4"/>
          <p:cNvSpPr/>
          <p:nvPr userDrawn="1"/>
        </p:nvSpPr>
        <p:spPr>
          <a:xfrm>
            <a:off x="0" y="0"/>
            <a:ext cx="9144000" cy="1403350"/>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srgbClr val="FFFFFF"/>
              </a:solidFill>
            </a:endParaRPr>
          </a:p>
        </p:txBody>
      </p:sp>
      <p:sp>
        <p:nvSpPr>
          <p:cNvPr id="6" name="Title 5"/>
          <p:cNvSpPr>
            <a:spLocks noGrp="1"/>
          </p:cNvSpPr>
          <p:nvPr>
            <p:ph type="title"/>
          </p:nvPr>
        </p:nvSpPr>
        <p:spPr>
          <a:xfrm>
            <a:off x="457200" y="118800"/>
            <a:ext cx="8229600" cy="1143000"/>
          </a:xfrm>
          <a:prstGeom prst="rect">
            <a:avLst/>
          </a:prstGeom>
        </p:spPr>
        <p:txBody>
          <a:bodyPr/>
          <a:lstStyle>
            <a:lvl1pPr>
              <a:defRPr>
                <a:solidFill>
                  <a:schemeClr val="bg1"/>
                </a:solidFill>
              </a:defRPr>
            </a:lvl1pPr>
          </a:lstStyle>
          <a:p>
            <a:r>
              <a:rPr lang="en-GB" dirty="0" smtClean="0"/>
              <a:t>Click to edit Master title style</a:t>
            </a:r>
            <a:endParaRPr lang="en-US" dirty="0"/>
          </a:p>
        </p:txBody>
      </p:sp>
      <p:sp>
        <p:nvSpPr>
          <p:cNvPr id="8" name="Text Placeholder 7"/>
          <p:cNvSpPr>
            <a:spLocks noGrp="1"/>
          </p:cNvSpPr>
          <p:nvPr>
            <p:ph type="body" sz="quarter" idx="10"/>
          </p:nvPr>
        </p:nvSpPr>
        <p:spPr>
          <a:xfrm>
            <a:off x="449263" y="1602000"/>
            <a:ext cx="8250237" cy="4311650"/>
          </a:xfrm>
          <a:prstGeom prst="rect">
            <a:avLst/>
          </a:prstGeom>
        </p:spPr>
        <p:txBody>
          <a:bodyPr/>
          <a:lstStyle>
            <a:lvl1pPr>
              <a:buClr>
                <a:schemeClr val="accent1"/>
              </a:buClr>
              <a:buSzPct val="120000"/>
              <a:buFont typeface="Arial" pitchFamily="34" charset="0"/>
              <a:buChar char="•"/>
              <a:defRPr/>
            </a:lvl1pPr>
            <a:lvl2pPr>
              <a:buClr>
                <a:schemeClr val="accent1"/>
              </a:buClr>
              <a:buSzPct val="120000"/>
              <a:buFont typeface="Arial" pitchFamily="34" charset="0"/>
              <a:buChar char="•"/>
              <a:defRPr/>
            </a:lvl2pPr>
            <a:lvl3pPr>
              <a:buClr>
                <a:schemeClr val="accent1"/>
              </a:buClr>
              <a:buSzPct val="120000"/>
              <a:buFont typeface="Arial" pitchFamily="34" charset="0"/>
              <a:buChar char="•"/>
              <a:defRPr/>
            </a:lvl3pPr>
            <a:lvl4pPr>
              <a:buClr>
                <a:schemeClr val="accent1"/>
              </a:buClr>
              <a:buSzPct val="120000"/>
              <a:buFont typeface="Arial" pitchFamily="34" charset="0"/>
              <a:buChar char="•"/>
              <a:defRPr/>
            </a:lvl4pPr>
            <a:lvl5pPr>
              <a:buClr>
                <a:schemeClr val="accent1"/>
              </a:buClr>
              <a:buSzPct val="120000"/>
              <a:buFont typeface="Arial" pitchFamily="34" charset="0"/>
              <a:buChar cha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3"/>
          <p:cNvSpPr>
            <a:spLocks noGrp="1"/>
          </p:cNvSpPr>
          <p:nvPr>
            <p:ph type="body" sz="quarter" idx="11"/>
          </p:nvPr>
        </p:nvSpPr>
        <p:spPr>
          <a:xfrm>
            <a:off x="13840" y="6231540"/>
            <a:ext cx="5348287" cy="612775"/>
          </a:xfrm>
          <a:prstGeom prst="rect">
            <a:avLst/>
          </a:prstGeom>
        </p:spPr>
        <p:txBody>
          <a:bodyPr anchor="b"/>
          <a:lstStyle>
            <a:lvl1pPr marL="0" indent="0" algn="l">
              <a:spcBef>
                <a:spcPts val="0"/>
              </a:spcBef>
              <a:buFontTx/>
              <a:buNone/>
              <a:defRPr sz="1000">
                <a:solidFill>
                  <a:schemeClr val="tx1"/>
                </a:solidFill>
              </a:defRPr>
            </a:lvl1pPr>
            <a:lvl2pPr algn="l">
              <a:buFontTx/>
              <a:buNone/>
              <a:defRPr sz="1000">
                <a:solidFill>
                  <a:schemeClr val="tx1"/>
                </a:solidFill>
              </a:defRPr>
            </a:lvl2pPr>
            <a:lvl3pPr algn="l">
              <a:buFontTx/>
              <a:buNone/>
              <a:defRPr sz="1000">
                <a:solidFill>
                  <a:schemeClr val="tx1"/>
                </a:solidFill>
              </a:defRPr>
            </a:lvl3pPr>
            <a:lvl4pPr algn="l">
              <a:buFontTx/>
              <a:buNone/>
              <a:defRPr sz="1000">
                <a:solidFill>
                  <a:schemeClr val="tx1"/>
                </a:solidFill>
              </a:defRPr>
            </a:lvl4pPr>
            <a:lvl5pPr algn="l">
              <a:buFontTx/>
              <a:buNone/>
              <a:defRPr sz="1000">
                <a:solidFill>
                  <a:schemeClr val="tx1"/>
                </a:solidFill>
              </a:defRPr>
            </a:lvl5pPr>
          </a:lstStyle>
          <a:p>
            <a:pPr lvl="0"/>
            <a:r>
              <a:rPr lang="en-GB" dirty="0" smtClean="0"/>
              <a:t>Click to edit Master text styles</a:t>
            </a:r>
          </a:p>
          <a:p>
            <a:pPr lvl="0"/>
            <a:r>
              <a:rPr lang="en-GB" dirty="0" smtClean="0"/>
              <a:t>Second level</a:t>
            </a:r>
          </a:p>
          <a:p>
            <a:pPr lvl="0"/>
            <a:r>
              <a:rPr lang="en-GB" dirty="0" smtClean="0"/>
              <a:t>Third level</a:t>
            </a:r>
            <a:endParaRPr lang="en-US" dirty="0"/>
          </a:p>
        </p:txBody>
      </p:sp>
    </p:spTree>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35506" y="6415277"/>
            <a:ext cx="7087343" cy="430887"/>
          </a:xfrm>
          <a:prstGeom prst="rect">
            <a:avLst/>
          </a:prstGeom>
        </p:spPr>
        <p:txBody>
          <a:bodyPr anchor="b">
            <a:noAutofit/>
          </a:bodyPr>
          <a:lstStyle>
            <a:lvl1pPr marL="0" indent="0">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14325"/>
            <a:ext cx="5004049" cy="430887"/>
          </a:xfrm>
          <a:prstGeom prst="rect">
            <a:avLst/>
          </a:prstGeom>
        </p:spPr>
        <p:txBody>
          <a:bodyPr anchor="b">
            <a:normAutofit/>
          </a:bodyPr>
          <a:lstStyle>
            <a:lvl1pPr algn="r">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p>
            <a:r>
              <a:rPr lang="en-US" dirty="0" smtClean="0"/>
              <a:t>Click to edit Master title style</a:t>
            </a:r>
            <a:endParaRPr lang="en-GB"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5"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F96E845D-D457-4026-A46E-1516BBAB8A0F}" type="slidenum">
              <a:rPr lang="it-IT"/>
              <a:pPr>
                <a:defRPr/>
              </a:pPr>
              <a:t>‹N›</a:t>
            </a:fld>
            <a:endParaRPr lang="it-IT"/>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1_Vuota">
    <p:spTree>
      <p:nvGrpSpPr>
        <p:cNvPr id="1" name=""/>
        <p:cNvGrpSpPr/>
        <p:nvPr/>
      </p:nvGrpSpPr>
      <p:grpSpPr>
        <a:xfrm>
          <a:off x="0" y="0"/>
          <a:ext cx="0" cy="0"/>
          <a:chOff x="0" y="0"/>
          <a:chExt cx="0" cy="0"/>
        </a:xfrm>
      </p:grpSpPr>
      <p:sp>
        <p:nvSpPr>
          <p:cNvPr id="3" name="Rectangle 17"/>
          <p:cNvSpPr/>
          <p:nvPr/>
        </p:nvSpPr>
        <p:spPr>
          <a:xfrm>
            <a:off x="0" y="6615113"/>
            <a:ext cx="9144000" cy="242887"/>
          </a:xfrm>
          <a:prstGeom prst="rect">
            <a:avLst/>
          </a:prstGeom>
          <a:solidFill>
            <a:sysClr val="windowText" lastClr="000000"/>
          </a:solidFill>
          <a:ln w="10000" cap="flat" cmpd="sng" algn="ctr">
            <a:noFill/>
            <a:prstDash val="solid"/>
          </a:ln>
          <a:effectLst/>
        </p:spPr>
        <p:txBody>
          <a:bodyPr anchor="ctr"/>
          <a:lstStyle/>
          <a:p>
            <a:pPr algn="ctr">
              <a:defRPr/>
            </a:pPr>
            <a:r>
              <a:rPr lang="it-IT" sz="675" kern="0" dirty="0">
                <a:solidFill>
                  <a:srgbClr val="FFFFFF">
                    <a:lumMod val="75000"/>
                  </a:srgbClr>
                </a:solidFill>
                <a:latin typeface="Calibri"/>
                <a:ea typeface="ＭＳ Ｐゴシック" charset="-128"/>
                <a:cs typeface="ＭＳ Ｐゴシック" charset="-128"/>
              </a:rPr>
              <a:t>Copyright © 2014 - Accademia Nazionale di Medicina. Tutti i diritti riservati.</a:t>
            </a:r>
          </a:p>
        </p:txBody>
      </p:sp>
      <p:pic>
        <p:nvPicPr>
          <p:cNvPr id="4" name="Picture 26" descr="BAGLIORE.png"/>
          <p:cNvPicPr>
            <a:picLocks noChangeAspect="1"/>
          </p:cNvPicPr>
          <p:nvPr/>
        </p:nvPicPr>
        <p:blipFill>
          <a:blip r:embed="rId2" cstate="print"/>
          <a:srcRect/>
          <a:stretch>
            <a:fillRect/>
          </a:stretch>
        </p:blipFill>
        <p:spPr bwMode="auto">
          <a:xfrm>
            <a:off x="0" y="0"/>
            <a:ext cx="9144000" cy="6223000"/>
          </a:xfrm>
          <a:prstGeom prst="rect">
            <a:avLst/>
          </a:prstGeom>
          <a:noFill/>
          <a:ln w="9525">
            <a:noFill/>
            <a:miter lim="800000"/>
            <a:headEnd/>
            <a:tailEnd/>
          </a:ln>
        </p:spPr>
      </p:pic>
      <p:sp>
        <p:nvSpPr>
          <p:cNvPr id="5" name="Content Placeholder 2"/>
          <p:cNvSpPr>
            <a:spLocks noGrp="1"/>
          </p:cNvSpPr>
          <p:nvPr>
            <p:ph idx="15"/>
          </p:nvPr>
        </p:nvSpPr>
        <p:spPr>
          <a:xfrm>
            <a:off x="304800" y="6185588"/>
            <a:ext cx="8559800" cy="266699"/>
          </a:xfrm>
          <a:prstGeom prst="rect">
            <a:avLst/>
          </a:prstGeom>
        </p:spPr>
        <p:txBody>
          <a:bodyPr anchor="b"/>
          <a:lstStyle>
            <a:lvl1pPr marL="0" indent="0">
              <a:buClr>
                <a:schemeClr val="accent1"/>
              </a:buClr>
              <a:buNone/>
              <a:defRPr sz="1200">
                <a:solidFill>
                  <a:schemeClr val="tx1"/>
                </a:solidFill>
                <a:latin typeface="+mn-lt"/>
              </a:defRPr>
            </a:lvl1pPr>
            <a:lvl2pPr marL="457200" indent="0">
              <a:buClr>
                <a:schemeClr val="accent1"/>
              </a:buClr>
              <a:buNone/>
              <a:defRPr sz="1200"/>
            </a:lvl2pPr>
            <a:lvl3pPr marL="914400" indent="0">
              <a:buClr>
                <a:schemeClr val="accent1"/>
              </a:buClr>
              <a:buNone/>
              <a:defRPr sz="1200"/>
            </a:lvl3pPr>
            <a:lvl4pPr marL="1371600" indent="0">
              <a:buClr>
                <a:schemeClr val="accent1"/>
              </a:buClr>
              <a:buNone/>
              <a:defRPr sz="1200"/>
            </a:lvl4pPr>
            <a:lvl5pPr marL="1828800" indent="0">
              <a:buClr>
                <a:schemeClr val="accent1"/>
              </a:buClr>
              <a:buNone/>
              <a:defRPr sz="1200"/>
            </a:lvl5pPr>
          </a:lstStyle>
          <a:p>
            <a:pPr lvl="0"/>
            <a:r>
              <a:rPr lang="it-IT" dirty="0" smtClean="0"/>
              <a:t>Fare clic per modificare stili del testo dello schema</a:t>
            </a:r>
            <a:endParaRPr lang="it-IT" dirty="0"/>
          </a:p>
        </p:txBody>
      </p:sp>
      <p:sp>
        <p:nvSpPr>
          <p:cNvPr id="6" name="Footer Placeholder 4"/>
          <p:cNvSpPr>
            <a:spLocks noGrp="1"/>
          </p:cNvSpPr>
          <p:nvPr>
            <p:ph type="ftr" sz="quarter" idx="16"/>
          </p:nvPr>
        </p:nvSpPr>
        <p:spPr>
          <a:xfrm>
            <a:off x="339725" y="6321425"/>
            <a:ext cx="8526463" cy="252413"/>
          </a:xfrm>
          <a:prstGeom prst="rect">
            <a:avLst/>
          </a:prstGeom>
        </p:spPr>
        <p:txBody>
          <a:bodyPr/>
          <a:lstStyle>
            <a:lvl1pPr algn="r" fontAlgn="auto">
              <a:spcBef>
                <a:spcPts val="0"/>
              </a:spcBef>
              <a:spcAft>
                <a:spcPts val="0"/>
              </a:spcAft>
              <a:defRPr sz="1000" i="1">
                <a:solidFill>
                  <a:srgbClr val="000000"/>
                </a:solidFill>
                <a:latin typeface="+mn-lt"/>
                <a:ea typeface="+mn-ea"/>
              </a:defRPr>
            </a:lvl1pPr>
          </a:lstStyle>
          <a:p>
            <a:pPr>
              <a:defRPr/>
            </a:pPr>
            <a:endParaRPr lang="it-IT"/>
          </a:p>
        </p:txBody>
      </p:sp>
    </p:spTree>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2_Vuota">
    <p:spTree>
      <p:nvGrpSpPr>
        <p:cNvPr id="1" name=""/>
        <p:cNvGrpSpPr/>
        <p:nvPr/>
      </p:nvGrpSpPr>
      <p:grpSpPr>
        <a:xfrm>
          <a:off x="0" y="0"/>
          <a:ext cx="0" cy="0"/>
          <a:chOff x="0" y="0"/>
          <a:chExt cx="0" cy="0"/>
        </a:xfrm>
      </p:grpSpPr>
      <p:sp>
        <p:nvSpPr>
          <p:cNvPr id="3" name="Rectangle 17"/>
          <p:cNvSpPr/>
          <p:nvPr/>
        </p:nvSpPr>
        <p:spPr>
          <a:xfrm>
            <a:off x="0" y="6615113"/>
            <a:ext cx="9144000" cy="242887"/>
          </a:xfrm>
          <a:prstGeom prst="rect">
            <a:avLst/>
          </a:prstGeom>
          <a:solidFill>
            <a:sysClr val="windowText" lastClr="000000"/>
          </a:solidFill>
          <a:ln w="10000" cap="flat" cmpd="sng" algn="ctr">
            <a:noFill/>
            <a:prstDash val="solid"/>
          </a:ln>
          <a:effectLst/>
        </p:spPr>
        <p:txBody>
          <a:bodyPr anchor="ctr"/>
          <a:lstStyle/>
          <a:p>
            <a:pPr algn="ctr">
              <a:defRPr/>
            </a:pPr>
            <a:r>
              <a:rPr lang="it-IT" sz="675" kern="0" dirty="0">
                <a:solidFill>
                  <a:srgbClr val="FFFFFF">
                    <a:lumMod val="75000"/>
                  </a:srgbClr>
                </a:solidFill>
                <a:latin typeface="Calibri"/>
                <a:ea typeface="ＭＳ Ｐゴシック" charset="-128"/>
                <a:cs typeface="ＭＳ Ｐゴシック" charset="-128"/>
              </a:rPr>
              <a:t>Copyright © 2014 - Accademia Nazionale di Medicina. Tutti i diritti riservati.</a:t>
            </a:r>
          </a:p>
        </p:txBody>
      </p:sp>
      <p:pic>
        <p:nvPicPr>
          <p:cNvPr id="4" name="Picture 26" descr="BAGLIORE.png"/>
          <p:cNvPicPr>
            <a:picLocks noChangeAspect="1"/>
          </p:cNvPicPr>
          <p:nvPr/>
        </p:nvPicPr>
        <p:blipFill>
          <a:blip r:embed="rId2" cstate="print"/>
          <a:srcRect/>
          <a:stretch>
            <a:fillRect/>
          </a:stretch>
        </p:blipFill>
        <p:spPr bwMode="auto">
          <a:xfrm>
            <a:off x="0" y="0"/>
            <a:ext cx="9144000" cy="6223000"/>
          </a:xfrm>
          <a:prstGeom prst="rect">
            <a:avLst/>
          </a:prstGeom>
          <a:noFill/>
          <a:ln w="9525">
            <a:noFill/>
            <a:miter lim="800000"/>
            <a:headEnd/>
            <a:tailEnd/>
          </a:ln>
        </p:spPr>
      </p:pic>
      <p:sp>
        <p:nvSpPr>
          <p:cNvPr id="5" name="Content Placeholder 2"/>
          <p:cNvSpPr>
            <a:spLocks noGrp="1"/>
          </p:cNvSpPr>
          <p:nvPr>
            <p:ph idx="15"/>
          </p:nvPr>
        </p:nvSpPr>
        <p:spPr>
          <a:xfrm>
            <a:off x="304800" y="6185588"/>
            <a:ext cx="8559800" cy="266699"/>
          </a:xfrm>
          <a:prstGeom prst="rect">
            <a:avLst/>
          </a:prstGeom>
        </p:spPr>
        <p:txBody>
          <a:bodyPr anchor="b"/>
          <a:lstStyle>
            <a:lvl1pPr marL="0" indent="0">
              <a:buClr>
                <a:schemeClr val="accent1"/>
              </a:buClr>
              <a:buNone/>
              <a:defRPr sz="1200">
                <a:solidFill>
                  <a:schemeClr val="tx1"/>
                </a:solidFill>
                <a:latin typeface="+mn-lt"/>
              </a:defRPr>
            </a:lvl1pPr>
            <a:lvl2pPr marL="457200" indent="0">
              <a:buClr>
                <a:schemeClr val="accent1"/>
              </a:buClr>
              <a:buNone/>
              <a:defRPr sz="1200"/>
            </a:lvl2pPr>
            <a:lvl3pPr marL="914400" indent="0">
              <a:buClr>
                <a:schemeClr val="accent1"/>
              </a:buClr>
              <a:buNone/>
              <a:defRPr sz="1200"/>
            </a:lvl3pPr>
            <a:lvl4pPr marL="1371600" indent="0">
              <a:buClr>
                <a:schemeClr val="accent1"/>
              </a:buClr>
              <a:buNone/>
              <a:defRPr sz="1200"/>
            </a:lvl4pPr>
            <a:lvl5pPr marL="1828800" indent="0">
              <a:buClr>
                <a:schemeClr val="accent1"/>
              </a:buClr>
              <a:buNone/>
              <a:defRPr sz="1200"/>
            </a:lvl5pPr>
          </a:lstStyle>
          <a:p>
            <a:pPr lvl="0"/>
            <a:r>
              <a:rPr lang="it-IT" dirty="0" smtClean="0"/>
              <a:t>Fare clic per modificare stili del testo dello schema</a:t>
            </a:r>
            <a:endParaRPr lang="it-IT" dirty="0"/>
          </a:p>
        </p:txBody>
      </p:sp>
      <p:sp>
        <p:nvSpPr>
          <p:cNvPr id="6" name="Footer Placeholder 4"/>
          <p:cNvSpPr>
            <a:spLocks noGrp="1"/>
          </p:cNvSpPr>
          <p:nvPr>
            <p:ph type="ftr" sz="quarter" idx="16"/>
          </p:nvPr>
        </p:nvSpPr>
        <p:spPr>
          <a:xfrm>
            <a:off x="339725" y="6321425"/>
            <a:ext cx="8526463" cy="252413"/>
          </a:xfrm>
          <a:prstGeom prst="rect">
            <a:avLst/>
          </a:prstGeom>
        </p:spPr>
        <p:txBody>
          <a:bodyPr/>
          <a:lstStyle>
            <a:lvl1pPr algn="r" fontAlgn="auto">
              <a:spcBef>
                <a:spcPts val="0"/>
              </a:spcBef>
              <a:spcAft>
                <a:spcPts val="0"/>
              </a:spcAft>
              <a:defRPr sz="1000" i="1">
                <a:solidFill>
                  <a:srgbClr val="000000"/>
                </a:solidFill>
                <a:latin typeface="+mn-lt"/>
                <a:ea typeface="+mn-ea"/>
              </a:defRPr>
            </a:lvl1pPr>
          </a:lstStyle>
          <a:p>
            <a:pPr>
              <a:defRPr/>
            </a:pPr>
            <a:endParaRPr lang="it-IT"/>
          </a:p>
        </p:txBody>
      </p:sp>
    </p:spTree>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_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Fare clic per modificare lo stile del titolo</a:t>
            </a:r>
            <a:endParaRPr lang="en-US" dirty="0"/>
          </a:p>
        </p:txBody>
      </p:sp>
      <p:sp>
        <p:nvSpPr>
          <p:cNvPr id="4" name="Content Placeholder 2"/>
          <p:cNvSpPr>
            <a:spLocks noGrp="1"/>
          </p:cNvSpPr>
          <p:nvPr>
            <p:ph idx="15"/>
          </p:nvPr>
        </p:nvSpPr>
        <p:spPr>
          <a:xfrm>
            <a:off x="304800" y="6185588"/>
            <a:ext cx="8559800" cy="266699"/>
          </a:xfrm>
          <a:prstGeom prst="rect">
            <a:avLst/>
          </a:prstGeom>
        </p:spPr>
        <p:txBody>
          <a:bodyPr anchor="b"/>
          <a:lstStyle>
            <a:lvl1pPr marL="0" indent="0">
              <a:buClr>
                <a:schemeClr val="accent1"/>
              </a:buClr>
              <a:buNone/>
              <a:defRPr sz="1200">
                <a:solidFill>
                  <a:schemeClr val="tx1"/>
                </a:solidFill>
                <a:latin typeface="+mn-lt"/>
              </a:defRPr>
            </a:lvl1pPr>
            <a:lvl2pPr marL="457200" indent="0">
              <a:buClr>
                <a:schemeClr val="accent1"/>
              </a:buClr>
              <a:buNone/>
              <a:defRPr sz="1200"/>
            </a:lvl2pPr>
            <a:lvl3pPr marL="914400" indent="0">
              <a:buClr>
                <a:schemeClr val="accent1"/>
              </a:buClr>
              <a:buNone/>
              <a:defRPr sz="1200"/>
            </a:lvl3pPr>
            <a:lvl4pPr marL="1371600" indent="0">
              <a:buClr>
                <a:schemeClr val="accent1"/>
              </a:buClr>
              <a:buNone/>
              <a:defRPr sz="1200"/>
            </a:lvl4pPr>
            <a:lvl5pPr marL="1828800" indent="0">
              <a:buClr>
                <a:schemeClr val="accent1"/>
              </a:buClr>
              <a:buNone/>
              <a:defRPr sz="1200"/>
            </a:lvl5pPr>
          </a:lstStyle>
          <a:p>
            <a:pPr lvl="0"/>
            <a:r>
              <a:rPr lang="it-IT" dirty="0" smtClean="0"/>
              <a:t>Fare clic per modificare stili del testo dello schema</a:t>
            </a:r>
            <a:endParaRPr lang="it-IT" dirty="0"/>
          </a:p>
        </p:txBody>
      </p:sp>
      <p:sp>
        <p:nvSpPr>
          <p:cNvPr id="5" name="Footer Placeholder 4"/>
          <p:cNvSpPr>
            <a:spLocks noGrp="1"/>
          </p:cNvSpPr>
          <p:nvPr>
            <p:ph type="ftr" sz="quarter" idx="16"/>
          </p:nvPr>
        </p:nvSpPr>
        <p:spPr>
          <a:xfrm>
            <a:off x="339725" y="6321425"/>
            <a:ext cx="8526463" cy="252413"/>
          </a:xfrm>
          <a:prstGeom prst="rect">
            <a:avLst/>
          </a:prstGeom>
        </p:spPr>
        <p:txBody>
          <a:bodyPr anchor="b"/>
          <a:lstStyle>
            <a:lvl1pPr algn="r" fontAlgn="auto">
              <a:spcBef>
                <a:spcPts val="0"/>
              </a:spcBef>
              <a:spcAft>
                <a:spcPts val="0"/>
              </a:spcAft>
              <a:defRPr sz="1000" i="1">
                <a:solidFill>
                  <a:srgbClr val="000000"/>
                </a:solidFill>
                <a:latin typeface="+mn-lt"/>
                <a:ea typeface="+mn-ea"/>
              </a:defRPr>
            </a:lvl1pPr>
          </a:lstStyle>
          <a:p>
            <a:pPr>
              <a:defRPr/>
            </a:pPr>
            <a:endParaRPr lang="it-IT"/>
          </a:p>
        </p:txBody>
      </p:sp>
    </p:spTree>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Titel 5"/>
          <p:cNvSpPr>
            <a:spLocks noGrp="1"/>
          </p:cNvSpPr>
          <p:nvPr>
            <p:ph type="title"/>
          </p:nvPr>
        </p:nvSpPr>
        <p:spPr/>
        <p:txBody>
          <a:bodyPr/>
          <a:lstStyle/>
          <a:p>
            <a:r>
              <a:rPr lang="de-DE" smtClean="0"/>
              <a:t>Titelmasterformat durch Klicken bearbeiten</a:t>
            </a:r>
            <a:endParaRPr lang="de-DE"/>
          </a:p>
        </p:txBody>
      </p:sp>
    </p:spTree>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5_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874"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7"/>
          <p:cNvGrpSpPr>
            <a:grpSpLocks/>
          </p:cNvGrpSpPr>
          <p:nvPr userDrawn="1">
            <p:custDataLst>
              <p:tags r:id="rId3"/>
            </p:custDataLst>
          </p:nvPr>
        </p:nvGrpSpPr>
        <p:grpSpPr bwMode="auto">
          <a:xfrm>
            <a:off x="-3175" y="1333500"/>
            <a:ext cx="9147175" cy="5524500"/>
            <a:chOff x="-2" y="922"/>
            <a:chExt cx="5762" cy="3398"/>
          </a:xfrm>
        </p:grpSpPr>
        <p:sp>
          <p:nvSpPr>
            <p:cNvPr id="6"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7"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8"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0"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1"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2" name="Title 1"/>
          <p:cNvSpPr>
            <a:spLocks noGrp="1"/>
          </p:cNvSpPr>
          <p:nvPr>
            <p:ph type="title"/>
          </p:nvPr>
        </p:nvSpPr>
        <p:spPr>
          <a:xfrm>
            <a:off x="663575" y="115888"/>
            <a:ext cx="8229600" cy="1081087"/>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663575" y="1484313"/>
            <a:ext cx="8229600" cy="46418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Slide Number Placeholder 5"/>
          <p:cNvSpPr>
            <a:spLocks noGrp="1"/>
          </p:cNvSpPr>
          <p:nvPr>
            <p:ph type="sldNum" sz="quarter" idx="10"/>
          </p:nvPr>
        </p:nvSpPr>
        <p:spPr>
          <a:xfrm>
            <a:off x="8748713" y="6492875"/>
            <a:ext cx="395287" cy="365125"/>
          </a:xfrm>
          <a:prstGeom prst="rect">
            <a:avLst/>
          </a:prstGeom>
        </p:spPr>
        <p:txBody>
          <a:bodyPr/>
          <a:lstStyle>
            <a:lvl1pPr algn="r" fontAlgn="auto">
              <a:spcBef>
                <a:spcPts val="0"/>
              </a:spcBef>
              <a:spcAft>
                <a:spcPts val="0"/>
              </a:spcAft>
              <a:defRPr sz="1100">
                <a:solidFill>
                  <a:srgbClr val="002864">
                    <a:tint val="75000"/>
                  </a:srgbClr>
                </a:solidFill>
                <a:latin typeface="Arial"/>
                <a:ea typeface="+mn-ea"/>
              </a:defRPr>
            </a:lvl1pPr>
          </a:lstStyle>
          <a:p>
            <a:pPr>
              <a:defRPr/>
            </a:pPr>
            <a:fld id="{658D3D18-B60F-4203-9BEB-F44A0B9B795B}" type="slidenum">
              <a:rPr lang="en-GB"/>
              <a:pPr>
                <a:defRPr/>
              </a:pPr>
              <a:t>‹N›</a:t>
            </a:fld>
            <a:endParaRPr lang="en-GB" dirty="0"/>
          </a:p>
        </p:txBody>
      </p:sp>
    </p:spTree>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Slide with Logo">
    <p:spTree>
      <p:nvGrpSpPr>
        <p:cNvPr id="1" name=""/>
        <p:cNvGrpSpPr/>
        <p:nvPr/>
      </p:nvGrpSpPr>
      <p:grpSpPr>
        <a:xfrm>
          <a:off x="0" y="0"/>
          <a:ext cx="0" cy="0"/>
          <a:chOff x="0" y="0"/>
          <a:chExt cx="0" cy="0"/>
        </a:xfrm>
      </p:grpSpPr>
      <p:sp>
        <p:nvSpPr>
          <p:cNvPr id="4" name="Title 3"/>
          <p:cNvSpPr>
            <a:spLocks noGrp="1"/>
          </p:cNvSpPr>
          <p:nvPr>
            <p:ph type="title"/>
          </p:nvPr>
        </p:nvSpPr>
        <p:spPr>
          <a:xfrm>
            <a:off x="1296957" y="3217675"/>
            <a:ext cx="6007435" cy="1143000"/>
          </a:xfrm>
          <a:prstGeom prst="rect">
            <a:avLst/>
          </a:prstGeom>
        </p:spPr>
        <p:txBody>
          <a:bodyPr/>
          <a:lstStyle>
            <a:lvl1pPr marL="0" marR="0" indent="0" algn="r" defTabSz="457200" rtl="0" eaLnBrk="1" fontAlgn="auto" latinLnBrk="0" hangingPunct="1">
              <a:lnSpc>
                <a:spcPct val="100000"/>
              </a:lnSpc>
              <a:spcBef>
                <a:spcPct val="0"/>
              </a:spcBef>
              <a:spcAft>
                <a:spcPts val="0"/>
              </a:spcAft>
              <a:buClrTx/>
              <a:buSzTx/>
              <a:buFontTx/>
              <a:buNone/>
              <a:tabLst/>
              <a:defRPr lang="en-US" sz="2800" b="1" i="0" u="none" strike="noStrike" kern="1200" baseline="0" smtClean="0">
                <a:solidFill>
                  <a:srgbClr val="42043B"/>
                </a:solidFill>
                <a:latin typeface="Arial"/>
                <a:cs typeface="Arial"/>
              </a:defRPr>
            </a:lvl1pPr>
          </a:lstStyle>
          <a:p>
            <a:r>
              <a:rPr lang="it-IT" smtClean="0"/>
              <a:t>Fare clic per modificare lo stile del titolo</a:t>
            </a:r>
            <a:endParaRPr lang="en-US" dirty="0"/>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graphicFrame>
        <p:nvGraphicFramePr>
          <p:cNvPr id="6"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898"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a:grpSpLocks/>
          </p:cNvGrpSpPr>
          <p:nvPr userDrawn="1">
            <p:custDataLst>
              <p:tags r:id="rId3"/>
            </p:custDataLst>
          </p:nvPr>
        </p:nvGrpSpPr>
        <p:grpSpPr bwMode="auto">
          <a:xfrm>
            <a:off x="-3175" y="1333500"/>
            <a:ext cx="9147175" cy="5524500"/>
            <a:chOff x="-2" y="922"/>
            <a:chExt cx="5762" cy="3398"/>
          </a:xfrm>
        </p:grpSpPr>
        <p:sp>
          <p:nvSpPr>
            <p:cNvPr id="8"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0"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1"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3"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4"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3" name="Content Placeholder 2"/>
          <p:cNvSpPr>
            <a:spLocks noGrp="1"/>
          </p:cNvSpPr>
          <p:nvPr>
            <p:ph idx="1"/>
          </p:nvPr>
        </p:nvSpPr>
        <p:spPr>
          <a:xfrm>
            <a:off x="522288" y="1814513"/>
            <a:ext cx="8099425" cy="4125912"/>
          </a:xfrm>
          <a:prstGeom prst="rect">
            <a:avLst/>
          </a:prstGeom>
        </p:spPr>
        <p:txBody>
          <a:bodyPr/>
          <a:lstStyle>
            <a:lvl1pPr>
              <a:buClr>
                <a:srgbClr val="5A87C5"/>
              </a:buClr>
              <a:defRPr/>
            </a:lvl1pPr>
            <a:lvl2pPr>
              <a:buClr>
                <a:srgbClr val="5A87C5"/>
              </a:buClr>
              <a:defRPr/>
            </a:lvl2pPr>
            <a:lvl3pPr>
              <a:buClr>
                <a:srgbClr val="5A87C5"/>
              </a:buClr>
              <a:defRPr/>
            </a:lvl3pPr>
            <a:lvl4pPr>
              <a:buClr>
                <a:srgbClr val="5A87C5"/>
              </a:buClr>
              <a:defRPr/>
            </a:lvl4pPr>
            <a:lvl5pPr>
              <a:buClr>
                <a:srgbClr val="5A87C5"/>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itle 4"/>
          <p:cNvSpPr>
            <a:spLocks noGrp="1"/>
          </p:cNvSpPr>
          <p:nvPr>
            <p:ph type="title"/>
          </p:nvPr>
        </p:nvSpPr>
        <p:spPr>
          <a:xfrm>
            <a:off x="522288" y="1004888"/>
            <a:ext cx="8099425" cy="533400"/>
          </a:xfrm>
          <a:prstGeom prst="rect">
            <a:avLst/>
          </a:prstGeom>
        </p:spPr>
        <p:txBody>
          <a:bodyPr/>
          <a:lstStyle>
            <a:lvl1pPr>
              <a:defRPr i="0"/>
            </a:lvl1pPr>
          </a:lstStyle>
          <a:p>
            <a:r>
              <a:rPr lang="en-US" smtClean="0"/>
              <a:t>Click to edit Master title style</a:t>
            </a:r>
            <a:endParaRPr lang="en-GB" dirty="0"/>
          </a:p>
        </p:txBody>
      </p:sp>
      <p:sp>
        <p:nvSpPr>
          <p:cNvPr id="12" name="Content Placeholder 11"/>
          <p:cNvSpPr>
            <a:spLocks noGrp="1"/>
          </p:cNvSpPr>
          <p:nvPr>
            <p:ph sz="quarter" idx="10"/>
          </p:nvPr>
        </p:nvSpPr>
        <p:spPr>
          <a:xfrm>
            <a:off x="497187" y="6308725"/>
            <a:ext cx="8208144" cy="288925"/>
          </a:xfrm>
          <a:prstGeom prst="rect">
            <a:avLst/>
          </a:prstGeom>
        </p:spPr>
        <p:txBody>
          <a:bodyPr lIns="90000" rIns="90000" anchor="b">
            <a:noAutofit/>
          </a:bodyPr>
          <a:lstStyle>
            <a:lvl1pPr marL="0" indent="0">
              <a:spcBef>
                <a:spcPts val="0"/>
              </a:spcBef>
              <a:buNone/>
              <a:defRPr sz="1200" baseline="0"/>
            </a:lvl1pPr>
            <a:lvl2pPr>
              <a:defRPr sz="1200"/>
            </a:lvl2pPr>
            <a:lvl3pPr>
              <a:defRPr sz="1200"/>
            </a:lvl3pPr>
            <a:lvl4pPr>
              <a:defRPr sz="1200"/>
            </a:lvl4pPr>
            <a:lvl5pPr>
              <a:defRPr sz="1200"/>
            </a:lvl5pPr>
          </a:lstStyle>
          <a:p>
            <a:pPr lvl="0"/>
            <a:r>
              <a:rPr lang="it-IT" smtClean="0"/>
              <a:t>Fare clic per modificare stili del testo dello schema</a:t>
            </a:r>
          </a:p>
        </p:txBody>
      </p:sp>
      <p:sp>
        <p:nvSpPr>
          <p:cNvPr id="15" name="Slide Number Placeholder 5"/>
          <p:cNvSpPr>
            <a:spLocks noGrp="1"/>
          </p:cNvSpPr>
          <p:nvPr>
            <p:ph type="sldNum" sz="quarter" idx="11"/>
          </p:nvPr>
        </p:nvSpPr>
        <p:spPr>
          <a:xfrm>
            <a:off x="8748713" y="6492875"/>
            <a:ext cx="395287" cy="365125"/>
          </a:xfrm>
          <a:prstGeom prst="rect">
            <a:avLst/>
          </a:prstGeom>
        </p:spPr>
        <p:txBody>
          <a:bodyPr vert="horz" lIns="91440" tIns="45720" rIns="91440" bIns="45720" rtlCol="0" anchor="ctr"/>
          <a:lstStyle>
            <a:lvl1pPr algn="r" fontAlgn="auto">
              <a:spcBef>
                <a:spcPts val="0"/>
              </a:spcBef>
              <a:spcAft>
                <a:spcPts val="0"/>
              </a:spcAft>
              <a:defRPr sz="1100">
                <a:solidFill>
                  <a:srgbClr val="5A87C5"/>
                </a:solidFill>
                <a:latin typeface="Arial"/>
                <a:ea typeface="+mn-ea"/>
              </a:defRPr>
            </a:lvl1pPr>
          </a:lstStyle>
          <a:p>
            <a:pPr>
              <a:defRPr/>
            </a:pPr>
            <a:fld id="{102255A0-37C4-47CD-AA73-717632CF06C3}" type="slidenum">
              <a:rPr lang="en-GB"/>
              <a:pPr>
                <a:defRPr/>
              </a:pPr>
              <a:t>‹N›</a:t>
            </a:fld>
            <a:endParaRPr lang="en-GB" dirty="0"/>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obj">
  <p:cSld name="3_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922"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7"/>
          <p:cNvGrpSpPr>
            <a:grpSpLocks/>
          </p:cNvGrpSpPr>
          <p:nvPr userDrawn="1">
            <p:custDataLst>
              <p:tags r:id="rId3"/>
            </p:custDataLst>
          </p:nvPr>
        </p:nvGrpSpPr>
        <p:grpSpPr bwMode="auto">
          <a:xfrm>
            <a:off x="-3175" y="1333500"/>
            <a:ext cx="9147175" cy="5524500"/>
            <a:chOff x="-2" y="922"/>
            <a:chExt cx="5762" cy="3398"/>
          </a:xfrm>
        </p:grpSpPr>
        <p:sp>
          <p:nvSpPr>
            <p:cNvPr id="6"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7"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8"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0"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1"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pic>
        <p:nvPicPr>
          <p:cNvPr id="12" name="Picture 3" descr="C:\Users\GDHLJ\AppData\Local\Microsoft\Windows\Temporary Internet Files\Content.IE5\FMUZ50C1\MC900434805[1].png"/>
          <p:cNvPicPr>
            <a:picLocks noChangeAspect="1" noChangeArrowheads="1"/>
          </p:cNvPicPr>
          <p:nvPr userDrawn="1"/>
        </p:nvPicPr>
        <p:blipFill>
          <a:blip r:embed="rId9" cstate="print"/>
          <a:srcRect/>
          <a:stretch>
            <a:fillRect/>
          </a:stretch>
        </p:blipFill>
        <p:spPr bwMode="auto">
          <a:xfrm>
            <a:off x="2971800" y="6553200"/>
            <a:ext cx="304800" cy="304800"/>
          </a:xfrm>
          <a:prstGeom prst="rect">
            <a:avLst/>
          </a:prstGeom>
          <a:noFill/>
          <a:ln w="9525">
            <a:noFill/>
            <a:miter lim="800000"/>
            <a:headEnd/>
            <a:tailEnd/>
          </a:ln>
        </p:spPr>
      </p:pic>
      <p:sp>
        <p:nvSpPr>
          <p:cNvPr id="13" name="TextBox 3"/>
          <p:cNvSpPr txBox="1"/>
          <p:nvPr userDrawn="1"/>
        </p:nvSpPr>
        <p:spPr>
          <a:xfrm>
            <a:off x="3276600" y="6604000"/>
            <a:ext cx="3429000" cy="230188"/>
          </a:xfrm>
          <a:prstGeom prst="rect">
            <a:avLst/>
          </a:prstGeom>
          <a:solidFill>
            <a:schemeClr val="bg1"/>
          </a:solidFill>
        </p:spPr>
        <p:txBody>
          <a:bodyPr>
            <a:spAutoFit/>
          </a:bodyPr>
          <a:lstStyle/>
          <a:p>
            <a:pPr>
              <a:defRPr/>
            </a:pPr>
            <a:r>
              <a:rPr lang="en-US" sz="900" b="1" dirty="0">
                <a:solidFill>
                  <a:srgbClr val="002864"/>
                </a:solidFill>
                <a:ea typeface="ＭＳ Ｐゴシック" pitchFamily="34" charset="-128"/>
              </a:rPr>
              <a:t>For Educational Purposes Only – Do Not Disseminate</a:t>
            </a:r>
          </a:p>
        </p:txBody>
      </p:sp>
      <p:sp>
        <p:nvSpPr>
          <p:cNvPr id="2" name="Title 1"/>
          <p:cNvSpPr>
            <a:spLocks noGrp="1"/>
          </p:cNvSpPr>
          <p:nvPr>
            <p:ph type="title"/>
          </p:nvPr>
        </p:nvSpPr>
        <p:spPr>
          <a:xfrm>
            <a:off x="457200" y="0"/>
            <a:ext cx="8229600" cy="11430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lvl1pPr marL="0" indent="0">
              <a:spcAft>
                <a:spcPts val="300"/>
              </a:spcAft>
              <a:buFont typeface="Arial" pitchFamily="34" charset="0"/>
              <a:buNone/>
              <a:defRPr/>
            </a:lvl1pPr>
            <a:lvl3pPr marL="228600" indent="-228600">
              <a:spcAft>
                <a:spcPts val="300"/>
              </a:spcAft>
              <a:buFont typeface="Arial" pitchFamily="34" charset="0"/>
              <a:buChar char="•"/>
              <a:tabLst/>
              <a:defRPr sz="2000"/>
            </a:lvl3pPr>
            <a:lvl4pPr marL="457200" indent="-228600">
              <a:spcAft>
                <a:spcPts val="300"/>
              </a:spcAft>
              <a:buFont typeface="Trebuchet MS" pitchFamily="34" charset="0"/>
              <a:buChar char="—"/>
              <a:defRPr sz="1800"/>
            </a:lvl4pPr>
            <a:lvl5pPr marL="685800" indent="-225425">
              <a:spcAft>
                <a:spcPts val="300"/>
              </a:spcAft>
              <a:buFont typeface="Arial" pitchFamily="34" charset="0"/>
              <a:buChar char="•"/>
              <a:defRPr sz="1600"/>
            </a:lvl5pPr>
            <a:lvl6pPr marL="2286000" indent="0">
              <a:buNone/>
              <a:defRPr/>
            </a:lvl6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14" name="Slide Number Placeholder 5"/>
          <p:cNvSpPr>
            <a:spLocks noGrp="1"/>
          </p:cNvSpPr>
          <p:nvPr>
            <p:ph type="sldNum" sz="quarter" idx="10"/>
          </p:nvPr>
        </p:nvSpPr>
        <p:spPr>
          <a:xfrm>
            <a:off x="6858000" y="6567488"/>
            <a:ext cx="2133600" cy="153987"/>
          </a:xfrm>
          <a:prstGeom prst="rect">
            <a:avLst/>
          </a:prstGeom>
        </p:spPr>
        <p:txBody>
          <a:bodyPr/>
          <a:lstStyle>
            <a:lvl1pPr fontAlgn="auto">
              <a:spcBef>
                <a:spcPts val="0"/>
              </a:spcBef>
              <a:spcAft>
                <a:spcPts val="0"/>
              </a:spcAft>
              <a:defRPr>
                <a:solidFill>
                  <a:srgbClr val="002864"/>
                </a:solidFill>
                <a:latin typeface="Arial"/>
                <a:ea typeface="+mn-ea"/>
              </a:defRPr>
            </a:lvl1pPr>
          </a:lstStyle>
          <a:p>
            <a:pPr>
              <a:defRPr/>
            </a:pPr>
            <a:fld id="{51389A51-A745-49B1-B842-67F6A7459818}" type="slidenum">
              <a:rPr lang="en-US"/>
              <a:pPr>
                <a:defRPr/>
              </a:pPr>
              <a:t>‹N›</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1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5"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1CCC386D-99F3-46F3-A176-7854C33CBC1F}" type="slidenum">
              <a:rPr lang="it-IT"/>
              <a:pPr>
                <a:defRPr/>
              </a:pPr>
              <a:t>‹N›</a:t>
            </a:fld>
            <a:endParaRPr lang="it-IT"/>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946"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7"/>
          <p:cNvGrpSpPr>
            <a:grpSpLocks/>
          </p:cNvGrpSpPr>
          <p:nvPr userDrawn="1">
            <p:custDataLst>
              <p:tags r:id="rId3"/>
            </p:custDataLst>
          </p:nvPr>
        </p:nvGrpSpPr>
        <p:grpSpPr bwMode="auto">
          <a:xfrm>
            <a:off x="-3175" y="1333500"/>
            <a:ext cx="9147175" cy="5524500"/>
            <a:chOff x="-2" y="922"/>
            <a:chExt cx="5762" cy="3398"/>
          </a:xfrm>
        </p:grpSpPr>
        <p:sp>
          <p:nvSpPr>
            <p:cNvPr id="6"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7"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8"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0"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1"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2" name="Title 1"/>
          <p:cNvSpPr>
            <a:spLocks noGrp="1"/>
          </p:cNvSpPr>
          <p:nvPr>
            <p:ph type="title"/>
          </p:nvPr>
        </p:nvSpPr>
        <p:spPr>
          <a:xfrm>
            <a:off x="663575" y="115888"/>
            <a:ext cx="8229600" cy="1081087"/>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663575" y="1484313"/>
            <a:ext cx="8229600" cy="46418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Slide Number Placeholder 5"/>
          <p:cNvSpPr>
            <a:spLocks noGrp="1"/>
          </p:cNvSpPr>
          <p:nvPr>
            <p:ph type="sldNum" sz="quarter" idx="10"/>
          </p:nvPr>
        </p:nvSpPr>
        <p:spPr>
          <a:xfrm>
            <a:off x="8748713" y="6492875"/>
            <a:ext cx="395287" cy="365125"/>
          </a:xfrm>
          <a:prstGeom prst="rect">
            <a:avLst/>
          </a:prstGeom>
        </p:spPr>
        <p:txBody>
          <a:bodyPr/>
          <a:lstStyle>
            <a:lvl1pPr algn="r" fontAlgn="auto">
              <a:spcBef>
                <a:spcPts val="0"/>
              </a:spcBef>
              <a:spcAft>
                <a:spcPts val="0"/>
              </a:spcAft>
              <a:defRPr sz="1100">
                <a:solidFill>
                  <a:srgbClr val="002864">
                    <a:tint val="75000"/>
                  </a:srgbClr>
                </a:solidFill>
                <a:latin typeface="Arial"/>
                <a:ea typeface="+mn-ea"/>
              </a:defRPr>
            </a:lvl1pPr>
          </a:lstStyle>
          <a:p>
            <a:pPr>
              <a:defRPr/>
            </a:pPr>
            <a:fld id="{132C3E7E-53C8-49CF-86F1-F0B6443031F3}" type="slidenum">
              <a:rPr lang="en-GB"/>
              <a:pPr>
                <a:defRPr/>
              </a:pPr>
              <a:t>‹N›</a:t>
            </a:fld>
            <a:endParaRPr lang="en-GB" dirty="0"/>
          </a:p>
        </p:txBody>
      </p:sp>
    </p:spTree>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9970"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7"/>
          <p:cNvGrpSpPr>
            <a:grpSpLocks/>
          </p:cNvGrpSpPr>
          <p:nvPr userDrawn="1">
            <p:custDataLst>
              <p:tags r:id="rId3"/>
            </p:custDataLst>
          </p:nvPr>
        </p:nvGrpSpPr>
        <p:grpSpPr bwMode="auto">
          <a:xfrm>
            <a:off x="-3175" y="1333500"/>
            <a:ext cx="9147175" cy="5524500"/>
            <a:chOff x="-2" y="922"/>
            <a:chExt cx="5762" cy="3398"/>
          </a:xfrm>
        </p:grpSpPr>
        <p:sp>
          <p:nvSpPr>
            <p:cNvPr id="6"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7"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8"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0"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1"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2" name="Title 1"/>
          <p:cNvSpPr>
            <a:spLocks noGrp="1"/>
          </p:cNvSpPr>
          <p:nvPr>
            <p:ph type="title"/>
          </p:nvPr>
        </p:nvSpPr>
        <p:spPr>
          <a:xfrm>
            <a:off x="663575" y="115888"/>
            <a:ext cx="8229600" cy="1081087"/>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663575" y="1484313"/>
            <a:ext cx="8229600" cy="46418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Slide Number Placeholder 5"/>
          <p:cNvSpPr>
            <a:spLocks noGrp="1"/>
          </p:cNvSpPr>
          <p:nvPr>
            <p:ph type="sldNum" sz="quarter" idx="10"/>
          </p:nvPr>
        </p:nvSpPr>
        <p:spPr>
          <a:xfrm>
            <a:off x="8748713" y="6492875"/>
            <a:ext cx="395287" cy="365125"/>
          </a:xfrm>
          <a:prstGeom prst="rect">
            <a:avLst/>
          </a:prstGeom>
        </p:spPr>
        <p:txBody>
          <a:bodyPr/>
          <a:lstStyle>
            <a:lvl1pPr algn="r" fontAlgn="base">
              <a:spcBef>
                <a:spcPct val="0"/>
              </a:spcBef>
              <a:spcAft>
                <a:spcPct val="0"/>
              </a:spcAft>
              <a:defRPr sz="1100">
                <a:solidFill>
                  <a:srgbClr val="E9B113">
                    <a:tint val="75000"/>
                  </a:srgbClr>
                </a:solidFill>
                <a:latin typeface="Arial" charset="0"/>
                <a:ea typeface="+mn-ea"/>
                <a:cs typeface="Arial" charset="0"/>
              </a:defRPr>
            </a:lvl1pPr>
          </a:lstStyle>
          <a:p>
            <a:pPr>
              <a:defRPr/>
            </a:pPr>
            <a:fld id="{0204A0C2-00BC-42A1-9FAC-294683A30CD5}" type="slidenum">
              <a:rPr lang="en-GB"/>
              <a:pPr>
                <a:defRPr/>
              </a:pPr>
              <a:t>‹N›</a:t>
            </a:fld>
            <a:endParaRPr lang="en-GB"/>
          </a:p>
        </p:txBody>
      </p:sp>
    </p:spTree>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Title and Table">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1038" name="think-cell Slide" r:id="rId8" imgW="360" imgH="360" progId="">
                  <p:embed/>
                </p:oleObj>
              </mc:Choice>
              <mc:Fallback>
                <p:oleObj name="think-cell Slide" r:id="rId8" imgW="360" imgH="360" progId="">
                  <p:embed/>
                  <p:pic>
                    <p:nvPicPr>
                      <p:cNvPr id="0" name="Object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17"/>
          <p:cNvGrpSpPr>
            <a:grpSpLocks/>
          </p:cNvGrpSpPr>
          <p:nvPr userDrawn="1">
            <p:custDataLst>
              <p:tags r:id="rId3"/>
            </p:custDataLst>
          </p:nvPr>
        </p:nvGrpSpPr>
        <p:grpSpPr bwMode="auto">
          <a:xfrm>
            <a:off x="-3175" y="1333500"/>
            <a:ext cx="9147175" cy="5524500"/>
            <a:chOff x="-2" y="922"/>
            <a:chExt cx="5762" cy="3398"/>
          </a:xfrm>
        </p:grpSpPr>
        <p:sp>
          <p:nvSpPr>
            <p:cNvPr id="4"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5"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6"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7"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8"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9"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graphicFrame>
        <p:nvGraphicFramePr>
          <p:cNvPr id="10" name="AutoShape 2"/>
          <p:cNvGraphicFramePr>
            <a:graphicFrameLocks/>
          </p:cNvGraphicFramePr>
          <p:nvPr>
            <p:custDataLst>
              <p:tags r:id="rId6"/>
            </p:custDataLst>
          </p:nvPr>
        </p:nvGraphicFramePr>
        <p:xfrm>
          <a:off x="-6350" y="0"/>
          <a:ext cx="158750" cy="158750"/>
        </p:xfrm>
        <a:graphic>
          <a:graphicData uri="http://schemas.openxmlformats.org/presentationml/2006/ole">
            <mc:AlternateContent xmlns:mc="http://schemas.openxmlformats.org/markup-compatibility/2006">
              <mc:Choice xmlns:v="urn:schemas-microsoft-com:vml" Requires="v">
                <p:oleObj spid="_x0000_s211039" name="think-cell Slide" r:id="rId10" imgW="0" imgH="0" progId="">
                  <p:embed/>
                </p:oleObj>
              </mc:Choice>
              <mc:Fallback>
                <p:oleObj name="think-cell Slide" r:id="rId10"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35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4" descr="Bandierina Rotonda Dell'italia Fotografie Stock"/>
          <p:cNvPicPr>
            <a:picLocks noChangeAspect="1" noChangeArrowheads="1"/>
          </p:cNvPicPr>
          <p:nvPr userDrawn="1"/>
        </p:nvPicPr>
        <p:blipFill>
          <a:blip r:embed="rId11" cstate="print"/>
          <a:srcRect/>
          <a:stretch>
            <a:fillRect/>
          </a:stretch>
        </p:blipFill>
        <p:spPr bwMode="auto">
          <a:xfrm>
            <a:off x="8723313" y="6165850"/>
            <a:ext cx="422275" cy="342900"/>
          </a:xfrm>
          <a:prstGeom prst="rect">
            <a:avLst/>
          </a:prstGeom>
          <a:noFill/>
          <a:ln w="9525">
            <a:noFill/>
            <a:miter lim="800000"/>
            <a:headEnd/>
            <a:tailEnd/>
          </a:ln>
        </p:spPr>
      </p:pic>
      <p:sp>
        <p:nvSpPr>
          <p:cNvPr id="12" name="Slide Number Placeholder 5"/>
          <p:cNvSpPr>
            <a:spLocks noGrp="1"/>
          </p:cNvSpPr>
          <p:nvPr>
            <p:ph type="sldNum" sz="quarter" idx="10"/>
          </p:nvPr>
        </p:nvSpPr>
        <p:spPr>
          <a:xfrm>
            <a:off x="6858000" y="6567488"/>
            <a:ext cx="2133600" cy="153987"/>
          </a:xfrm>
          <a:prstGeom prst="rect">
            <a:avLst/>
          </a:prstGeom>
        </p:spPr>
        <p:txBody>
          <a:bodyPr/>
          <a:lstStyle>
            <a:lvl1pPr algn="r" fontAlgn="auto">
              <a:spcBef>
                <a:spcPts val="0"/>
              </a:spcBef>
              <a:spcAft>
                <a:spcPts val="0"/>
              </a:spcAft>
              <a:defRPr sz="1000">
                <a:solidFill>
                  <a:srgbClr val="68105E"/>
                </a:solidFill>
                <a:latin typeface="Trebuchet MS" pitchFamily="1" charset="0"/>
                <a:ea typeface="ＭＳ Ｐゴシック" pitchFamily="1" charset="-128"/>
              </a:defRPr>
            </a:lvl1pPr>
          </a:lstStyle>
          <a:p>
            <a:pPr>
              <a:defRPr/>
            </a:pPr>
            <a:fld id="{034256A5-8EE5-460C-8380-B3E1F6CCABF4}" type="slidenum">
              <a:rPr lang="en-US"/>
              <a:pPr>
                <a:defRPr/>
              </a:pPr>
              <a:t>‹N›</a:t>
            </a:fld>
            <a:endParaRPr lang="en-US" dirty="0"/>
          </a:p>
        </p:txBody>
      </p:sp>
    </p:spTree>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Bold No First Bulle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018"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7"/>
          <p:cNvGrpSpPr>
            <a:grpSpLocks/>
          </p:cNvGrpSpPr>
          <p:nvPr userDrawn="1">
            <p:custDataLst>
              <p:tags r:id="rId3"/>
            </p:custDataLst>
          </p:nvPr>
        </p:nvGrpSpPr>
        <p:grpSpPr bwMode="auto">
          <a:xfrm>
            <a:off x="-3175" y="1333500"/>
            <a:ext cx="9147175" cy="5524500"/>
            <a:chOff x="-2" y="922"/>
            <a:chExt cx="5762" cy="3398"/>
          </a:xfrm>
        </p:grpSpPr>
        <p:sp>
          <p:nvSpPr>
            <p:cNvPr id="6"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7"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8"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0"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1"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3" name="Content Placeholder 2"/>
          <p:cNvSpPr>
            <a:spLocks noGrp="1"/>
          </p:cNvSpPr>
          <p:nvPr>
            <p:ph idx="1"/>
          </p:nvPr>
        </p:nvSpPr>
        <p:spPr>
          <a:xfrm>
            <a:off x="365760" y="1280160"/>
            <a:ext cx="8412480" cy="4572000"/>
          </a:xfrm>
        </p:spPr>
        <p:txBody>
          <a:bodyPr/>
          <a:lstStyle>
            <a:lvl1pPr marL="0" indent="0">
              <a:spcBef>
                <a:spcPts val="1800"/>
              </a:spcBef>
              <a:buNone/>
              <a:defRPr b="1"/>
            </a:lvl1pPr>
            <a:lvl2pPr marL="117475" indent="-117475">
              <a:spcBef>
                <a:spcPts val="600"/>
              </a:spcBef>
              <a:buFont typeface="Arial" panose="020B0604020202020204" pitchFamily="34" charset="0"/>
              <a:buChar char="•"/>
              <a:defRPr b="0"/>
            </a:lvl2pPr>
            <a:lvl3pPr marL="461963" indent="-117475">
              <a:spcBef>
                <a:spcPts val="300"/>
              </a:spcBef>
              <a:buFont typeface="Calibri" panose="020F0502020204030204" pitchFamily="34" charset="0"/>
              <a:buChar cha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12" name="Slide Number Placeholder 3"/>
          <p:cNvSpPr>
            <a:spLocks noGrp="1"/>
          </p:cNvSpPr>
          <p:nvPr>
            <p:ph type="sldNum" sz="quarter" idx="10"/>
          </p:nvPr>
        </p:nvSpPr>
        <p:spPr>
          <a:xfrm>
            <a:off x="8629650" y="6686550"/>
            <a:ext cx="150813" cy="153988"/>
          </a:xfrm>
          <a:prstGeom prst="rect">
            <a:avLst/>
          </a:prstGeom>
        </p:spPr>
        <p:txBody>
          <a:bodyPr/>
          <a:lstStyle>
            <a:lvl1pPr fontAlgn="auto">
              <a:spcBef>
                <a:spcPts val="0"/>
              </a:spcBef>
              <a:spcAft>
                <a:spcPts val="0"/>
              </a:spcAft>
              <a:defRPr>
                <a:solidFill>
                  <a:srgbClr val="144173">
                    <a:lumMod val="60000"/>
                    <a:lumOff val="40000"/>
                  </a:srgbClr>
                </a:solidFill>
                <a:latin typeface="Arial"/>
                <a:ea typeface="+mn-ea"/>
              </a:defRPr>
            </a:lvl1pPr>
          </a:lstStyle>
          <a:p>
            <a:pPr>
              <a:defRPr/>
            </a:pPr>
            <a:fld id="{7739F10B-7EC8-48E4-91B8-C54DB60822DC}" type="slidenum">
              <a:rPr lang="en-US"/>
              <a:pPr>
                <a:defRPr/>
              </a:pPr>
              <a:t>‹N›</a:t>
            </a:fld>
            <a:endParaRPr lang="en-US" dirty="0"/>
          </a:p>
        </p:txBody>
      </p:sp>
    </p:spTree>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No First Bulle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3042"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7"/>
          <p:cNvGrpSpPr>
            <a:grpSpLocks/>
          </p:cNvGrpSpPr>
          <p:nvPr userDrawn="1">
            <p:custDataLst>
              <p:tags r:id="rId3"/>
            </p:custDataLst>
          </p:nvPr>
        </p:nvGrpSpPr>
        <p:grpSpPr bwMode="auto">
          <a:xfrm>
            <a:off x="-3175" y="1333500"/>
            <a:ext cx="9147175" cy="5524500"/>
            <a:chOff x="-2" y="922"/>
            <a:chExt cx="5762" cy="3398"/>
          </a:xfrm>
        </p:grpSpPr>
        <p:sp>
          <p:nvSpPr>
            <p:cNvPr id="6"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7"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8"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0"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1"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3" name="Content Placeholder 2"/>
          <p:cNvSpPr>
            <a:spLocks noGrp="1"/>
          </p:cNvSpPr>
          <p:nvPr>
            <p:ph idx="1"/>
          </p:nvPr>
        </p:nvSpPr>
        <p:spPr>
          <a:xfrm>
            <a:off x="365760" y="1280160"/>
            <a:ext cx="8412480" cy="4572000"/>
          </a:xfrm>
        </p:spPr>
        <p:txBody>
          <a:bodyPr/>
          <a:lstStyle>
            <a:lvl1pPr marL="0" indent="0">
              <a:spcBef>
                <a:spcPts val="1800"/>
              </a:spcBef>
              <a:buNone/>
              <a:defRPr b="0"/>
            </a:lvl1pPr>
            <a:lvl2pPr marL="117475" indent="-117475">
              <a:spcBef>
                <a:spcPts val="600"/>
              </a:spcBef>
              <a:buFont typeface="Arial" panose="020B0604020202020204" pitchFamily="34" charset="0"/>
              <a:buChar char="•"/>
              <a:defRPr b="0"/>
            </a:lvl2pPr>
            <a:lvl3pPr marL="461963" indent="-117475">
              <a:spcBef>
                <a:spcPts val="300"/>
              </a:spcBef>
              <a:buFont typeface="Calibri" panose="020F0502020204030204" pitchFamily="34" charset="0"/>
              <a:buChar char="−"/>
              <a:defRPr b="0"/>
            </a:lvl3pPr>
            <a:lvl4pPr>
              <a:defRPr b="0"/>
            </a:lvl4pPr>
            <a:lvl5pPr>
              <a:defRPr b="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12" name="Slide Number Placeholder 3"/>
          <p:cNvSpPr>
            <a:spLocks noGrp="1"/>
          </p:cNvSpPr>
          <p:nvPr>
            <p:ph type="sldNum" sz="quarter" idx="10"/>
          </p:nvPr>
        </p:nvSpPr>
        <p:spPr>
          <a:xfrm>
            <a:off x="8629650" y="6686550"/>
            <a:ext cx="150813" cy="153988"/>
          </a:xfrm>
          <a:prstGeom prst="rect">
            <a:avLst/>
          </a:prstGeom>
        </p:spPr>
        <p:txBody>
          <a:bodyPr/>
          <a:lstStyle>
            <a:lvl1pPr fontAlgn="auto">
              <a:spcBef>
                <a:spcPts val="0"/>
              </a:spcBef>
              <a:spcAft>
                <a:spcPts val="0"/>
              </a:spcAft>
              <a:defRPr>
                <a:solidFill>
                  <a:srgbClr val="144173">
                    <a:lumMod val="60000"/>
                    <a:lumOff val="40000"/>
                  </a:srgbClr>
                </a:solidFill>
                <a:latin typeface="Arial"/>
                <a:ea typeface="+mn-ea"/>
              </a:defRPr>
            </a:lvl1pPr>
          </a:lstStyle>
          <a:p>
            <a:pPr>
              <a:defRPr/>
            </a:pPr>
            <a:fld id="{BFD9E145-52D7-457D-A98B-E38EB1C4C1A4}" type="slidenum">
              <a:rPr lang="en-US"/>
              <a:pPr>
                <a:defRPr/>
              </a:pPr>
              <a:t>‹N›</a:t>
            </a:fld>
            <a:endParaRPr lang="en-US" dirty="0"/>
          </a:p>
        </p:txBody>
      </p:sp>
    </p:spTree>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Small 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066"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17"/>
          <p:cNvGrpSpPr>
            <a:grpSpLocks/>
          </p:cNvGrpSpPr>
          <p:nvPr userDrawn="1">
            <p:custDataLst>
              <p:tags r:id="rId3"/>
            </p:custDataLst>
          </p:nvPr>
        </p:nvGrpSpPr>
        <p:grpSpPr bwMode="auto">
          <a:xfrm>
            <a:off x="-3175" y="1333500"/>
            <a:ext cx="9147175" cy="5524500"/>
            <a:chOff x="-2" y="922"/>
            <a:chExt cx="5762" cy="3398"/>
          </a:xfrm>
        </p:grpSpPr>
        <p:sp>
          <p:nvSpPr>
            <p:cNvPr id="7"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8"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0"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1"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2"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Text Placeholder 5"/>
          <p:cNvSpPr>
            <a:spLocks noGrp="1"/>
          </p:cNvSpPr>
          <p:nvPr>
            <p:ph type="body" sz="quarter" idx="11"/>
          </p:nvPr>
        </p:nvSpPr>
        <p:spPr>
          <a:xfrm>
            <a:off x="361950" y="1289888"/>
            <a:ext cx="8413750" cy="4572000"/>
          </a:xfrm>
        </p:spPr>
        <p:txBody>
          <a:bodyPr/>
          <a:lstStyle>
            <a:lvl1pPr>
              <a:spcBef>
                <a:spcPts val="1800"/>
              </a:spcBef>
              <a:defRPr sz="1600"/>
            </a:lvl1pPr>
            <a:lvl2pPr>
              <a:defRPr sz="1400"/>
            </a:lvl2pPr>
            <a:lvl3pPr>
              <a:defRPr sz="12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Slide Number Placeholder 3"/>
          <p:cNvSpPr>
            <a:spLocks noGrp="1"/>
          </p:cNvSpPr>
          <p:nvPr>
            <p:ph type="sldNum" sz="quarter" idx="12"/>
          </p:nvPr>
        </p:nvSpPr>
        <p:spPr>
          <a:xfrm>
            <a:off x="8629650" y="6686550"/>
            <a:ext cx="150813" cy="153988"/>
          </a:xfrm>
          <a:prstGeom prst="rect">
            <a:avLst/>
          </a:prstGeom>
        </p:spPr>
        <p:txBody>
          <a:bodyPr/>
          <a:lstStyle>
            <a:lvl1pPr fontAlgn="auto">
              <a:spcBef>
                <a:spcPts val="0"/>
              </a:spcBef>
              <a:spcAft>
                <a:spcPts val="0"/>
              </a:spcAft>
              <a:defRPr>
                <a:solidFill>
                  <a:srgbClr val="144173">
                    <a:lumMod val="60000"/>
                    <a:lumOff val="40000"/>
                  </a:srgbClr>
                </a:solidFill>
                <a:latin typeface="Arial"/>
                <a:ea typeface="+mn-ea"/>
              </a:defRPr>
            </a:lvl1pPr>
          </a:lstStyle>
          <a:p>
            <a:pPr>
              <a:defRPr/>
            </a:pPr>
            <a:fld id="{6B5BC20C-EBA2-484D-9665-0CA3F7983F2B}" type="slidenum">
              <a:rPr lang="en-US"/>
              <a:pPr>
                <a:defRPr/>
              </a:pPr>
              <a:t>‹N›</a:t>
            </a:fld>
            <a:endParaRPr lang="en-US" dirty="0"/>
          </a:p>
        </p:txBody>
      </p:sp>
    </p:spTree>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Figure Title Only">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090"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a:grpSpLocks/>
          </p:cNvGrpSpPr>
          <p:nvPr userDrawn="1">
            <p:custDataLst>
              <p:tags r:id="rId3"/>
            </p:custDataLst>
          </p:nvPr>
        </p:nvGrpSpPr>
        <p:grpSpPr bwMode="auto">
          <a:xfrm>
            <a:off x="-3175" y="1333500"/>
            <a:ext cx="9147175" cy="5524500"/>
            <a:chOff x="-2" y="922"/>
            <a:chExt cx="5762" cy="3398"/>
          </a:xfrm>
        </p:grpSpPr>
        <p:sp>
          <p:nvSpPr>
            <p:cNvPr id="6"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7"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8"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0"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1"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3" name="Title 2"/>
          <p:cNvSpPr>
            <a:spLocks noGrp="1"/>
          </p:cNvSpPr>
          <p:nvPr>
            <p:ph type="title"/>
          </p:nvPr>
        </p:nvSpPr>
        <p:spPr/>
        <p:txBody>
          <a:bodyPr/>
          <a:lstStyle/>
          <a:p>
            <a:r>
              <a:rPr lang="en-US" smtClean="0"/>
              <a:t>Click to edit Master title style</a:t>
            </a:r>
            <a:endParaRPr lang="en-US"/>
          </a:p>
        </p:txBody>
      </p:sp>
      <p:sp>
        <p:nvSpPr>
          <p:cNvPr id="12" name="Slide Number Placeholder 3"/>
          <p:cNvSpPr>
            <a:spLocks noGrp="1"/>
          </p:cNvSpPr>
          <p:nvPr>
            <p:ph type="sldNum" sz="quarter" idx="10"/>
          </p:nvPr>
        </p:nvSpPr>
        <p:spPr>
          <a:xfrm>
            <a:off x="8629650" y="6686550"/>
            <a:ext cx="150813" cy="153988"/>
          </a:xfrm>
          <a:prstGeom prst="rect">
            <a:avLst/>
          </a:prstGeom>
        </p:spPr>
        <p:txBody>
          <a:bodyPr/>
          <a:lstStyle>
            <a:lvl1pPr fontAlgn="auto">
              <a:spcBef>
                <a:spcPts val="0"/>
              </a:spcBef>
              <a:spcAft>
                <a:spcPts val="0"/>
              </a:spcAft>
              <a:defRPr>
                <a:solidFill>
                  <a:srgbClr val="144173">
                    <a:lumMod val="60000"/>
                    <a:lumOff val="40000"/>
                  </a:srgbClr>
                </a:solidFill>
                <a:latin typeface="Arial"/>
                <a:ea typeface="+mn-ea"/>
              </a:defRPr>
            </a:lvl1pPr>
          </a:lstStyle>
          <a:p>
            <a:pPr>
              <a:defRPr/>
            </a:pPr>
            <a:fld id="{682D001D-588E-40A8-926E-247F72197FA1}" type="slidenum">
              <a:rPr lang="en-US"/>
              <a:pPr>
                <a:defRPr/>
              </a:pPr>
              <a:t>‹N›</a:t>
            </a:fld>
            <a:endParaRPr lang="en-US" dirty="0"/>
          </a:p>
        </p:txBody>
      </p:sp>
    </p:spTree>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graphicFrame>
        <p:nvGraphicFramePr>
          <p:cNvPr id="6"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114"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a:grpSpLocks/>
          </p:cNvGrpSpPr>
          <p:nvPr userDrawn="1">
            <p:custDataLst>
              <p:tags r:id="rId3"/>
            </p:custDataLst>
          </p:nvPr>
        </p:nvGrpSpPr>
        <p:grpSpPr bwMode="auto">
          <a:xfrm>
            <a:off x="-3175" y="1333500"/>
            <a:ext cx="9147175" cy="5524500"/>
            <a:chOff x="-2" y="922"/>
            <a:chExt cx="5762" cy="3398"/>
          </a:xfrm>
        </p:grpSpPr>
        <p:sp>
          <p:nvSpPr>
            <p:cNvPr id="8"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0"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1"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3"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4"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3" name="Content Placeholder 2"/>
          <p:cNvSpPr>
            <a:spLocks noGrp="1"/>
          </p:cNvSpPr>
          <p:nvPr>
            <p:ph idx="1"/>
          </p:nvPr>
        </p:nvSpPr>
        <p:spPr>
          <a:xfrm>
            <a:off x="734888" y="1484313"/>
            <a:ext cx="8229600" cy="4641850"/>
          </a:xfrm>
          <a:prstGeom prst="rect">
            <a:avLst/>
          </a:prstGeom>
        </p:spPr>
        <p:txBody>
          <a:bodyPr/>
          <a:lstStyle>
            <a:lvl1pPr>
              <a:buClr>
                <a:schemeClr val="accent3"/>
              </a:buClr>
              <a:buSzPct val="110000"/>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itle 4"/>
          <p:cNvSpPr>
            <a:spLocks noGrp="1"/>
          </p:cNvSpPr>
          <p:nvPr>
            <p:ph type="title"/>
          </p:nvPr>
        </p:nvSpPr>
        <p:spPr/>
        <p:txBody>
          <a:bodyPr/>
          <a:lstStyle>
            <a:lvl1pPr>
              <a:defRPr i="0"/>
            </a:lvl1pPr>
          </a:lstStyle>
          <a:p>
            <a:r>
              <a:rPr lang="en-US" smtClean="0"/>
              <a:t>Click to edit Master title style</a:t>
            </a:r>
            <a:endParaRPr lang="en-GB" dirty="0"/>
          </a:p>
        </p:txBody>
      </p:sp>
      <p:sp>
        <p:nvSpPr>
          <p:cNvPr id="12" name="Content Placeholder 11"/>
          <p:cNvSpPr>
            <a:spLocks noGrp="1"/>
          </p:cNvSpPr>
          <p:nvPr>
            <p:ph sz="quarter" idx="10"/>
          </p:nvPr>
        </p:nvSpPr>
        <p:spPr>
          <a:xfrm>
            <a:off x="756344" y="6308725"/>
            <a:ext cx="8208144" cy="288925"/>
          </a:xfrm>
          <a:prstGeom prst="rect">
            <a:avLst/>
          </a:prstGeom>
        </p:spPr>
        <p:txBody>
          <a:bodyPr lIns="90000" rIns="90000" anchor="b">
            <a:noAutofit/>
          </a:bodyPr>
          <a:lstStyle>
            <a:lvl1pPr marL="0" indent="0">
              <a:spcBef>
                <a:spcPts val="0"/>
              </a:spcBef>
              <a:buNone/>
              <a:defRPr sz="1200" baseline="0"/>
            </a:lvl1pPr>
            <a:lvl2pPr>
              <a:defRPr sz="1200"/>
            </a:lvl2pPr>
            <a:lvl3pPr>
              <a:defRPr sz="1200"/>
            </a:lvl3pPr>
            <a:lvl4pPr>
              <a:defRPr sz="1200"/>
            </a:lvl4pPr>
            <a:lvl5pPr>
              <a:defRPr sz="1200"/>
            </a:lvl5pPr>
          </a:lstStyle>
          <a:p>
            <a:pPr lvl="0"/>
            <a:r>
              <a:rPr lang="it-IT" smtClean="0"/>
              <a:t>Fare clic per modificare stili del testo dello schema</a:t>
            </a:r>
          </a:p>
        </p:txBody>
      </p:sp>
      <p:sp>
        <p:nvSpPr>
          <p:cNvPr id="15" name="Slide Number Placeholder 5"/>
          <p:cNvSpPr>
            <a:spLocks noGrp="1"/>
          </p:cNvSpPr>
          <p:nvPr>
            <p:ph type="sldNum" sz="quarter" idx="11"/>
          </p:nvPr>
        </p:nvSpPr>
        <p:spPr>
          <a:xfrm>
            <a:off x="8748713" y="6492875"/>
            <a:ext cx="395287" cy="365125"/>
          </a:xfrm>
          <a:prstGeom prst="rect">
            <a:avLst/>
          </a:prstGeom>
        </p:spPr>
        <p:txBody>
          <a:bodyPr vert="horz" lIns="91440" tIns="45720" rIns="91440" bIns="45720" rtlCol="0" anchor="ctr"/>
          <a:lstStyle>
            <a:lvl1pPr algn="r" fontAlgn="auto">
              <a:spcBef>
                <a:spcPts val="0"/>
              </a:spcBef>
              <a:spcAft>
                <a:spcPts val="0"/>
              </a:spcAft>
              <a:defRPr sz="1100">
                <a:solidFill>
                  <a:srgbClr val="BABECE"/>
                </a:solidFill>
                <a:latin typeface="Arial"/>
                <a:ea typeface="+mn-ea"/>
              </a:defRPr>
            </a:lvl1pPr>
          </a:lstStyle>
          <a:p>
            <a:pPr>
              <a:defRPr/>
            </a:pPr>
            <a:fld id="{6B4A2C71-6CBF-4CC8-8C9C-0086A3E67334}" type="slidenum">
              <a:rPr lang="en-GB"/>
              <a:pPr>
                <a:defRPr/>
              </a:pPr>
              <a:t>‹N›</a:t>
            </a:fld>
            <a:endParaRPr lang="en-GB" dirty="0"/>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6_Title and Content">
    <p:spTree>
      <p:nvGrpSpPr>
        <p:cNvPr id="1" name=""/>
        <p:cNvGrpSpPr/>
        <p:nvPr/>
      </p:nvGrpSpPr>
      <p:grpSpPr>
        <a:xfrm>
          <a:off x="0" y="0"/>
          <a:ext cx="0" cy="0"/>
          <a:chOff x="0" y="0"/>
          <a:chExt cx="0" cy="0"/>
        </a:xfrm>
      </p:grpSpPr>
      <p:graphicFrame>
        <p:nvGraphicFramePr>
          <p:cNvPr id="6"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7138"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a:grpSpLocks/>
          </p:cNvGrpSpPr>
          <p:nvPr userDrawn="1">
            <p:custDataLst>
              <p:tags r:id="rId3"/>
            </p:custDataLst>
          </p:nvPr>
        </p:nvGrpSpPr>
        <p:grpSpPr bwMode="auto">
          <a:xfrm>
            <a:off x="-3175" y="1333500"/>
            <a:ext cx="9147175" cy="5524500"/>
            <a:chOff x="-2" y="922"/>
            <a:chExt cx="5762" cy="3398"/>
          </a:xfrm>
        </p:grpSpPr>
        <p:sp>
          <p:nvSpPr>
            <p:cNvPr id="8"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0"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1"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3"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4"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3" name="Content Placeholder 2"/>
          <p:cNvSpPr>
            <a:spLocks noGrp="1"/>
          </p:cNvSpPr>
          <p:nvPr>
            <p:ph idx="1"/>
          </p:nvPr>
        </p:nvSpPr>
        <p:spPr>
          <a:xfrm>
            <a:off x="734888" y="1484313"/>
            <a:ext cx="8229600" cy="4641850"/>
          </a:xfrm>
          <a:prstGeom prst="rect">
            <a:avLst/>
          </a:prstGeom>
        </p:spPr>
        <p:txBody>
          <a:bodyPr/>
          <a:lstStyle>
            <a:lvl1pPr>
              <a:buClr>
                <a:schemeClr val="accent3"/>
              </a:buClr>
              <a:buSzPct val="110000"/>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itle 4"/>
          <p:cNvSpPr>
            <a:spLocks noGrp="1"/>
          </p:cNvSpPr>
          <p:nvPr>
            <p:ph type="title"/>
          </p:nvPr>
        </p:nvSpPr>
        <p:spPr/>
        <p:txBody>
          <a:bodyPr/>
          <a:lstStyle>
            <a:lvl1pPr>
              <a:defRPr i="0"/>
            </a:lvl1pPr>
          </a:lstStyle>
          <a:p>
            <a:r>
              <a:rPr lang="en-US" smtClean="0"/>
              <a:t>Click to edit Master title style</a:t>
            </a:r>
            <a:endParaRPr lang="en-GB" dirty="0"/>
          </a:p>
        </p:txBody>
      </p:sp>
      <p:sp>
        <p:nvSpPr>
          <p:cNvPr id="12" name="Content Placeholder 11"/>
          <p:cNvSpPr>
            <a:spLocks noGrp="1"/>
          </p:cNvSpPr>
          <p:nvPr>
            <p:ph sz="quarter" idx="10"/>
          </p:nvPr>
        </p:nvSpPr>
        <p:spPr>
          <a:xfrm>
            <a:off x="756344" y="6308725"/>
            <a:ext cx="8208144" cy="288925"/>
          </a:xfrm>
          <a:prstGeom prst="rect">
            <a:avLst/>
          </a:prstGeom>
        </p:spPr>
        <p:txBody>
          <a:bodyPr lIns="90000" rIns="90000" anchor="b">
            <a:noAutofit/>
          </a:bodyPr>
          <a:lstStyle>
            <a:lvl1pPr marL="0" indent="0">
              <a:spcBef>
                <a:spcPts val="0"/>
              </a:spcBef>
              <a:buNone/>
              <a:defRPr sz="1200" baseline="0"/>
            </a:lvl1pPr>
            <a:lvl2pPr>
              <a:defRPr sz="1200"/>
            </a:lvl2pPr>
            <a:lvl3pPr>
              <a:defRPr sz="1200"/>
            </a:lvl3pPr>
            <a:lvl4pPr>
              <a:defRPr sz="1200"/>
            </a:lvl4pPr>
            <a:lvl5pPr>
              <a:defRPr sz="1200"/>
            </a:lvl5pPr>
          </a:lstStyle>
          <a:p>
            <a:pPr lvl="0"/>
            <a:r>
              <a:rPr lang="it-IT" smtClean="0"/>
              <a:t>Fare clic per modificare stili del testo dello schema</a:t>
            </a:r>
          </a:p>
        </p:txBody>
      </p:sp>
      <p:sp>
        <p:nvSpPr>
          <p:cNvPr id="15" name="Slide Number Placeholder 5"/>
          <p:cNvSpPr>
            <a:spLocks noGrp="1"/>
          </p:cNvSpPr>
          <p:nvPr>
            <p:ph type="sldNum" sz="quarter" idx="11"/>
          </p:nvPr>
        </p:nvSpPr>
        <p:spPr>
          <a:xfrm>
            <a:off x="8748713" y="6492875"/>
            <a:ext cx="395287" cy="365125"/>
          </a:xfrm>
          <a:prstGeom prst="rect">
            <a:avLst/>
          </a:prstGeom>
        </p:spPr>
        <p:txBody>
          <a:bodyPr vert="horz" lIns="91440" tIns="45720" rIns="91440" bIns="45720" rtlCol="0" anchor="ctr"/>
          <a:lstStyle>
            <a:lvl1pPr algn="r" fontAlgn="auto">
              <a:spcBef>
                <a:spcPts val="0"/>
              </a:spcBef>
              <a:spcAft>
                <a:spcPts val="0"/>
              </a:spcAft>
              <a:defRPr sz="1100">
                <a:solidFill>
                  <a:srgbClr val="BABECE"/>
                </a:solidFill>
                <a:latin typeface="Arial"/>
                <a:ea typeface="+mn-ea"/>
              </a:defRPr>
            </a:lvl1pPr>
          </a:lstStyle>
          <a:p>
            <a:pPr>
              <a:defRPr/>
            </a:pPr>
            <a:fld id="{4383C499-D8E4-4672-87D3-F5B76F619345}" type="slidenum">
              <a:rPr lang="en-GB"/>
              <a:pPr>
                <a:defRPr/>
              </a:pPr>
              <a:t>‹N›</a:t>
            </a:fld>
            <a:endParaRPr lang="en-GB" dirty="0"/>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6"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162"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a:grpSpLocks/>
          </p:cNvGrpSpPr>
          <p:nvPr userDrawn="1">
            <p:custDataLst>
              <p:tags r:id="rId3"/>
            </p:custDataLst>
          </p:nvPr>
        </p:nvGrpSpPr>
        <p:grpSpPr bwMode="auto">
          <a:xfrm>
            <a:off x="-3175" y="1333500"/>
            <a:ext cx="9147175" cy="5524500"/>
            <a:chOff x="-2" y="922"/>
            <a:chExt cx="5762" cy="3398"/>
          </a:xfrm>
        </p:grpSpPr>
        <p:sp>
          <p:nvSpPr>
            <p:cNvPr id="8"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0"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1"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3"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4"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3" name="Content Placeholder 2"/>
          <p:cNvSpPr>
            <a:spLocks noGrp="1"/>
          </p:cNvSpPr>
          <p:nvPr>
            <p:ph idx="1"/>
          </p:nvPr>
        </p:nvSpPr>
        <p:spPr>
          <a:xfrm>
            <a:off x="734888" y="1484313"/>
            <a:ext cx="8229600" cy="4641850"/>
          </a:xfrm>
          <a:prstGeom prst="rect">
            <a:avLst/>
          </a:prstGeom>
        </p:spPr>
        <p:txBody>
          <a:bodyPr/>
          <a:lstStyle>
            <a:lvl1pPr>
              <a:buClr>
                <a:schemeClr val="accent3"/>
              </a:buClr>
              <a:buSzPct val="110000"/>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itle 4"/>
          <p:cNvSpPr>
            <a:spLocks noGrp="1"/>
          </p:cNvSpPr>
          <p:nvPr>
            <p:ph type="title"/>
          </p:nvPr>
        </p:nvSpPr>
        <p:spPr/>
        <p:txBody>
          <a:bodyPr/>
          <a:lstStyle>
            <a:lvl1pPr>
              <a:defRPr i="0"/>
            </a:lvl1pPr>
          </a:lstStyle>
          <a:p>
            <a:r>
              <a:rPr lang="en-US" smtClean="0"/>
              <a:t>Click to edit Master title style</a:t>
            </a:r>
            <a:endParaRPr lang="en-GB" dirty="0"/>
          </a:p>
        </p:txBody>
      </p:sp>
      <p:sp>
        <p:nvSpPr>
          <p:cNvPr id="12" name="Content Placeholder 11"/>
          <p:cNvSpPr>
            <a:spLocks noGrp="1"/>
          </p:cNvSpPr>
          <p:nvPr>
            <p:ph sz="quarter" idx="10"/>
          </p:nvPr>
        </p:nvSpPr>
        <p:spPr>
          <a:xfrm>
            <a:off x="756344" y="6308725"/>
            <a:ext cx="8208144" cy="288925"/>
          </a:xfrm>
          <a:prstGeom prst="rect">
            <a:avLst/>
          </a:prstGeom>
        </p:spPr>
        <p:txBody>
          <a:bodyPr lIns="90000" rIns="90000" anchor="b">
            <a:noAutofit/>
          </a:bodyPr>
          <a:lstStyle>
            <a:lvl1pPr marL="0" indent="0">
              <a:spcBef>
                <a:spcPts val="0"/>
              </a:spcBef>
              <a:buNone/>
              <a:defRPr sz="1200" baseline="0"/>
            </a:lvl1pPr>
            <a:lvl2pPr>
              <a:defRPr sz="1200"/>
            </a:lvl2pPr>
            <a:lvl3pPr>
              <a:defRPr sz="1200"/>
            </a:lvl3pPr>
            <a:lvl4pPr>
              <a:defRPr sz="1200"/>
            </a:lvl4pPr>
            <a:lvl5pPr>
              <a:defRPr sz="1200"/>
            </a:lvl5pPr>
          </a:lstStyle>
          <a:p>
            <a:pPr lvl="0"/>
            <a:r>
              <a:rPr lang="it-IT" smtClean="0"/>
              <a:t>Fare clic per modificare stili del testo dello schema</a:t>
            </a:r>
          </a:p>
        </p:txBody>
      </p:sp>
      <p:sp>
        <p:nvSpPr>
          <p:cNvPr id="15" name="Slide Number Placeholder 5"/>
          <p:cNvSpPr>
            <a:spLocks noGrp="1"/>
          </p:cNvSpPr>
          <p:nvPr>
            <p:ph type="sldNum" sz="quarter" idx="11"/>
          </p:nvPr>
        </p:nvSpPr>
        <p:spPr>
          <a:xfrm>
            <a:off x="8748713" y="6492875"/>
            <a:ext cx="395287" cy="365125"/>
          </a:xfrm>
          <a:prstGeom prst="rect">
            <a:avLst/>
          </a:prstGeom>
        </p:spPr>
        <p:txBody>
          <a:bodyPr vert="horz" lIns="91440" tIns="45720" rIns="91440" bIns="45720" rtlCol="0" anchor="ctr"/>
          <a:lstStyle>
            <a:lvl1pPr algn="r" fontAlgn="auto">
              <a:spcBef>
                <a:spcPts val="0"/>
              </a:spcBef>
              <a:spcAft>
                <a:spcPts val="0"/>
              </a:spcAft>
              <a:defRPr sz="1100">
                <a:solidFill>
                  <a:srgbClr val="BABECE"/>
                </a:solidFill>
                <a:latin typeface="Arial"/>
                <a:ea typeface="+mn-ea"/>
              </a:defRPr>
            </a:lvl1pPr>
          </a:lstStyle>
          <a:p>
            <a:pPr>
              <a:defRPr/>
            </a:pPr>
            <a:fld id="{1A85E13C-262E-455C-B864-36C31111E689}" type="slidenum">
              <a:rPr lang="en-GB"/>
              <a:pPr>
                <a:defRPr/>
              </a:pPr>
              <a:t>‹N›</a:t>
            </a:fld>
            <a:endParaRPr lang="en-GB"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6"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7"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0A4A11F4-C254-499D-AAFB-07C59649F156}" type="slidenum">
              <a:rPr lang="it-IT"/>
              <a:pPr>
                <a:defRPr/>
              </a:pPr>
              <a:t>‹N›</a:t>
            </a:fld>
            <a:endParaRPr lang="it-IT"/>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7_Title and Content">
    <p:spTree>
      <p:nvGrpSpPr>
        <p:cNvPr id="1" name=""/>
        <p:cNvGrpSpPr/>
        <p:nvPr/>
      </p:nvGrpSpPr>
      <p:grpSpPr>
        <a:xfrm>
          <a:off x="0" y="0"/>
          <a:ext cx="0" cy="0"/>
          <a:chOff x="0" y="0"/>
          <a:chExt cx="0" cy="0"/>
        </a:xfrm>
      </p:grpSpPr>
      <p:graphicFrame>
        <p:nvGraphicFramePr>
          <p:cNvPr id="6" name="Object 2"/>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9186" name="think-cell Slide" r:id="rId7" imgW="360" imgH="360" progId="">
                  <p:embed/>
                </p:oleObj>
              </mc:Choice>
              <mc:Fallback>
                <p:oleObj name="think-cell Slide" r:id="rId7" imgW="360" imgH="360" progId="">
                  <p:embed/>
                  <p:pic>
                    <p:nvPicPr>
                      <p:cNvPr id="0" name="Object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a:grpSpLocks/>
          </p:cNvGrpSpPr>
          <p:nvPr userDrawn="1">
            <p:custDataLst>
              <p:tags r:id="rId3"/>
            </p:custDataLst>
          </p:nvPr>
        </p:nvGrpSpPr>
        <p:grpSpPr bwMode="auto">
          <a:xfrm>
            <a:off x="-3175" y="1333500"/>
            <a:ext cx="9147175" cy="5524500"/>
            <a:chOff x="-2" y="922"/>
            <a:chExt cx="5762" cy="3398"/>
          </a:xfrm>
        </p:grpSpPr>
        <p:sp>
          <p:nvSpPr>
            <p:cNvPr id="8"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9"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0"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11"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13" name="Rectangle 10"/>
          <p:cNvSpPr>
            <a:spLocks noChangeArrowheads="1"/>
          </p:cNvSpPr>
          <p:nvPr>
            <p:custDataLst>
              <p:tags r:id="rId4"/>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4" name="Rectangle 11"/>
          <p:cNvSpPr>
            <a:spLocks noChangeArrowheads="1"/>
          </p:cNvSpPr>
          <p:nvPr>
            <p:custDataLst>
              <p:tags r:id="rId5"/>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3" name="Content Placeholder 2"/>
          <p:cNvSpPr>
            <a:spLocks noGrp="1"/>
          </p:cNvSpPr>
          <p:nvPr>
            <p:ph idx="1"/>
          </p:nvPr>
        </p:nvSpPr>
        <p:spPr>
          <a:xfrm>
            <a:off x="734888" y="1484313"/>
            <a:ext cx="8229600" cy="4641850"/>
          </a:xfrm>
          <a:prstGeom prst="rect">
            <a:avLst/>
          </a:prstGeom>
        </p:spPr>
        <p:txBody>
          <a:bodyPr/>
          <a:lstStyle>
            <a:lvl1pPr>
              <a:buClr>
                <a:schemeClr val="accent3"/>
              </a:buClr>
              <a:buSzPct val="110000"/>
              <a:defRPr/>
            </a:lvl1pPr>
            <a:lvl2pPr>
              <a:buClr>
                <a:schemeClr val="accent3"/>
              </a:buClr>
              <a:defRPr/>
            </a:lvl2pPr>
            <a:lvl3pPr>
              <a:buClr>
                <a:schemeClr val="accent3"/>
              </a:buClr>
              <a:defRPr/>
            </a:lvl3pPr>
            <a:lvl4pPr>
              <a:buClr>
                <a:schemeClr val="accent3"/>
              </a:buClr>
              <a:defRPr/>
            </a:lvl4pPr>
            <a:lvl5pPr>
              <a:buClr>
                <a:schemeClr val="accent3"/>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itle 4"/>
          <p:cNvSpPr>
            <a:spLocks noGrp="1"/>
          </p:cNvSpPr>
          <p:nvPr>
            <p:ph type="title"/>
          </p:nvPr>
        </p:nvSpPr>
        <p:spPr/>
        <p:txBody>
          <a:bodyPr/>
          <a:lstStyle>
            <a:lvl1pPr>
              <a:defRPr i="0"/>
            </a:lvl1pPr>
          </a:lstStyle>
          <a:p>
            <a:r>
              <a:rPr lang="en-US" smtClean="0"/>
              <a:t>Click to edit Master title style</a:t>
            </a:r>
            <a:endParaRPr lang="en-GB" dirty="0"/>
          </a:p>
        </p:txBody>
      </p:sp>
      <p:sp>
        <p:nvSpPr>
          <p:cNvPr id="12" name="Content Placeholder 11"/>
          <p:cNvSpPr>
            <a:spLocks noGrp="1"/>
          </p:cNvSpPr>
          <p:nvPr>
            <p:ph sz="quarter" idx="10"/>
          </p:nvPr>
        </p:nvSpPr>
        <p:spPr>
          <a:xfrm>
            <a:off x="756344" y="6308725"/>
            <a:ext cx="8208144" cy="288925"/>
          </a:xfrm>
          <a:prstGeom prst="rect">
            <a:avLst/>
          </a:prstGeom>
        </p:spPr>
        <p:txBody>
          <a:bodyPr lIns="90000" rIns="90000" anchor="b">
            <a:noAutofit/>
          </a:bodyPr>
          <a:lstStyle>
            <a:lvl1pPr marL="0" indent="0">
              <a:spcBef>
                <a:spcPts val="0"/>
              </a:spcBef>
              <a:buNone/>
              <a:defRPr sz="1200" baseline="0"/>
            </a:lvl1pPr>
            <a:lvl2pPr>
              <a:defRPr sz="1200"/>
            </a:lvl2pPr>
            <a:lvl3pPr>
              <a:defRPr sz="1200"/>
            </a:lvl3pPr>
            <a:lvl4pPr>
              <a:defRPr sz="1200"/>
            </a:lvl4pPr>
            <a:lvl5pPr>
              <a:defRPr sz="1200"/>
            </a:lvl5pPr>
          </a:lstStyle>
          <a:p>
            <a:pPr lvl="0"/>
            <a:r>
              <a:rPr lang="it-IT" smtClean="0"/>
              <a:t>Fare clic per modificare stili del testo dello schema</a:t>
            </a:r>
          </a:p>
        </p:txBody>
      </p:sp>
      <p:sp>
        <p:nvSpPr>
          <p:cNvPr id="15" name="Slide Number Placeholder 5"/>
          <p:cNvSpPr>
            <a:spLocks noGrp="1"/>
          </p:cNvSpPr>
          <p:nvPr>
            <p:ph type="sldNum" sz="quarter" idx="11"/>
          </p:nvPr>
        </p:nvSpPr>
        <p:spPr>
          <a:xfrm>
            <a:off x="8748713" y="6492875"/>
            <a:ext cx="395287" cy="365125"/>
          </a:xfrm>
          <a:prstGeom prst="rect">
            <a:avLst/>
          </a:prstGeom>
        </p:spPr>
        <p:txBody>
          <a:bodyPr vert="horz" lIns="91440" tIns="45720" rIns="91440" bIns="45720" rtlCol="0" anchor="ctr"/>
          <a:lstStyle>
            <a:lvl1pPr algn="r" fontAlgn="auto">
              <a:spcBef>
                <a:spcPts val="0"/>
              </a:spcBef>
              <a:spcAft>
                <a:spcPts val="0"/>
              </a:spcAft>
              <a:defRPr sz="1100">
                <a:solidFill>
                  <a:srgbClr val="BABECE"/>
                </a:solidFill>
                <a:latin typeface="Arial"/>
                <a:ea typeface="+mn-ea"/>
              </a:defRPr>
            </a:lvl1pPr>
          </a:lstStyle>
          <a:p>
            <a:pPr>
              <a:defRPr/>
            </a:pPr>
            <a:fld id="{053735CA-460E-4D85-A3CF-85A884C3DF62}" type="slidenum">
              <a:rPr lang="en-GB"/>
              <a:pPr>
                <a:defRPr/>
              </a:pPr>
              <a:t>‹N›</a:t>
            </a:fld>
            <a:endParaRPr lang="en-GB"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8"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9"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A8A58D90-D954-41C1-B92B-46B54419EF1C}" type="slidenum">
              <a:rPr lang="it-IT"/>
              <a:pPr>
                <a:defRPr/>
              </a:pPr>
              <a:t>‹N›</a:t>
            </a:fld>
            <a:endParaRPr lang="it-IT"/>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4"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5"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FBF35615-AE62-4252-8402-1C3DCBA5BE68}" type="slidenum">
              <a:rPr lang="it-IT"/>
              <a:pPr>
                <a:defRPr/>
              </a:pPr>
              <a:t>‹N›</a:t>
            </a:fld>
            <a:endParaRPr lang="it-IT"/>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3"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4"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3E830214-9679-42D8-B756-146649306356}" type="slidenum">
              <a:rPr lang="it-IT"/>
              <a:pPr>
                <a:defRPr/>
              </a:pPr>
              <a:t>‹N›</a:t>
            </a:fld>
            <a:endParaRPr lang="it-IT"/>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4"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6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6"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7"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98129EFA-2C70-498C-9C42-BCF0C13E36CD}" type="slidenum">
              <a:rPr lang="it-IT"/>
              <a:pPr>
                <a:defRPr/>
              </a:pPr>
              <a:t>‹N›</a:t>
            </a:fld>
            <a:endParaRPr lang="it-IT"/>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6"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7"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E2A158E5-82BF-4040-89E5-4EF2E0E4AF87}" type="slidenum">
              <a:rPr lang="it-IT"/>
              <a:pPr>
                <a:defRPr/>
              </a:pPr>
              <a:t>‹N›</a:t>
            </a:fld>
            <a:endParaRPr lang="it-IT"/>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5"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07E3964A-D417-4A24-8CD1-6443254ED6D4}" type="slidenum">
              <a:rPr lang="it-IT"/>
              <a:pPr>
                <a:defRPr/>
              </a:pPr>
              <a:t>‹N›</a:t>
            </a:fld>
            <a:endParaRPr lang="it-IT"/>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4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4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p:txBody>
          <a:bodyPr/>
          <a:lstStyle>
            <a:lvl1pPr>
              <a:defRPr>
                <a:ea typeface="ＭＳ Ｐゴシック" pitchFamily="34" charset="-128"/>
              </a:defRPr>
            </a:lvl1pPr>
          </a:lstStyle>
          <a:p>
            <a:pPr>
              <a:defRPr/>
            </a:pPr>
            <a:endParaRPr lang="it-IT"/>
          </a:p>
        </p:txBody>
      </p:sp>
      <p:sp>
        <p:nvSpPr>
          <p:cNvPr id="5" name="Rectangle 5"/>
          <p:cNvSpPr>
            <a:spLocks noGrp="1" noChangeArrowheads="1"/>
          </p:cNvSpPr>
          <p:nvPr>
            <p:ph type="ftr" sz="quarter" idx="11"/>
          </p:nvPr>
        </p:nvSpPr>
        <p:spPr/>
        <p:txBody>
          <a:bodyPr/>
          <a:lstStyle>
            <a:lvl1pPr>
              <a:defRPr>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ea typeface="ＭＳ Ｐゴシック" pitchFamily="34" charset="-128"/>
              </a:defRPr>
            </a:lvl1pPr>
          </a:lstStyle>
          <a:p>
            <a:pPr>
              <a:defRPr/>
            </a:pPr>
            <a:fld id="{C417A5DA-9B41-4DA8-9890-3B1892F8D6FB}" type="slidenum">
              <a:rPr lang="it-IT"/>
              <a:pPr>
                <a:defRPr/>
              </a:pPr>
              <a:t>‹N›</a:t>
            </a:fld>
            <a:endParaRPr lang="it-IT"/>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33"/>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5"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6" name="Rectangle 6"/>
          <p:cNvSpPr>
            <a:spLocks noGrp="1" noChangeArrowheads="1"/>
          </p:cNvSpPr>
          <p:nvPr>
            <p:ph type="sldNum" sz="quarter" idx="12"/>
          </p:nvPr>
        </p:nvSpPr>
        <p:spPr/>
        <p:txBody>
          <a:bodyPr/>
          <a:lstStyle>
            <a:lvl1pPr>
              <a:defRPr>
                <a:ea typeface="MS PGothic" pitchFamily="34" charset="-128"/>
              </a:defRPr>
            </a:lvl1pPr>
          </a:lstStyle>
          <a:p>
            <a:pPr>
              <a:defRPr/>
            </a:pPr>
            <a:fld id="{87654403-588F-48E2-B6C6-D4F3F6EDA1D2}" type="slidenum">
              <a:rPr lang="fr-FR"/>
              <a:pPr>
                <a:defRPr/>
              </a:pPr>
              <a:t>‹N›</a:t>
            </a:fld>
            <a:endParaRPr lang="fr-F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5"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6" name="Rectangle 6"/>
          <p:cNvSpPr>
            <a:spLocks noGrp="1" noChangeArrowheads="1"/>
          </p:cNvSpPr>
          <p:nvPr>
            <p:ph type="sldNum" sz="quarter" idx="12"/>
          </p:nvPr>
        </p:nvSpPr>
        <p:spPr/>
        <p:txBody>
          <a:bodyPr/>
          <a:lstStyle>
            <a:lvl1pPr>
              <a:defRPr>
                <a:ea typeface="MS PGothic" pitchFamily="34" charset="-128"/>
              </a:defRPr>
            </a:lvl1pPr>
          </a:lstStyle>
          <a:p>
            <a:pPr>
              <a:defRPr/>
            </a:pPr>
            <a:fld id="{C202D384-7239-4D64-9372-C4E7AA195415}" type="slidenum">
              <a:rPr lang="fr-FR"/>
              <a:pPr>
                <a:defRPr/>
              </a:pPr>
              <a:t>‹N›</a:t>
            </a:fld>
            <a:endParaRPr lang="fr-F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8"/>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5"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6" name="Rectangle 6"/>
          <p:cNvSpPr>
            <a:spLocks noGrp="1" noChangeArrowheads="1"/>
          </p:cNvSpPr>
          <p:nvPr>
            <p:ph type="sldNum" sz="quarter" idx="12"/>
          </p:nvPr>
        </p:nvSpPr>
        <p:spPr/>
        <p:txBody>
          <a:bodyPr/>
          <a:lstStyle>
            <a:lvl1pPr>
              <a:defRPr>
                <a:ea typeface="MS PGothic" pitchFamily="34" charset="-128"/>
              </a:defRPr>
            </a:lvl1pPr>
          </a:lstStyle>
          <a:p>
            <a:pPr>
              <a:defRPr/>
            </a:pPr>
            <a:fld id="{F8ADE0FB-361F-4875-8B45-8826D7879C33}" type="slidenum">
              <a:rPr lang="fr-FR"/>
              <a:pPr>
                <a:defRPr/>
              </a:pPr>
              <a:t>‹N›</a:t>
            </a:fld>
            <a:endParaRPr lang="fr-F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6"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7" name="Rectangle 6"/>
          <p:cNvSpPr>
            <a:spLocks noGrp="1" noChangeArrowheads="1"/>
          </p:cNvSpPr>
          <p:nvPr>
            <p:ph type="sldNum" sz="quarter" idx="12"/>
          </p:nvPr>
        </p:nvSpPr>
        <p:spPr/>
        <p:txBody>
          <a:bodyPr/>
          <a:lstStyle>
            <a:lvl1pPr>
              <a:defRPr>
                <a:ea typeface="MS PGothic" pitchFamily="34" charset="-128"/>
              </a:defRPr>
            </a:lvl1pPr>
          </a:lstStyle>
          <a:p>
            <a:pPr>
              <a:defRPr/>
            </a:pPr>
            <a:fld id="{F86D708E-11E7-4AD2-98A7-B68ABF0196F8}" type="slidenum">
              <a:rPr lang="fr-FR"/>
              <a:pPr>
                <a:defRPr/>
              </a:pPr>
              <a:t>‹N›</a:t>
            </a:fld>
            <a:endParaRPr lang="fr-F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8"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9" name="Rectangle 6"/>
          <p:cNvSpPr>
            <a:spLocks noGrp="1" noChangeArrowheads="1"/>
          </p:cNvSpPr>
          <p:nvPr>
            <p:ph type="sldNum" sz="quarter" idx="12"/>
          </p:nvPr>
        </p:nvSpPr>
        <p:spPr/>
        <p:txBody>
          <a:bodyPr/>
          <a:lstStyle>
            <a:lvl1pPr>
              <a:defRPr>
                <a:ea typeface="MS PGothic" pitchFamily="34" charset="-128"/>
              </a:defRPr>
            </a:lvl1pPr>
          </a:lstStyle>
          <a:p>
            <a:pPr>
              <a:defRPr/>
            </a:pPr>
            <a:fld id="{5C2039C8-C883-49BE-B2E3-FDF98E3F307C}" type="slidenum">
              <a:rPr lang="fr-FR"/>
              <a:pPr>
                <a:defRPr/>
              </a:pPr>
              <a:t>‹N›</a:t>
            </a:fld>
            <a:endParaRPr lang="fr-F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4"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5" name="Rectangle 6"/>
          <p:cNvSpPr>
            <a:spLocks noGrp="1" noChangeArrowheads="1"/>
          </p:cNvSpPr>
          <p:nvPr>
            <p:ph type="sldNum" sz="quarter" idx="12"/>
          </p:nvPr>
        </p:nvSpPr>
        <p:spPr/>
        <p:txBody>
          <a:bodyPr/>
          <a:lstStyle>
            <a:lvl1pPr>
              <a:defRPr>
                <a:ea typeface="MS PGothic" pitchFamily="34" charset="-128"/>
              </a:defRPr>
            </a:lvl1pPr>
          </a:lstStyle>
          <a:p>
            <a:pPr>
              <a:defRPr/>
            </a:pPr>
            <a:fld id="{B3F6FE9D-FC9A-4591-B013-0364E2F555FA}" type="slidenum">
              <a:rPr lang="fr-FR"/>
              <a:pPr>
                <a:defRPr/>
              </a:pPr>
              <a:t>‹N›</a:t>
            </a:fld>
            <a:endParaRPr lang="fr-F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3"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4" name="Rectangle 6"/>
          <p:cNvSpPr>
            <a:spLocks noGrp="1" noChangeArrowheads="1"/>
          </p:cNvSpPr>
          <p:nvPr>
            <p:ph type="sldNum" sz="quarter" idx="12"/>
          </p:nvPr>
        </p:nvSpPr>
        <p:spPr/>
        <p:txBody>
          <a:bodyPr/>
          <a:lstStyle>
            <a:lvl1pPr>
              <a:defRPr>
                <a:ea typeface="MS PGothic" pitchFamily="34" charset="-128"/>
              </a:defRPr>
            </a:lvl1pPr>
          </a:lstStyle>
          <a:p>
            <a:pPr>
              <a:defRPr/>
            </a:pPr>
            <a:fld id="{2C2D26AF-73D9-471C-B6D6-F25468FAB8F7}" type="slidenum">
              <a:rPr lang="fr-FR"/>
              <a:pPr>
                <a:defRPr/>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4"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6"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7" name="Rectangle 6"/>
          <p:cNvSpPr>
            <a:spLocks noGrp="1" noChangeArrowheads="1"/>
          </p:cNvSpPr>
          <p:nvPr>
            <p:ph type="sldNum" sz="quarter" idx="12"/>
          </p:nvPr>
        </p:nvSpPr>
        <p:spPr/>
        <p:txBody>
          <a:bodyPr/>
          <a:lstStyle>
            <a:lvl1pPr>
              <a:defRPr>
                <a:ea typeface="MS PGothic" pitchFamily="34" charset="-128"/>
              </a:defRPr>
            </a:lvl1pPr>
          </a:lstStyle>
          <a:p>
            <a:pPr>
              <a:defRPr/>
            </a:pPr>
            <a:fld id="{2906B2ED-81B4-41EA-B75F-05B7CBA757BF}" type="slidenum">
              <a:rPr lang="fr-FR"/>
              <a:pPr>
                <a:defRPr/>
              </a:pPr>
              <a:t>‹N›</a:t>
            </a:fld>
            <a:endParaRPr lang="fr-F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6"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7" name="Rectangle 6"/>
          <p:cNvSpPr>
            <a:spLocks noGrp="1" noChangeArrowheads="1"/>
          </p:cNvSpPr>
          <p:nvPr>
            <p:ph type="sldNum" sz="quarter" idx="12"/>
          </p:nvPr>
        </p:nvSpPr>
        <p:spPr/>
        <p:txBody>
          <a:bodyPr/>
          <a:lstStyle>
            <a:lvl1pPr>
              <a:defRPr>
                <a:ea typeface="MS PGothic" pitchFamily="34" charset="-128"/>
              </a:defRPr>
            </a:lvl1pPr>
          </a:lstStyle>
          <a:p>
            <a:pPr>
              <a:defRPr/>
            </a:pPr>
            <a:fld id="{5E40FBF2-00C4-4063-B3F1-6486BE421A21}" type="slidenum">
              <a:rPr lang="fr-FR"/>
              <a:pPr>
                <a:defRPr/>
              </a:pPr>
              <a:t>‹N›</a:t>
            </a:fld>
            <a:endParaRPr lang="fr-F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5"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6" name="Rectangle 6"/>
          <p:cNvSpPr>
            <a:spLocks noGrp="1" noChangeArrowheads="1"/>
          </p:cNvSpPr>
          <p:nvPr>
            <p:ph type="sldNum" sz="quarter" idx="12"/>
          </p:nvPr>
        </p:nvSpPr>
        <p:spPr/>
        <p:txBody>
          <a:bodyPr/>
          <a:lstStyle>
            <a:lvl1pPr>
              <a:defRPr>
                <a:ea typeface="MS PGothic" pitchFamily="34" charset="-128"/>
              </a:defRPr>
            </a:lvl1pPr>
          </a:lstStyle>
          <a:p>
            <a:pPr>
              <a:defRPr/>
            </a:pPr>
            <a:fld id="{1114D3C5-3B1F-4DAC-BF2F-810095800EC3}" type="slidenum">
              <a:rPr lang="fr-FR"/>
              <a:pPr>
                <a:defRPr/>
              </a:pPr>
              <a:t>‹N›</a:t>
            </a:fld>
            <a:endParaRPr lang="fr-F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46"/>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46"/>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p:txBody>
          <a:bodyPr/>
          <a:lstStyle>
            <a:lvl1pPr>
              <a:defRPr>
                <a:ea typeface="MS PGothic" pitchFamily="34" charset="-128"/>
              </a:defRPr>
            </a:lvl1pPr>
          </a:lstStyle>
          <a:p>
            <a:pPr>
              <a:defRPr/>
            </a:pPr>
            <a:endParaRPr lang="fr-FR"/>
          </a:p>
        </p:txBody>
      </p:sp>
      <p:sp>
        <p:nvSpPr>
          <p:cNvPr id="5" name="Rectangle 5"/>
          <p:cNvSpPr>
            <a:spLocks noGrp="1" noChangeArrowheads="1"/>
          </p:cNvSpPr>
          <p:nvPr>
            <p:ph type="ftr" sz="quarter" idx="11"/>
          </p:nvPr>
        </p:nvSpPr>
        <p:spPr/>
        <p:txBody>
          <a:bodyPr/>
          <a:lstStyle>
            <a:lvl1pPr>
              <a:defRPr>
                <a:ea typeface="MS PGothic" pitchFamily="34" charset="-128"/>
              </a:defRPr>
            </a:lvl1pPr>
          </a:lstStyle>
          <a:p>
            <a:pPr>
              <a:defRPr/>
            </a:pPr>
            <a:endParaRPr lang="fr-FR"/>
          </a:p>
        </p:txBody>
      </p:sp>
      <p:sp>
        <p:nvSpPr>
          <p:cNvPr id="6" name="Rectangle 6"/>
          <p:cNvSpPr>
            <a:spLocks noGrp="1" noChangeArrowheads="1"/>
          </p:cNvSpPr>
          <p:nvPr>
            <p:ph type="sldNum" sz="quarter" idx="12"/>
          </p:nvPr>
        </p:nvSpPr>
        <p:spPr/>
        <p:txBody>
          <a:bodyPr/>
          <a:lstStyle>
            <a:lvl1pPr>
              <a:defRPr>
                <a:ea typeface="MS PGothic" pitchFamily="34" charset="-128"/>
              </a:defRPr>
            </a:lvl1pPr>
          </a:lstStyle>
          <a:p>
            <a:pPr>
              <a:defRPr/>
            </a:pPr>
            <a:fld id="{EC9E94F9-09DA-4557-84AE-9D7B56377A30}" type="slidenum">
              <a:rPr lang="fr-FR"/>
              <a:pPr>
                <a:defRPr/>
              </a:pPr>
              <a:t>‹N›</a:t>
            </a:fld>
            <a:endParaRPr lang="fr-F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33"/>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61504CF5-9849-4A54-B055-2C810F1F8352}" type="datetimeFigureOut">
              <a:rPr lang="it-IT"/>
              <a:pPr>
                <a:defRPr/>
              </a:pPr>
              <a:t>18/05/2017</a:t>
            </a:fld>
            <a:endParaRPr lang="it-IT"/>
          </a:p>
        </p:txBody>
      </p:sp>
      <p:sp>
        <p:nvSpPr>
          <p:cNvPr id="5"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5407F336-8BD1-4E63-B3E7-D55F63A56031}" type="slidenum">
              <a:rPr lang="it-IT"/>
              <a:pPr>
                <a:defRPr/>
              </a:pPr>
              <a:t>‹N›</a:t>
            </a:fld>
            <a:endParaRPr lang="it-IT"/>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860C1E9D-0EC0-46FB-B517-565A40ED1E11}" type="datetimeFigureOut">
              <a:rPr lang="it-IT"/>
              <a:pPr>
                <a:defRPr/>
              </a:pPr>
              <a:t>18/05/2017</a:t>
            </a:fld>
            <a:endParaRPr lang="it-IT"/>
          </a:p>
        </p:txBody>
      </p:sp>
      <p:sp>
        <p:nvSpPr>
          <p:cNvPr id="5"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40242E7D-DE27-46B8-A340-54C9E740D542}" type="slidenum">
              <a:rPr lang="it-IT"/>
              <a:pPr>
                <a:defRPr/>
              </a:pPr>
              <a:t>‹N›</a:t>
            </a:fld>
            <a:endParaRPr lang="it-IT"/>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8"/>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9F42AD7E-C512-43E3-8F1A-E9A89430F622}" type="datetimeFigureOut">
              <a:rPr lang="it-IT"/>
              <a:pPr>
                <a:defRPr/>
              </a:pPr>
              <a:t>18/05/2017</a:t>
            </a:fld>
            <a:endParaRPr lang="it-IT"/>
          </a:p>
        </p:txBody>
      </p:sp>
      <p:sp>
        <p:nvSpPr>
          <p:cNvPr id="5"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1FB4C69F-92B3-4978-B9B7-7F1E3FDF10D2}" type="slidenum">
              <a:rPr lang="it-IT"/>
              <a:pPr>
                <a:defRPr/>
              </a:pPr>
              <a:t>‹N›</a:t>
            </a:fld>
            <a:endParaRPr lang="it-IT"/>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344780C4-12B4-4226-95BC-228FD93C5066}" type="datetimeFigureOut">
              <a:rPr lang="it-IT"/>
              <a:pPr>
                <a:defRPr/>
              </a:pPr>
              <a:t>18/05/2017</a:t>
            </a:fld>
            <a:endParaRPr lang="it-IT"/>
          </a:p>
        </p:txBody>
      </p:sp>
      <p:sp>
        <p:nvSpPr>
          <p:cNvPr id="6"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7"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01AC76BA-B723-4CCA-9039-A9775F739136}" type="slidenum">
              <a:rPr lang="it-IT"/>
              <a:pPr>
                <a:defRPr/>
              </a:pPr>
              <a:t>‹N›</a:t>
            </a:fld>
            <a:endParaRPr lang="it-IT"/>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D9D1458B-9128-45BD-97DB-A53F4D9457DF}" type="datetimeFigureOut">
              <a:rPr lang="it-IT"/>
              <a:pPr>
                <a:defRPr/>
              </a:pPr>
              <a:t>18/05/2017</a:t>
            </a:fld>
            <a:endParaRPr lang="it-IT"/>
          </a:p>
        </p:txBody>
      </p:sp>
      <p:sp>
        <p:nvSpPr>
          <p:cNvPr id="8"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9"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3A1FDFB6-8817-4D73-A4BE-01DE5DCE37F3}" type="slidenum">
              <a:rPr lang="it-IT"/>
              <a:pPr>
                <a:defRPr/>
              </a:pPr>
              <a:t>‹N›</a:t>
            </a:fld>
            <a:endParaRPr lang="it-IT"/>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1E8F611B-B9FF-4242-912B-FD6ACD62C8B3}" type="datetimeFigureOut">
              <a:rPr lang="it-IT"/>
              <a:pPr>
                <a:defRPr/>
              </a:pPr>
              <a:t>18/05/2017</a:t>
            </a:fld>
            <a:endParaRPr lang="it-IT"/>
          </a:p>
        </p:txBody>
      </p:sp>
      <p:sp>
        <p:nvSpPr>
          <p:cNvPr id="4"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5"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7BE6F1EB-EFDB-4D8B-938B-D42528BCD11C}" type="slidenum">
              <a:rPr lang="it-IT"/>
              <a:pPr>
                <a:defRPr/>
              </a:pPr>
              <a:t>‹N›</a:t>
            </a:fld>
            <a:endParaRPr lang="it-IT"/>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674277B6-E367-40AB-8CB3-8B4A00721D62}" type="datetimeFigureOut">
              <a:rPr lang="it-IT"/>
              <a:pPr>
                <a:defRPr/>
              </a:pPr>
              <a:t>18/05/2017</a:t>
            </a:fld>
            <a:endParaRPr lang="it-IT"/>
          </a:p>
        </p:txBody>
      </p:sp>
      <p:sp>
        <p:nvSpPr>
          <p:cNvPr id="3"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4"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75A463A6-358B-4305-974D-BD5157B4DD2B}" type="slidenum">
              <a:rPr lang="it-IT"/>
              <a:pPr>
                <a:defRPr/>
              </a:pPr>
              <a:t>‹N›</a:t>
            </a:fld>
            <a:endParaRPr lang="it-IT"/>
          </a:p>
        </p:txBody>
      </p:sp>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4"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F4911F9B-7A8F-4EF9-8959-DF13A27276CE}" type="datetimeFigureOut">
              <a:rPr lang="it-IT"/>
              <a:pPr>
                <a:defRPr/>
              </a:pPr>
              <a:t>18/05/2017</a:t>
            </a:fld>
            <a:endParaRPr lang="it-IT"/>
          </a:p>
        </p:txBody>
      </p:sp>
      <p:sp>
        <p:nvSpPr>
          <p:cNvPr id="6"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7"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F0AF6F0C-13BB-45E0-A769-046FA39568B2}" type="slidenum">
              <a:rPr lang="it-IT"/>
              <a:pPr>
                <a:defRPr/>
              </a:pPr>
              <a:t>‹N›</a:t>
            </a:fld>
            <a:endParaRPr lang="it-IT"/>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DAAA6359-72A4-4FD7-96C3-FBE80FDBF727}" type="datetimeFigureOut">
              <a:rPr lang="it-IT"/>
              <a:pPr>
                <a:defRPr/>
              </a:pPr>
              <a:t>18/05/2017</a:t>
            </a:fld>
            <a:endParaRPr lang="it-IT"/>
          </a:p>
        </p:txBody>
      </p:sp>
      <p:sp>
        <p:nvSpPr>
          <p:cNvPr id="6"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7"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1E64675F-D32B-4EDC-BB01-8BE528ED68B0}" type="slidenum">
              <a:rPr lang="it-IT"/>
              <a:pPr>
                <a:defRPr/>
              </a:pPr>
              <a:t>‹N›</a:t>
            </a:fld>
            <a:endParaRPr lang="it-IT"/>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4FD80DE3-F7F7-475D-A3E5-6D64AC6CC54F}" type="datetimeFigureOut">
              <a:rPr lang="it-IT"/>
              <a:pPr>
                <a:defRPr/>
              </a:pPr>
              <a:t>18/05/2017</a:t>
            </a:fld>
            <a:endParaRPr lang="it-IT"/>
          </a:p>
        </p:txBody>
      </p:sp>
      <p:sp>
        <p:nvSpPr>
          <p:cNvPr id="5"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9680B1C8-6F16-4EFB-8083-79516F70E472}" type="slidenum">
              <a:rPr lang="it-IT"/>
              <a:pPr>
                <a:defRPr/>
              </a:pPr>
              <a:t>‹N›</a:t>
            </a:fld>
            <a:endParaRPr lang="it-IT"/>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609600"/>
            <a:ext cx="1943100" cy="5486400"/>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2" y="609600"/>
            <a:ext cx="5676900" cy="5486400"/>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p:txBody>
          <a:bodyPr/>
          <a:lstStyle>
            <a:lvl1pPr>
              <a:defRPr>
                <a:latin typeface="Arial" pitchFamily="34" charset="0"/>
                <a:ea typeface="ＭＳ Ｐゴシック" pitchFamily="34" charset="-128"/>
              </a:defRPr>
            </a:lvl1pPr>
          </a:lstStyle>
          <a:p>
            <a:pPr>
              <a:defRPr/>
            </a:pPr>
            <a:fld id="{75F61430-507D-49E7-A877-7213C1BA8A90}" type="datetimeFigureOut">
              <a:rPr lang="it-IT"/>
              <a:pPr>
                <a:defRPr/>
              </a:pPr>
              <a:t>18/05/2017</a:t>
            </a:fld>
            <a:endParaRPr lang="it-IT"/>
          </a:p>
        </p:txBody>
      </p:sp>
      <p:sp>
        <p:nvSpPr>
          <p:cNvPr id="5" name="Rectangle 5"/>
          <p:cNvSpPr>
            <a:spLocks noGrp="1" noChangeArrowheads="1"/>
          </p:cNvSpPr>
          <p:nvPr>
            <p:ph type="ftr" sz="quarter" idx="11"/>
          </p:nvPr>
        </p:nvSpPr>
        <p:spPr/>
        <p:txBody>
          <a:bodyPr/>
          <a:lstStyle>
            <a:lvl1pPr>
              <a:defRPr>
                <a:latin typeface="Arial" pitchFamily="34" charset="0"/>
                <a:ea typeface="ＭＳ Ｐゴシック" pitchFamily="34" charset="-128"/>
              </a:defRPr>
            </a:lvl1pPr>
          </a:lstStyle>
          <a:p>
            <a:pPr>
              <a:defRPr/>
            </a:pPr>
            <a:endParaRPr lang="it-IT"/>
          </a:p>
        </p:txBody>
      </p:sp>
      <p:sp>
        <p:nvSpPr>
          <p:cNvPr id="6" name="Rectangle 6"/>
          <p:cNvSpPr>
            <a:spLocks noGrp="1" noChangeArrowheads="1"/>
          </p:cNvSpPr>
          <p:nvPr>
            <p:ph type="sldNum" sz="quarter" idx="12"/>
          </p:nvPr>
        </p:nvSpPr>
        <p:spPr/>
        <p:txBody>
          <a:bodyPr/>
          <a:lstStyle>
            <a:lvl1pPr>
              <a:defRPr>
                <a:latin typeface="Arial" pitchFamily="34" charset="0"/>
                <a:ea typeface="ＭＳ Ｐゴシック" pitchFamily="34" charset="-128"/>
              </a:defRPr>
            </a:lvl1pPr>
          </a:lstStyle>
          <a:p>
            <a:pPr>
              <a:defRPr/>
            </a:pPr>
            <a:fld id="{DD2AC753-91A0-4A06-9A98-A224690847C0}" type="slidenum">
              <a:rPr lang="it-IT"/>
              <a:pPr>
                <a:defRPr/>
              </a:pPr>
              <a:t>‹N›</a:t>
            </a:fld>
            <a:endParaRPr lang="it-IT"/>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D85EF3C2-1968-43FF-97FC-232B6A63C028}" type="slidenum">
              <a:rPr lang="it-IT"/>
              <a:pPr>
                <a:defRPr/>
              </a:pPr>
              <a:t>‹N›</a:t>
            </a:fld>
            <a:endParaRPr lang="it-IT"/>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B899C867-76D8-41B7-AFEB-95FF7AB0DE95}" type="slidenum">
              <a:rPr lang="it-IT"/>
              <a:pPr>
                <a:defRPr/>
              </a:pPr>
              <a:t>‹N›</a:t>
            </a:fld>
            <a:endParaRPr lang="it-IT"/>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84FC3402-555B-46B4-88F3-2C57F0BAA79D}" type="slidenum">
              <a:rPr lang="it-IT"/>
              <a:pPr>
                <a:defRPr/>
              </a:pPr>
              <a:t>‹N›</a:t>
            </a:fld>
            <a:endParaRPr lang="it-IT"/>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6" name="Rectangle 5"/>
          <p:cNvSpPr>
            <a:spLocks noGrp="1" noChangeArrowheads="1"/>
          </p:cNvSpPr>
          <p:nvPr>
            <p:ph type="ftr" sz="quarter" idx="11"/>
          </p:nvPr>
        </p:nvSpPr>
        <p:spPr>
          <a:ln/>
        </p:spPr>
        <p:txBody>
          <a:bodyPr/>
          <a:lstStyle>
            <a:lvl1pPr>
              <a:defRPr/>
            </a:lvl1pPr>
          </a:lstStyle>
          <a:p>
            <a:pPr>
              <a:defRPr/>
            </a:pPr>
            <a:endParaRPr lang="it-IT"/>
          </a:p>
        </p:txBody>
      </p:sp>
      <p:sp>
        <p:nvSpPr>
          <p:cNvPr id="7" name="Rectangle 6"/>
          <p:cNvSpPr>
            <a:spLocks noGrp="1" noChangeArrowheads="1"/>
          </p:cNvSpPr>
          <p:nvPr>
            <p:ph type="sldNum" sz="quarter" idx="12"/>
          </p:nvPr>
        </p:nvSpPr>
        <p:spPr>
          <a:ln/>
        </p:spPr>
        <p:txBody>
          <a:bodyPr/>
          <a:lstStyle>
            <a:lvl1pPr>
              <a:defRPr/>
            </a:lvl1pPr>
          </a:lstStyle>
          <a:p>
            <a:pPr>
              <a:defRPr/>
            </a:pPr>
            <a:fld id="{DA889FA5-AF12-4B9B-B6EC-34636E315D70}" type="slidenum">
              <a:rPr lang="it-IT"/>
              <a:pPr>
                <a:defRPr/>
              </a:pPr>
              <a:t>‹N›</a:t>
            </a:fld>
            <a:endParaRPr lang="it-IT"/>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4"/>
          <p:cNvSpPr>
            <a:spLocks noGrp="1" noChangeArrowheads="1"/>
          </p:cNvSpPr>
          <p:nvPr>
            <p:ph type="dt" sz="half" idx="10"/>
          </p:nvPr>
        </p:nvSpPr>
        <p:spPr>
          <a:ln/>
        </p:spPr>
        <p:txBody>
          <a:bodyPr/>
          <a:lstStyle>
            <a:lvl1pPr>
              <a:defRPr/>
            </a:lvl1pPr>
          </a:lstStyle>
          <a:p>
            <a:pPr>
              <a:defRPr/>
            </a:pPr>
            <a:endParaRPr lang="it-IT"/>
          </a:p>
        </p:txBody>
      </p:sp>
      <p:sp>
        <p:nvSpPr>
          <p:cNvPr id="8" name="Rectangle 5"/>
          <p:cNvSpPr>
            <a:spLocks noGrp="1" noChangeArrowheads="1"/>
          </p:cNvSpPr>
          <p:nvPr>
            <p:ph type="ftr" sz="quarter" idx="11"/>
          </p:nvPr>
        </p:nvSpPr>
        <p:spPr>
          <a:ln/>
        </p:spPr>
        <p:txBody>
          <a:bodyPr/>
          <a:lstStyle>
            <a:lvl1pPr>
              <a:defRPr/>
            </a:lvl1pPr>
          </a:lstStyle>
          <a:p>
            <a:pPr>
              <a:defRPr/>
            </a:pPr>
            <a:endParaRPr lang="it-IT"/>
          </a:p>
        </p:txBody>
      </p:sp>
      <p:sp>
        <p:nvSpPr>
          <p:cNvPr id="9" name="Rectangle 6"/>
          <p:cNvSpPr>
            <a:spLocks noGrp="1" noChangeArrowheads="1"/>
          </p:cNvSpPr>
          <p:nvPr>
            <p:ph type="sldNum" sz="quarter" idx="12"/>
          </p:nvPr>
        </p:nvSpPr>
        <p:spPr>
          <a:ln/>
        </p:spPr>
        <p:txBody>
          <a:bodyPr/>
          <a:lstStyle>
            <a:lvl1pPr>
              <a:defRPr/>
            </a:lvl1pPr>
          </a:lstStyle>
          <a:p>
            <a:pPr>
              <a:defRPr/>
            </a:pPr>
            <a:fld id="{30DA2FE0-0E17-4C8C-8CF2-191909A476BA}" type="slidenum">
              <a:rPr lang="it-IT"/>
              <a:pPr>
                <a:defRPr/>
              </a:pPr>
              <a:t>‹N›</a:t>
            </a:fld>
            <a:endParaRPr lang="it-I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Rectangle 4"/>
          <p:cNvSpPr>
            <a:spLocks noGrp="1" noChangeArrowheads="1"/>
          </p:cNvSpPr>
          <p:nvPr>
            <p:ph type="dt" sz="half" idx="10"/>
          </p:nvPr>
        </p:nvSpPr>
        <p:spPr>
          <a:ln/>
        </p:spPr>
        <p:txBody>
          <a:bodyPr/>
          <a:lstStyle>
            <a:lvl1pPr>
              <a:defRPr/>
            </a:lvl1pPr>
          </a:lstStyle>
          <a:p>
            <a:pPr>
              <a:defRPr/>
            </a:pPr>
            <a:endParaRPr lang="it-IT"/>
          </a:p>
        </p:txBody>
      </p:sp>
      <p:sp>
        <p:nvSpPr>
          <p:cNvPr id="4" name="Rectangle 5"/>
          <p:cNvSpPr>
            <a:spLocks noGrp="1" noChangeArrowheads="1"/>
          </p:cNvSpPr>
          <p:nvPr>
            <p:ph type="ftr" sz="quarter" idx="11"/>
          </p:nvPr>
        </p:nvSpPr>
        <p:spPr>
          <a:ln/>
        </p:spPr>
        <p:txBody>
          <a:bodyPr/>
          <a:lstStyle>
            <a:lvl1pPr>
              <a:defRPr/>
            </a:lvl1pPr>
          </a:lstStyle>
          <a:p>
            <a:pPr>
              <a:defRPr/>
            </a:pPr>
            <a:endParaRPr lang="it-IT"/>
          </a:p>
        </p:txBody>
      </p:sp>
      <p:sp>
        <p:nvSpPr>
          <p:cNvPr id="5" name="Rectangle 6"/>
          <p:cNvSpPr>
            <a:spLocks noGrp="1" noChangeArrowheads="1"/>
          </p:cNvSpPr>
          <p:nvPr>
            <p:ph type="sldNum" sz="quarter" idx="12"/>
          </p:nvPr>
        </p:nvSpPr>
        <p:spPr>
          <a:ln/>
        </p:spPr>
        <p:txBody>
          <a:bodyPr/>
          <a:lstStyle>
            <a:lvl1pPr>
              <a:defRPr/>
            </a:lvl1pPr>
          </a:lstStyle>
          <a:p>
            <a:pPr>
              <a:defRPr/>
            </a:pPr>
            <a:fld id="{0B01FCBC-8EBC-43D9-AC3D-FA5123C1259C}" type="slidenum">
              <a:rPr lang="it-IT"/>
              <a:pPr>
                <a:defRPr/>
              </a:pPr>
              <a:t>‹N›</a:t>
            </a:fld>
            <a:endParaRPr lang="it-IT"/>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it-IT"/>
          </a:p>
        </p:txBody>
      </p:sp>
      <p:sp>
        <p:nvSpPr>
          <p:cNvPr id="3" name="Rectangle 5"/>
          <p:cNvSpPr>
            <a:spLocks noGrp="1" noChangeArrowheads="1"/>
          </p:cNvSpPr>
          <p:nvPr>
            <p:ph type="ftr" sz="quarter" idx="11"/>
          </p:nvPr>
        </p:nvSpPr>
        <p:spPr>
          <a:ln/>
        </p:spPr>
        <p:txBody>
          <a:bodyPr/>
          <a:lstStyle>
            <a:lvl1pPr>
              <a:defRPr/>
            </a:lvl1pPr>
          </a:lstStyle>
          <a:p>
            <a:pPr>
              <a:defRPr/>
            </a:pPr>
            <a:endParaRPr lang="it-IT"/>
          </a:p>
        </p:txBody>
      </p:sp>
      <p:sp>
        <p:nvSpPr>
          <p:cNvPr id="4" name="Rectangle 6"/>
          <p:cNvSpPr>
            <a:spLocks noGrp="1" noChangeArrowheads="1"/>
          </p:cNvSpPr>
          <p:nvPr>
            <p:ph type="sldNum" sz="quarter" idx="12"/>
          </p:nvPr>
        </p:nvSpPr>
        <p:spPr>
          <a:ln/>
        </p:spPr>
        <p:txBody>
          <a:bodyPr/>
          <a:lstStyle>
            <a:lvl1pPr>
              <a:defRPr/>
            </a:lvl1pPr>
          </a:lstStyle>
          <a:p>
            <a:pPr>
              <a:defRPr/>
            </a:pPr>
            <a:fld id="{B238EE38-8146-449D-93A3-D28444BACC78}" type="slidenum">
              <a:rPr lang="it-IT"/>
              <a:pPr>
                <a:defRPr/>
              </a:pPr>
              <a:t>‹N›</a:t>
            </a:fld>
            <a:endParaRPr lang="it-IT"/>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6" name="Rectangle 5"/>
          <p:cNvSpPr>
            <a:spLocks noGrp="1" noChangeArrowheads="1"/>
          </p:cNvSpPr>
          <p:nvPr>
            <p:ph type="ftr" sz="quarter" idx="11"/>
          </p:nvPr>
        </p:nvSpPr>
        <p:spPr>
          <a:ln/>
        </p:spPr>
        <p:txBody>
          <a:bodyPr/>
          <a:lstStyle>
            <a:lvl1pPr>
              <a:defRPr/>
            </a:lvl1pPr>
          </a:lstStyle>
          <a:p>
            <a:pPr>
              <a:defRPr/>
            </a:pPr>
            <a:endParaRPr lang="it-IT"/>
          </a:p>
        </p:txBody>
      </p:sp>
      <p:sp>
        <p:nvSpPr>
          <p:cNvPr id="7" name="Rectangle 6"/>
          <p:cNvSpPr>
            <a:spLocks noGrp="1" noChangeArrowheads="1"/>
          </p:cNvSpPr>
          <p:nvPr>
            <p:ph type="sldNum" sz="quarter" idx="12"/>
          </p:nvPr>
        </p:nvSpPr>
        <p:spPr>
          <a:ln/>
        </p:spPr>
        <p:txBody>
          <a:bodyPr/>
          <a:lstStyle>
            <a:lvl1pPr>
              <a:defRPr/>
            </a:lvl1pPr>
          </a:lstStyle>
          <a:p>
            <a:pPr>
              <a:defRPr/>
            </a:pPr>
            <a:fld id="{F2C71AED-E0D6-4854-B881-BEAAB780C498}" type="slidenum">
              <a:rPr lang="it-IT"/>
              <a:pPr>
                <a:defRPr/>
              </a:pPr>
              <a:t>‹N›</a:t>
            </a:fld>
            <a:endParaRPr lang="it-IT"/>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4"/>
          <p:cNvSpPr>
            <a:spLocks noGrp="1" noChangeArrowheads="1"/>
          </p:cNvSpPr>
          <p:nvPr>
            <p:ph type="dt" sz="half" idx="10"/>
          </p:nvPr>
        </p:nvSpPr>
        <p:spPr>
          <a:ln/>
        </p:spPr>
        <p:txBody>
          <a:bodyPr/>
          <a:lstStyle>
            <a:lvl1pPr>
              <a:defRPr/>
            </a:lvl1pPr>
          </a:lstStyle>
          <a:p>
            <a:pPr>
              <a:defRPr/>
            </a:pPr>
            <a:endParaRPr lang="it-IT"/>
          </a:p>
        </p:txBody>
      </p:sp>
      <p:sp>
        <p:nvSpPr>
          <p:cNvPr id="6" name="Rectangle 5"/>
          <p:cNvSpPr>
            <a:spLocks noGrp="1" noChangeArrowheads="1"/>
          </p:cNvSpPr>
          <p:nvPr>
            <p:ph type="ftr" sz="quarter" idx="11"/>
          </p:nvPr>
        </p:nvSpPr>
        <p:spPr>
          <a:ln/>
        </p:spPr>
        <p:txBody>
          <a:bodyPr/>
          <a:lstStyle>
            <a:lvl1pPr>
              <a:defRPr/>
            </a:lvl1pPr>
          </a:lstStyle>
          <a:p>
            <a:pPr>
              <a:defRPr/>
            </a:pPr>
            <a:endParaRPr lang="it-IT"/>
          </a:p>
        </p:txBody>
      </p:sp>
      <p:sp>
        <p:nvSpPr>
          <p:cNvPr id="7" name="Rectangle 6"/>
          <p:cNvSpPr>
            <a:spLocks noGrp="1" noChangeArrowheads="1"/>
          </p:cNvSpPr>
          <p:nvPr>
            <p:ph type="sldNum" sz="quarter" idx="12"/>
          </p:nvPr>
        </p:nvSpPr>
        <p:spPr>
          <a:ln/>
        </p:spPr>
        <p:txBody>
          <a:bodyPr/>
          <a:lstStyle>
            <a:lvl1pPr>
              <a:defRPr/>
            </a:lvl1pPr>
          </a:lstStyle>
          <a:p>
            <a:pPr>
              <a:defRPr/>
            </a:pPr>
            <a:fld id="{FE6342FA-6C00-4AF5-972A-6364801E2382}" type="slidenum">
              <a:rPr lang="it-IT"/>
              <a:pPr>
                <a:defRPr/>
              </a:pPr>
              <a:t>‹N›</a:t>
            </a:fld>
            <a:endParaRPr lang="it-IT"/>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ECA5DCC3-F24C-48F7-84A8-4E7783E4C14F}" type="slidenum">
              <a:rPr lang="it-IT"/>
              <a:pPr>
                <a:defRPr/>
              </a:pPr>
              <a:t>‹N›</a:t>
            </a:fld>
            <a:endParaRPr lang="it-IT"/>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515100" y="609600"/>
            <a:ext cx="1943100" cy="5486400"/>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685800" y="609600"/>
            <a:ext cx="5676900" cy="5486400"/>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pPr>
              <a:defRPr/>
            </a:pPr>
            <a:fld id="{9E2C55D1-B3BD-4EBD-80EA-C3028B33AD53}" type="slidenum">
              <a:rPr lang="it-IT"/>
              <a:pPr>
                <a:defRPr/>
              </a:pPr>
              <a:t>‹N›</a:t>
            </a:fld>
            <a:endParaRPr lang="it-IT"/>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6"/>
          <p:cNvSpPr/>
          <p:nvPr userDrawn="1"/>
        </p:nvSpPr>
        <p:spPr>
          <a:xfrm>
            <a:off x="0" y="0"/>
            <a:ext cx="9144000" cy="6240463"/>
          </a:xfrm>
          <a:prstGeom prst="rect">
            <a:avLst/>
          </a:prstGeom>
          <a:solidFill>
            <a:srgbClr val="00446A"/>
          </a:solidFill>
          <a:ln>
            <a:solidFill>
              <a:srgbClr val="00446A"/>
            </a:solidFill>
          </a:ln>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srgbClr val="FFFFFF"/>
              </a:solidFill>
            </a:endParaRPr>
          </a:p>
        </p:txBody>
      </p:sp>
      <p:sp>
        <p:nvSpPr>
          <p:cNvPr id="5" name="Rectangle 4"/>
          <p:cNvSpPr/>
          <p:nvPr userDrawn="1"/>
        </p:nvSpPr>
        <p:spPr>
          <a:xfrm>
            <a:off x="0" y="6189663"/>
            <a:ext cx="9144000" cy="58737"/>
          </a:xfrm>
          <a:prstGeom prst="rect">
            <a:avLst/>
          </a:prstGeom>
          <a:solidFill>
            <a:srgbClr val="F26649"/>
          </a:solidFill>
          <a:ln w="9525" cap="flat" cmpd="sng" algn="ctr">
            <a:solidFill>
              <a:srgbClr val="E25326">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base">
              <a:spcBef>
                <a:spcPct val="0"/>
              </a:spcBef>
              <a:spcAft>
                <a:spcPct val="0"/>
              </a:spcAft>
              <a:defRPr/>
            </a:pPr>
            <a:endParaRPr lang="en-US">
              <a:solidFill>
                <a:srgbClr val="FFFFFF"/>
              </a:solidFill>
              <a:cs typeface="Arial" charset="0"/>
            </a:endParaRPr>
          </a:p>
        </p:txBody>
      </p:sp>
      <p:sp>
        <p:nvSpPr>
          <p:cNvPr id="173059" name="Text Placeholder 2"/>
          <p:cNvSpPr>
            <a:spLocks noGrp="1"/>
          </p:cNvSpPr>
          <p:nvPr>
            <p:ph type="subTitle" idx="1"/>
          </p:nvPr>
        </p:nvSpPr>
        <p:spPr>
          <a:xfrm>
            <a:off x="1371600" y="3886200"/>
            <a:ext cx="6400800" cy="1752600"/>
          </a:xfrm>
        </p:spPr>
        <p:txBody>
          <a:bodyPr/>
          <a:lstStyle>
            <a:lvl1pPr marL="0" indent="0" algn="ctr">
              <a:buFontTx/>
              <a:buNone/>
              <a:defRPr smtClean="0"/>
            </a:lvl1pPr>
          </a:lstStyle>
          <a:p>
            <a:r>
              <a:rPr lang="en-US" smtClean="0"/>
              <a:t>Click to edit Master subtitle style</a:t>
            </a:r>
          </a:p>
        </p:txBody>
      </p:sp>
      <p:sp>
        <p:nvSpPr>
          <p:cNvPr id="173061" name="Title Placeholder 15"/>
          <p:cNvSpPr>
            <a:spLocks noGrp="1"/>
          </p:cNvSpPr>
          <p:nvPr>
            <p:ph type="ctrTitle"/>
          </p:nvPr>
        </p:nvSpPr>
        <p:spPr>
          <a:xfrm>
            <a:off x="685800" y="2130425"/>
            <a:ext cx="7772400" cy="1470025"/>
          </a:xfrm>
        </p:spPr>
        <p:txBody>
          <a:bodyPr/>
          <a:lstStyle>
            <a:lvl1pPr algn="ctr">
              <a:defRPr sz="3200" smtClean="0"/>
            </a:lvl1pPr>
          </a:lstStyle>
          <a:p>
            <a:r>
              <a:rPr lang="en-US" smtClean="0"/>
              <a:t>Click to edit Master title style</a:t>
            </a:r>
          </a:p>
        </p:txBody>
      </p:sp>
    </p:spTree>
    <p:extLst>
      <p:ext uri="{BB962C8B-B14F-4D97-AF65-F5344CB8AC3E}">
        <p14:creationId xmlns:p14="http://schemas.microsoft.com/office/powerpoint/2010/main" val="10966436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35506" y="6415277"/>
            <a:ext cx="7087343" cy="430887"/>
          </a:xfrm>
        </p:spPr>
        <p:txBody>
          <a:bodyPr anchor="b">
            <a:noAutofit/>
          </a:bodyPr>
          <a:lstStyle>
            <a:lvl1pPr marL="0" indent="0">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14325"/>
            <a:ext cx="5004049" cy="430887"/>
          </a:xfrm>
        </p:spPr>
        <p:txBody>
          <a:bodyPr anchor="b">
            <a:normAutofit/>
          </a:bodyPr>
          <a:lstStyle>
            <a:lvl1pPr algn="r">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p>
            <a:r>
              <a:rPr lang="en-US" dirty="0" smtClean="0"/>
              <a:t>Click to edit Master title style</a:t>
            </a:r>
            <a:endParaRPr lang="en-GB" dirty="0"/>
          </a:p>
        </p:txBody>
      </p:sp>
    </p:spTree>
    <p:extLst>
      <p:ext uri="{BB962C8B-B14F-4D97-AF65-F5344CB8AC3E}">
        <p14:creationId xmlns:p14="http://schemas.microsoft.com/office/powerpoint/2010/main" val="23593831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ormAutofit/>
          </a:bodyPr>
          <a:lstStyle>
            <a:lvl1pPr marL="0" indent="0">
              <a:buNone/>
              <a:defRPr sz="3600" b="1">
                <a:solidFill>
                  <a:srgbClr val="00446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18685722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5"/>
          <p:cNvSpPr>
            <a:spLocks noGrp="1"/>
          </p:cNvSpPr>
          <p:nvPr>
            <p:ph type="title"/>
          </p:nvPr>
        </p:nvSpPr>
        <p:spPr>
          <a:xfrm>
            <a:off x="457200" y="116632"/>
            <a:ext cx="8229600" cy="1224136"/>
          </a:xfrm>
          <a:prstGeom prst="rect">
            <a:avLst/>
          </a:prstGeom>
        </p:spPr>
        <p:txBody>
          <a:bodyPr rtlCol="0">
            <a:normAutofit/>
          </a:bodyPr>
          <a:lstStyle/>
          <a:p>
            <a:r>
              <a:rPr lang="en-US" smtClean="0"/>
              <a:t>Click to edit Master title style</a:t>
            </a:r>
            <a:endParaRPr lang="en-GB"/>
          </a:p>
        </p:txBody>
      </p:sp>
    </p:spTree>
    <p:extLst>
      <p:ext uri="{BB962C8B-B14F-4D97-AF65-F5344CB8AC3E}">
        <p14:creationId xmlns:p14="http://schemas.microsoft.com/office/powerpoint/2010/main" val="6012167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4372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22402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12576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0900873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90500"/>
            <a:ext cx="8226425"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5613" y="1598613"/>
            <a:ext cx="8226425" cy="41132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682038" y="6554788"/>
            <a:ext cx="323850" cy="228600"/>
          </a:xfrm>
          <a:prstGeom prst="rect">
            <a:avLst/>
          </a:prstGeom>
        </p:spPr>
        <p:txBody>
          <a:bodyPr/>
          <a:lstStyle>
            <a:lvl1pPr>
              <a:defRPr/>
            </a:lvl1pPr>
          </a:lstStyle>
          <a:p>
            <a:pPr fontAlgn="base">
              <a:spcBef>
                <a:spcPct val="0"/>
              </a:spcBef>
              <a:spcAft>
                <a:spcPct val="0"/>
              </a:spcAft>
            </a:pPr>
            <a:fld id="{E939BCAA-5DD7-4099-BE37-62AB7242861F}" type="slidenum">
              <a:rPr lang="en-US">
                <a:solidFill>
                  <a:srgbClr val="000000"/>
                </a:solidFill>
                <a:cs typeface="Arial" charset="0"/>
              </a:rPr>
              <a:pPr fontAlgn="base">
                <a:spcBef>
                  <a:spcPct val="0"/>
                </a:spcBef>
                <a:spcAft>
                  <a:spcPct val="0"/>
                </a:spcAft>
              </a:pPr>
              <a:t>‹N›</a:t>
            </a:fld>
            <a:endParaRPr lang="en-US" dirty="0">
              <a:solidFill>
                <a:srgbClr val="000000"/>
              </a:solidFill>
              <a:cs typeface="Arial" charset="0"/>
            </a:endParaRPr>
          </a:p>
        </p:txBody>
      </p:sp>
      <p:sp>
        <p:nvSpPr>
          <p:cNvPr id="7" name="Content Placeholder 6"/>
          <p:cNvSpPr>
            <a:spLocks noGrp="1"/>
          </p:cNvSpPr>
          <p:nvPr>
            <p:ph sz="quarter" idx="11"/>
          </p:nvPr>
        </p:nvSpPr>
        <p:spPr>
          <a:xfrm>
            <a:off x="455612" y="6200780"/>
            <a:ext cx="8226425" cy="482600"/>
          </a:xfrm>
          <a:prstGeom prst="rect">
            <a:avLst/>
          </a:prstGeom>
        </p:spPr>
        <p:txBody>
          <a:bodyPr anchor="b"/>
          <a:lstStyle>
            <a:lvl1pPr>
              <a:buNone/>
              <a:defRPr sz="1000"/>
            </a:lvl1pPr>
            <a:lvl2pPr>
              <a:buNone/>
              <a:defRPr/>
            </a:lvl2pPr>
          </a:lstStyle>
          <a:p>
            <a:pPr lvl="0"/>
            <a:r>
              <a:rPr lang="en-US" smtClean="0"/>
              <a:t>Click to edit Master text styles</a:t>
            </a:r>
          </a:p>
        </p:txBody>
      </p:sp>
    </p:spTree>
    <p:extLst>
      <p:ext uri="{BB962C8B-B14F-4D97-AF65-F5344CB8AC3E}">
        <p14:creationId xmlns:p14="http://schemas.microsoft.com/office/powerpoint/2010/main" val="81627501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90500"/>
            <a:ext cx="8226425"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5613" y="1598613"/>
            <a:ext cx="8226425" cy="41132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8682038" y="6554788"/>
            <a:ext cx="323850" cy="228600"/>
          </a:xfrm>
          <a:prstGeom prst="rect">
            <a:avLst/>
          </a:prstGeom>
        </p:spPr>
        <p:txBody>
          <a:bodyPr/>
          <a:lstStyle>
            <a:lvl1pPr>
              <a:defRPr/>
            </a:lvl1pPr>
          </a:lstStyle>
          <a:p>
            <a:pPr fontAlgn="base">
              <a:spcBef>
                <a:spcPct val="0"/>
              </a:spcBef>
              <a:spcAft>
                <a:spcPct val="0"/>
              </a:spcAft>
            </a:pPr>
            <a:fld id="{E939BCAA-5DD7-4099-BE37-62AB7242861F}" type="slidenum">
              <a:rPr lang="en-US">
                <a:solidFill>
                  <a:srgbClr val="000000"/>
                </a:solidFill>
                <a:cs typeface="Arial" charset="0"/>
              </a:rPr>
              <a:pPr fontAlgn="base">
                <a:spcBef>
                  <a:spcPct val="0"/>
                </a:spcBef>
                <a:spcAft>
                  <a:spcPct val="0"/>
                </a:spcAft>
              </a:pPr>
              <a:t>‹N›</a:t>
            </a:fld>
            <a:endParaRPr lang="en-US" dirty="0">
              <a:solidFill>
                <a:srgbClr val="000000"/>
              </a:solidFill>
              <a:cs typeface="Arial" charset="0"/>
            </a:endParaRPr>
          </a:p>
        </p:txBody>
      </p:sp>
      <p:sp>
        <p:nvSpPr>
          <p:cNvPr id="7" name="Content Placeholder 6"/>
          <p:cNvSpPr>
            <a:spLocks noGrp="1"/>
          </p:cNvSpPr>
          <p:nvPr>
            <p:ph sz="quarter" idx="11"/>
          </p:nvPr>
        </p:nvSpPr>
        <p:spPr>
          <a:xfrm>
            <a:off x="455612" y="6200780"/>
            <a:ext cx="8226425" cy="482600"/>
          </a:xfrm>
          <a:prstGeom prst="rect">
            <a:avLst/>
          </a:prstGeom>
        </p:spPr>
        <p:txBody>
          <a:bodyPr anchor="b"/>
          <a:lstStyle>
            <a:lvl1pPr>
              <a:buNone/>
              <a:defRPr sz="1000"/>
            </a:lvl1pPr>
            <a:lvl2pPr>
              <a:buNone/>
              <a:defRPr/>
            </a:lvl2pPr>
          </a:lstStyle>
          <a:p>
            <a:pPr lvl="0"/>
            <a:r>
              <a:rPr lang="en-US" smtClean="0"/>
              <a:t>Click to edit Master text styles</a:t>
            </a:r>
          </a:p>
        </p:txBody>
      </p:sp>
    </p:spTree>
    <p:extLst>
      <p:ext uri="{BB962C8B-B14F-4D97-AF65-F5344CB8AC3E}">
        <p14:creationId xmlns:p14="http://schemas.microsoft.com/office/powerpoint/2010/main" val="16790916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35506" y="6415277"/>
            <a:ext cx="7087343" cy="430887"/>
          </a:xfrm>
        </p:spPr>
        <p:txBody>
          <a:bodyPr anchor="b">
            <a:noAutofit/>
          </a:bodyPr>
          <a:lstStyle>
            <a:lvl1pPr marL="0" indent="0">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14325"/>
            <a:ext cx="5004049" cy="430887"/>
          </a:xfrm>
        </p:spPr>
        <p:txBody>
          <a:bodyPr anchor="b">
            <a:normAutofit/>
          </a:bodyPr>
          <a:lstStyle>
            <a:lvl1pPr algn="r">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lvl1pPr>
              <a:defRPr sz="2800"/>
            </a:lvl1pPr>
          </a:lstStyle>
          <a:p>
            <a:r>
              <a:rPr lang="en-US" dirty="0" smtClean="0"/>
              <a:t>Click to edit Master title style</a:t>
            </a:r>
            <a:endParaRPr lang="en-GB" dirty="0"/>
          </a:p>
        </p:txBody>
      </p:sp>
    </p:spTree>
    <p:extLst>
      <p:ext uri="{BB962C8B-B14F-4D97-AF65-F5344CB8AC3E}">
        <p14:creationId xmlns:p14="http://schemas.microsoft.com/office/powerpoint/2010/main" val="397163547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a:xfrm>
            <a:off x="458788" y="135734"/>
            <a:ext cx="8228011" cy="1143000"/>
          </a:xfrm>
          <a:prstGeom prst="rect">
            <a:avLst/>
          </a:prstGeom>
        </p:spPr>
        <p:txBody>
          <a:bodyPr vert="horz" lIns="0" anchor="ctr" anchorCtr="0"/>
          <a:lstStyle>
            <a:lvl1pPr>
              <a:defRPr>
                <a:solidFill>
                  <a:schemeClr val="bg1"/>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449263" y="1602000"/>
            <a:ext cx="8250237" cy="4311650"/>
          </a:xfrm>
          <a:prstGeom prst="rect">
            <a:avLst/>
          </a:prstGeom>
        </p:spPr>
        <p:txBody>
          <a:bodyPr vert="horz" lIns="0"/>
          <a:lstStyle>
            <a:lvl1pPr marL="254000" indent="-254000">
              <a:spcBef>
                <a:spcPts val="0"/>
              </a:spcBef>
              <a:spcAft>
                <a:spcPts val="800"/>
              </a:spcAft>
              <a:buClrTx/>
              <a:buSzPct val="120000"/>
              <a:buFontTx/>
              <a:buBlip>
                <a:blip r:embed="rId2" r:link="rId3"/>
              </a:buBlip>
              <a:defRPr/>
            </a:lvl1pPr>
            <a:lvl2pPr marL="515938" indent="-244475">
              <a:spcBef>
                <a:spcPts val="0"/>
              </a:spcBef>
              <a:spcAft>
                <a:spcPts val="800"/>
              </a:spcAft>
              <a:buClrTx/>
              <a:buSzPct val="120000"/>
              <a:buFontTx/>
              <a:buBlip>
                <a:blip r:embed="rId4" r:link="rId3"/>
              </a:buBlip>
              <a:defRPr/>
            </a:lvl2pPr>
            <a:lvl3pPr marL="762000" indent="-236538">
              <a:spcBef>
                <a:spcPts val="0"/>
              </a:spcBef>
              <a:spcAft>
                <a:spcPts val="800"/>
              </a:spcAft>
              <a:buClrTx/>
              <a:buSzPct val="120000"/>
              <a:buFontTx/>
              <a:buBlip>
                <a:blip r:embed="rId5" r:link="rId3"/>
              </a:buBlip>
              <a:defRPr/>
            </a:lvl3pPr>
            <a:lvl4pPr marL="1033463" indent="-263525">
              <a:spcBef>
                <a:spcPts val="0"/>
              </a:spcBef>
              <a:spcAft>
                <a:spcPts val="800"/>
              </a:spcAft>
              <a:buClrTx/>
              <a:buSzPct val="120000"/>
              <a:buFontTx/>
              <a:buBlip>
                <a:blip r:embed="rId5" r:link="rId3"/>
              </a:buBlip>
              <a:defRPr/>
            </a:lvl4pPr>
            <a:lvl5pPr marL="1270000" indent="-220663">
              <a:spcBef>
                <a:spcPts val="0"/>
              </a:spcBef>
              <a:spcAft>
                <a:spcPts val="800"/>
              </a:spcAft>
              <a:buClrTx/>
              <a:buSzPct val="120000"/>
              <a:buFontTx/>
              <a:buBlip>
                <a:blip r:embed="rId4" r:link="rId3"/>
              </a:buBlip>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457200" y="6097915"/>
            <a:ext cx="6635080" cy="630942"/>
          </a:xfrm>
          <a:prstGeom prst="rect">
            <a:avLst/>
          </a:prstGeom>
        </p:spPr>
        <p:txBody>
          <a:bodyPr vert="horz" lIns="0" anchor="b">
            <a:normAutofit/>
          </a:bodyPr>
          <a:lstStyle>
            <a:lvl1pPr marL="0" indent="0" algn="l">
              <a:buFontTx/>
              <a:buNone/>
              <a:defRPr sz="1000">
                <a:solidFill>
                  <a:schemeClr val="tx1"/>
                </a:solidFill>
              </a:defRPr>
            </a:lvl1pPr>
            <a:lvl2pPr algn="l">
              <a:buFontTx/>
              <a:buNone/>
              <a:defRPr sz="1000">
                <a:solidFill>
                  <a:schemeClr val="tx1"/>
                </a:solidFill>
              </a:defRPr>
            </a:lvl2pPr>
            <a:lvl3pPr algn="l">
              <a:buFontTx/>
              <a:buNone/>
              <a:defRPr sz="1000">
                <a:solidFill>
                  <a:schemeClr val="tx1"/>
                </a:solidFill>
              </a:defRPr>
            </a:lvl3pPr>
            <a:lvl4pPr algn="l">
              <a:buFontTx/>
              <a:buNone/>
              <a:defRPr sz="1000">
                <a:solidFill>
                  <a:schemeClr val="tx1"/>
                </a:solidFill>
              </a:defRPr>
            </a:lvl4pPr>
            <a:lvl5pPr algn="l">
              <a:buFontTx/>
              <a:buNone/>
              <a:defRPr sz="10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5274159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1" y="6427113"/>
            <a:ext cx="5004049" cy="430887"/>
          </a:xfrm>
        </p:spPr>
        <p:txBody>
          <a:bodyPr anchor="b">
            <a:normAutofit/>
          </a:bodyPr>
          <a:lstStyle>
            <a:lvl1pPr marL="0" indent="0">
              <a:spcBef>
                <a:spcPts val="0"/>
              </a:spcBef>
              <a:buNone/>
              <a:defRPr sz="1000" b="0">
                <a:solidFill>
                  <a:schemeClr val="accent1"/>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27113"/>
            <a:ext cx="5004049" cy="430887"/>
          </a:xfrm>
        </p:spPr>
        <p:txBody>
          <a:bodyPr anchor="b">
            <a:normAutofit/>
          </a:bodyPr>
          <a:lstStyle>
            <a:lvl1pPr algn="r">
              <a:buNone/>
              <a:defRPr sz="1000" b="0">
                <a:solidFill>
                  <a:schemeClr val="accent1"/>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p>
            <a:r>
              <a:rPr lang="en-US" dirty="0" smtClean="0"/>
              <a:t>Click to edit Master title style</a:t>
            </a:r>
            <a:endParaRPr lang="en-GB" dirty="0"/>
          </a:p>
        </p:txBody>
      </p:sp>
    </p:spTree>
    <p:extLst>
      <p:ext uri="{BB962C8B-B14F-4D97-AF65-F5344CB8AC3E}">
        <p14:creationId xmlns:p14="http://schemas.microsoft.com/office/powerpoint/2010/main" val="22542455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960" y="2130502"/>
            <a:ext cx="7772159"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881" y="3886200"/>
            <a:ext cx="6400317"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Footer Placeholder 4"/>
          <p:cNvSpPr>
            <a:spLocks noGrp="1"/>
          </p:cNvSpPr>
          <p:nvPr>
            <p:ph type="ftr" sz="quarter" idx="10"/>
          </p:nvPr>
        </p:nvSpPr>
        <p:spPr/>
        <p:txBody>
          <a:bodyPr/>
          <a:lstStyle>
            <a:lvl1pPr>
              <a:defRPr/>
            </a:lvl1pPr>
          </a:lstStyle>
          <a:p>
            <a:pPr>
              <a:defRPr/>
            </a:pPr>
            <a:endParaRPr lang="en-GB"/>
          </a:p>
        </p:txBody>
      </p:sp>
      <p:sp>
        <p:nvSpPr>
          <p:cNvPr id="5" name="Slide Number Placeholder 5"/>
          <p:cNvSpPr>
            <a:spLocks noGrp="1"/>
          </p:cNvSpPr>
          <p:nvPr>
            <p:ph type="sldNum" sz="quarter" idx="11"/>
          </p:nvPr>
        </p:nvSpPr>
        <p:spPr/>
        <p:txBody>
          <a:bodyPr/>
          <a:lstStyle>
            <a:lvl1pPr>
              <a:defRPr/>
            </a:lvl1pPr>
          </a:lstStyle>
          <a:p>
            <a:pPr>
              <a:defRPr/>
            </a:pPr>
            <a:fld id="{A05E5ABB-90FF-46C8-A5DD-4ED0108D7581}" type="slidenum">
              <a:rPr lang="en-GB"/>
              <a:pPr>
                <a:defRPr/>
              </a:pPr>
              <a:t>‹N›</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Footer Placeholder 4"/>
          <p:cNvSpPr>
            <a:spLocks noGrp="1"/>
          </p:cNvSpPr>
          <p:nvPr>
            <p:ph type="ftr" sz="quarter" idx="10"/>
          </p:nvPr>
        </p:nvSpPr>
        <p:spPr/>
        <p:txBody>
          <a:bodyPr/>
          <a:lstStyle>
            <a:lvl1pPr>
              <a:defRPr/>
            </a:lvl1pPr>
          </a:lstStyle>
          <a:p>
            <a:pPr>
              <a:defRPr/>
            </a:pPr>
            <a:endParaRPr lang="en-GB"/>
          </a:p>
        </p:txBody>
      </p:sp>
      <p:sp>
        <p:nvSpPr>
          <p:cNvPr id="5" name="Slide Number Placeholder 5"/>
          <p:cNvSpPr>
            <a:spLocks noGrp="1"/>
          </p:cNvSpPr>
          <p:nvPr>
            <p:ph type="sldNum" sz="quarter" idx="11"/>
          </p:nvPr>
        </p:nvSpPr>
        <p:spPr/>
        <p:txBody>
          <a:bodyPr/>
          <a:lstStyle>
            <a:lvl1pPr>
              <a:defRPr/>
            </a:lvl1pPr>
          </a:lstStyle>
          <a:p>
            <a:pPr>
              <a:defRPr/>
            </a:pPr>
            <a:fld id="{685E913C-5B3E-4C9D-B1FC-D40B566FE661}" type="slidenum">
              <a:rPr lang="en-GB"/>
              <a:pPr>
                <a:defRPr/>
              </a:pPr>
              <a:t>‹N›</a:t>
            </a:fld>
            <a:endParaRPr lang="en-GB"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954" y="4406977"/>
            <a:ext cx="7772158"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954" y="2906713"/>
            <a:ext cx="777215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Footer Placeholder 4"/>
          <p:cNvSpPr>
            <a:spLocks noGrp="1"/>
          </p:cNvSpPr>
          <p:nvPr>
            <p:ph type="ftr" sz="quarter" idx="10"/>
          </p:nvPr>
        </p:nvSpPr>
        <p:spPr/>
        <p:txBody>
          <a:bodyPr/>
          <a:lstStyle>
            <a:lvl1pPr>
              <a:defRPr/>
            </a:lvl1pPr>
          </a:lstStyle>
          <a:p>
            <a:pPr>
              <a:defRPr/>
            </a:pPr>
            <a:endParaRPr lang="en-GB"/>
          </a:p>
        </p:txBody>
      </p:sp>
      <p:sp>
        <p:nvSpPr>
          <p:cNvPr id="5" name="Slide Number Placeholder 5"/>
          <p:cNvSpPr>
            <a:spLocks noGrp="1"/>
          </p:cNvSpPr>
          <p:nvPr>
            <p:ph type="sldNum" sz="quarter" idx="11"/>
          </p:nvPr>
        </p:nvSpPr>
        <p:spPr/>
        <p:txBody>
          <a:bodyPr/>
          <a:lstStyle>
            <a:lvl1pPr>
              <a:defRPr/>
            </a:lvl1pPr>
          </a:lstStyle>
          <a:p>
            <a:pPr>
              <a:defRPr/>
            </a:pPr>
            <a:fld id="{9C0961EE-A79B-4DCE-88F9-26DFDA566E86}" type="slidenum">
              <a:rPr lang="en-GB"/>
              <a:pPr>
                <a:defRPr/>
              </a:pPr>
              <a:t>‹N›</a:t>
            </a:fld>
            <a:endParaRPr lang="en-GB"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87" y="1600206"/>
            <a:ext cx="403662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482" y="1600206"/>
            <a:ext cx="403823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Footer Placeholder 4"/>
          <p:cNvSpPr>
            <a:spLocks noGrp="1"/>
          </p:cNvSpPr>
          <p:nvPr>
            <p:ph type="ftr" sz="quarter" idx="10"/>
          </p:nvPr>
        </p:nvSpPr>
        <p:spPr/>
        <p:txBody>
          <a:bodyPr/>
          <a:lstStyle>
            <a:lvl1pPr>
              <a:defRPr/>
            </a:lvl1pPr>
          </a:lstStyle>
          <a:p>
            <a:pPr>
              <a:defRPr/>
            </a:pPr>
            <a:endParaRPr lang="en-GB"/>
          </a:p>
        </p:txBody>
      </p:sp>
      <p:sp>
        <p:nvSpPr>
          <p:cNvPr id="6" name="Slide Number Placeholder 5"/>
          <p:cNvSpPr>
            <a:spLocks noGrp="1"/>
          </p:cNvSpPr>
          <p:nvPr>
            <p:ph type="sldNum" sz="quarter" idx="11"/>
          </p:nvPr>
        </p:nvSpPr>
        <p:spPr/>
        <p:txBody>
          <a:bodyPr/>
          <a:lstStyle>
            <a:lvl1pPr>
              <a:defRPr/>
            </a:lvl1pPr>
          </a:lstStyle>
          <a:p>
            <a:pPr>
              <a:defRPr/>
            </a:pPr>
            <a:fld id="{73605B0B-E2B7-4031-83AD-BBB6E3175D69}" type="slidenum">
              <a:rPr lang="en-GB"/>
              <a:pPr>
                <a:defRPr/>
              </a:pPr>
              <a:t>‹N›</a:t>
            </a:fld>
            <a:endParaRPr lang="en-GB" dirty="0"/>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320" y="274638"/>
            <a:ext cx="8229439"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81" y="1535113"/>
            <a:ext cx="403984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81" y="2174875"/>
            <a:ext cx="403984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262" y="1535113"/>
            <a:ext cx="404145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262" y="2174875"/>
            <a:ext cx="404145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Footer Placeholder 4"/>
          <p:cNvSpPr>
            <a:spLocks noGrp="1"/>
          </p:cNvSpPr>
          <p:nvPr>
            <p:ph type="ftr" sz="quarter" idx="10"/>
          </p:nvPr>
        </p:nvSpPr>
        <p:spPr/>
        <p:txBody>
          <a:bodyPr/>
          <a:lstStyle>
            <a:lvl1pPr>
              <a:defRPr/>
            </a:lvl1pPr>
          </a:lstStyle>
          <a:p>
            <a:pPr>
              <a:defRPr/>
            </a:pPr>
            <a:endParaRPr lang="en-GB"/>
          </a:p>
        </p:txBody>
      </p:sp>
      <p:sp>
        <p:nvSpPr>
          <p:cNvPr id="8" name="Slide Number Placeholder 5"/>
          <p:cNvSpPr>
            <a:spLocks noGrp="1"/>
          </p:cNvSpPr>
          <p:nvPr>
            <p:ph type="sldNum" sz="quarter" idx="11"/>
          </p:nvPr>
        </p:nvSpPr>
        <p:spPr/>
        <p:txBody>
          <a:bodyPr/>
          <a:lstStyle>
            <a:lvl1pPr>
              <a:defRPr/>
            </a:lvl1pPr>
          </a:lstStyle>
          <a:p>
            <a:pPr>
              <a:defRPr/>
            </a:pPr>
            <a:fld id="{A6E34F69-7482-4762-9721-C9CC2EC60AC4}" type="slidenum">
              <a:rPr lang="en-GB"/>
              <a:pPr>
                <a:defRPr/>
              </a:pPr>
              <a:t>‹N›</a:t>
            </a:fld>
            <a:endParaRPr lang="en-GB" dirty="0"/>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Footer Placeholder 4"/>
          <p:cNvSpPr>
            <a:spLocks noGrp="1"/>
          </p:cNvSpPr>
          <p:nvPr>
            <p:ph type="ftr" sz="quarter" idx="10"/>
          </p:nvPr>
        </p:nvSpPr>
        <p:spPr/>
        <p:txBody>
          <a:bodyPr/>
          <a:lstStyle>
            <a:lvl1pPr>
              <a:defRPr/>
            </a:lvl1pPr>
          </a:lstStyle>
          <a:p>
            <a:pPr>
              <a:defRPr/>
            </a:pPr>
            <a:endParaRPr lang="en-GB"/>
          </a:p>
        </p:txBody>
      </p:sp>
      <p:sp>
        <p:nvSpPr>
          <p:cNvPr id="4" name="Slide Number Placeholder 5"/>
          <p:cNvSpPr>
            <a:spLocks noGrp="1"/>
          </p:cNvSpPr>
          <p:nvPr>
            <p:ph type="sldNum" sz="quarter" idx="11"/>
          </p:nvPr>
        </p:nvSpPr>
        <p:spPr/>
        <p:txBody>
          <a:bodyPr/>
          <a:lstStyle>
            <a:lvl1pPr>
              <a:defRPr/>
            </a:lvl1pPr>
          </a:lstStyle>
          <a:p>
            <a:pPr>
              <a:defRPr/>
            </a:pPr>
            <a:fld id="{090AC724-9EF7-40B2-B8FE-3604CB5235B7}" type="slidenum">
              <a:rPr lang="en-GB"/>
              <a:pPr>
                <a:defRPr/>
              </a:pPr>
              <a:t>‹N›</a:t>
            </a:fld>
            <a:endParaRPr lang="en-GB" dirty="0"/>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endParaRPr lang="en-GB"/>
          </a:p>
        </p:txBody>
      </p:sp>
      <p:sp>
        <p:nvSpPr>
          <p:cNvPr id="3" name="Slide Number Placeholder 5"/>
          <p:cNvSpPr>
            <a:spLocks noGrp="1"/>
          </p:cNvSpPr>
          <p:nvPr>
            <p:ph type="sldNum" sz="quarter" idx="11"/>
          </p:nvPr>
        </p:nvSpPr>
        <p:spPr/>
        <p:txBody>
          <a:bodyPr/>
          <a:lstStyle>
            <a:lvl1pPr>
              <a:defRPr/>
            </a:lvl1pPr>
          </a:lstStyle>
          <a:p>
            <a:pPr>
              <a:defRPr/>
            </a:pPr>
            <a:fld id="{93678446-A22A-4A71-BB1B-0FCDA1735705}" type="slidenum">
              <a:rPr lang="en-GB"/>
              <a:pPr>
                <a:defRPr/>
              </a:pPr>
              <a:t>‹N›</a:t>
            </a:fld>
            <a:endParaRPr lang="en-GB" dirty="0"/>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81" y="273050"/>
            <a:ext cx="3007746"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4556" y="273127"/>
            <a:ext cx="511220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81" y="1435103"/>
            <a:ext cx="300774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Footer Placeholder 4"/>
          <p:cNvSpPr>
            <a:spLocks noGrp="1"/>
          </p:cNvSpPr>
          <p:nvPr>
            <p:ph type="ftr" sz="quarter" idx="10"/>
          </p:nvPr>
        </p:nvSpPr>
        <p:spPr/>
        <p:txBody>
          <a:bodyPr/>
          <a:lstStyle>
            <a:lvl1pPr>
              <a:defRPr/>
            </a:lvl1pPr>
          </a:lstStyle>
          <a:p>
            <a:pPr>
              <a:defRPr/>
            </a:pPr>
            <a:endParaRPr lang="en-GB"/>
          </a:p>
        </p:txBody>
      </p:sp>
      <p:sp>
        <p:nvSpPr>
          <p:cNvPr id="6" name="Slide Number Placeholder 5"/>
          <p:cNvSpPr>
            <a:spLocks noGrp="1"/>
          </p:cNvSpPr>
          <p:nvPr>
            <p:ph type="sldNum" sz="quarter" idx="11"/>
          </p:nvPr>
        </p:nvSpPr>
        <p:spPr/>
        <p:txBody>
          <a:bodyPr/>
          <a:lstStyle>
            <a:lvl1pPr>
              <a:defRPr/>
            </a:lvl1pPr>
          </a:lstStyle>
          <a:p>
            <a:pPr>
              <a:defRPr/>
            </a:pPr>
            <a:fld id="{9FA57A3F-2133-4135-AC2B-4DD511CB81A2}" type="slidenum">
              <a:rPr lang="en-GB"/>
              <a:pPr>
                <a:defRPr/>
              </a:pPr>
              <a:t>‹N›</a:t>
            </a:fld>
            <a:endParaRPr lang="en-GB" dirty="0"/>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089" y="4800600"/>
            <a:ext cx="5487366"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089" y="612775"/>
            <a:ext cx="5487366"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089" y="5367338"/>
            <a:ext cx="5487366"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Footer Placeholder 4"/>
          <p:cNvSpPr>
            <a:spLocks noGrp="1"/>
          </p:cNvSpPr>
          <p:nvPr>
            <p:ph type="ftr" sz="quarter" idx="10"/>
          </p:nvPr>
        </p:nvSpPr>
        <p:spPr/>
        <p:txBody>
          <a:bodyPr/>
          <a:lstStyle>
            <a:lvl1pPr>
              <a:defRPr/>
            </a:lvl1pPr>
          </a:lstStyle>
          <a:p>
            <a:pPr>
              <a:defRPr/>
            </a:pPr>
            <a:endParaRPr lang="en-GB"/>
          </a:p>
        </p:txBody>
      </p:sp>
      <p:sp>
        <p:nvSpPr>
          <p:cNvPr id="6" name="Slide Number Placeholder 5"/>
          <p:cNvSpPr>
            <a:spLocks noGrp="1"/>
          </p:cNvSpPr>
          <p:nvPr>
            <p:ph type="sldNum" sz="quarter" idx="11"/>
          </p:nvPr>
        </p:nvSpPr>
        <p:spPr/>
        <p:txBody>
          <a:bodyPr/>
          <a:lstStyle>
            <a:lvl1pPr>
              <a:defRPr/>
            </a:lvl1pPr>
          </a:lstStyle>
          <a:p>
            <a:pPr>
              <a:defRPr/>
            </a:pPr>
            <a:fld id="{753D580A-5DFE-4A8D-BE17-D52CFBEB2272}" type="slidenum">
              <a:rPr lang="en-GB"/>
              <a:pPr>
                <a:defRPr/>
              </a:pPr>
              <a:t>‹N›</a:t>
            </a:fld>
            <a:endParaRPr lang="en-GB"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Footer Placeholder 4"/>
          <p:cNvSpPr>
            <a:spLocks noGrp="1"/>
          </p:cNvSpPr>
          <p:nvPr>
            <p:ph type="ftr" sz="quarter" idx="10"/>
          </p:nvPr>
        </p:nvSpPr>
        <p:spPr/>
        <p:txBody>
          <a:bodyPr/>
          <a:lstStyle>
            <a:lvl1pPr>
              <a:defRPr/>
            </a:lvl1pPr>
          </a:lstStyle>
          <a:p>
            <a:pPr>
              <a:defRPr/>
            </a:pPr>
            <a:endParaRPr lang="en-GB"/>
          </a:p>
        </p:txBody>
      </p:sp>
      <p:sp>
        <p:nvSpPr>
          <p:cNvPr id="5" name="Slide Number Placeholder 5"/>
          <p:cNvSpPr>
            <a:spLocks noGrp="1"/>
          </p:cNvSpPr>
          <p:nvPr>
            <p:ph type="sldNum" sz="quarter" idx="11"/>
          </p:nvPr>
        </p:nvSpPr>
        <p:spPr/>
        <p:txBody>
          <a:bodyPr/>
          <a:lstStyle>
            <a:lvl1pPr>
              <a:defRPr/>
            </a:lvl1pPr>
          </a:lstStyle>
          <a:p>
            <a:pPr>
              <a:defRPr/>
            </a:pPr>
            <a:fld id="{61D1A56D-C863-476B-B21F-466C7836B520}" type="slidenum">
              <a:rPr lang="en-GB"/>
              <a:pPr>
                <a:defRPr/>
              </a:pPr>
              <a:t>‹N›</a:t>
            </a:fld>
            <a:endParaRPr lang="en-GB" dirty="0"/>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30584" y="14365"/>
            <a:ext cx="2056153" cy="611187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319" y="14365"/>
            <a:ext cx="6018713" cy="611187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Footer Placeholder 4"/>
          <p:cNvSpPr>
            <a:spLocks noGrp="1"/>
          </p:cNvSpPr>
          <p:nvPr>
            <p:ph type="ftr" sz="quarter" idx="10"/>
          </p:nvPr>
        </p:nvSpPr>
        <p:spPr/>
        <p:txBody>
          <a:bodyPr/>
          <a:lstStyle>
            <a:lvl1pPr>
              <a:defRPr/>
            </a:lvl1pPr>
          </a:lstStyle>
          <a:p>
            <a:pPr>
              <a:defRPr/>
            </a:pPr>
            <a:endParaRPr lang="en-GB"/>
          </a:p>
        </p:txBody>
      </p:sp>
      <p:sp>
        <p:nvSpPr>
          <p:cNvPr id="5" name="Slide Number Placeholder 5"/>
          <p:cNvSpPr>
            <a:spLocks noGrp="1"/>
          </p:cNvSpPr>
          <p:nvPr>
            <p:ph type="sldNum" sz="quarter" idx="11"/>
          </p:nvPr>
        </p:nvSpPr>
        <p:spPr/>
        <p:txBody>
          <a:bodyPr/>
          <a:lstStyle>
            <a:lvl1pPr>
              <a:defRPr/>
            </a:lvl1pPr>
          </a:lstStyle>
          <a:p>
            <a:pPr>
              <a:defRPr/>
            </a:pPr>
            <a:fld id="{93C8F634-7FB2-409A-8F0B-043E3B061E1F}" type="slidenum">
              <a:rPr lang="en-GB"/>
              <a:pPr>
                <a:defRPr/>
              </a:pPr>
              <a:t>‹N›</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6"/>
          <p:cNvSpPr/>
          <p:nvPr userDrawn="1"/>
        </p:nvSpPr>
        <p:spPr>
          <a:xfrm>
            <a:off x="0" y="0"/>
            <a:ext cx="9144000" cy="6240463"/>
          </a:xfrm>
          <a:prstGeom prst="rect">
            <a:avLst/>
          </a:prstGeom>
          <a:solidFill>
            <a:srgbClr val="00446A"/>
          </a:solidFill>
          <a:ln>
            <a:solidFill>
              <a:srgbClr val="00446A"/>
            </a:solidFill>
          </a:ln>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srgbClr val="FFFFFF"/>
              </a:solidFill>
            </a:endParaRPr>
          </a:p>
        </p:txBody>
      </p:sp>
      <p:sp>
        <p:nvSpPr>
          <p:cNvPr id="5" name="Rectangle 4"/>
          <p:cNvSpPr/>
          <p:nvPr userDrawn="1"/>
        </p:nvSpPr>
        <p:spPr>
          <a:xfrm>
            <a:off x="0" y="6189663"/>
            <a:ext cx="9144000" cy="58737"/>
          </a:xfrm>
          <a:prstGeom prst="rect">
            <a:avLst/>
          </a:prstGeom>
          <a:solidFill>
            <a:srgbClr val="F26649"/>
          </a:solidFill>
          <a:ln w="9525" cap="flat" cmpd="sng" algn="ctr">
            <a:solidFill>
              <a:srgbClr val="E25326">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base">
              <a:spcBef>
                <a:spcPct val="0"/>
              </a:spcBef>
              <a:spcAft>
                <a:spcPct val="0"/>
              </a:spcAft>
              <a:defRPr/>
            </a:pPr>
            <a:endParaRPr lang="en-US">
              <a:solidFill>
                <a:srgbClr val="FFFFFF"/>
              </a:solidFill>
              <a:ea typeface="ＭＳ Ｐゴシック" pitchFamily="34" charset="-128"/>
            </a:endParaRPr>
          </a:p>
        </p:txBody>
      </p:sp>
      <p:sp>
        <p:nvSpPr>
          <p:cNvPr id="173059" name="Text Placeholder 2"/>
          <p:cNvSpPr>
            <a:spLocks noGrp="1"/>
          </p:cNvSpPr>
          <p:nvPr>
            <p:ph type="subTitle" idx="1"/>
          </p:nvPr>
        </p:nvSpPr>
        <p:spPr>
          <a:xfrm>
            <a:off x="1371600" y="3886200"/>
            <a:ext cx="6400800" cy="1752600"/>
          </a:xfrm>
        </p:spPr>
        <p:txBody>
          <a:bodyPr/>
          <a:lstStyle>
            <a:lvl1pPr marL="0" indent="0" algn="ctr">
              <a:buFontTx/>
              <a:buNone/>
              <a:defRPr smtClean="0"/>
            </a:lvl1pPr>
          </a:lstStyle>
          <a:p>
            <a:r>
              <a:rPr lang="en-US" smtClean="0"/>
              <a:t>Click to edit Master subtitle style</a:t>
            </a:r>
          </a:p>
        </p:txBody>
      </p:sp>
      <p:sp>
        <p:nvSpPr>
          <p:cNvPr id="173061" name="Title Placeholder 15"/>
          <p:cNvSpPr>
            <a:spLocks noGrp="1"/>
          </p:cNvSpPr>
          <p:nvPr>
            <p:ph type="ctrTitle"/>
          </p:nvPr>
        </p:nvSpPr>
        <p:spPr>
          <a:xfrm>
            <a:off x="685800" y="2130425"/>
            <a:ext cx="7772400" cy="1470025"/>
          </a:xfrm>
        </p:spPr>
        <p:txBody>
          <a:bodyPr/>
          <a:lstStyle>
            <a:lvl1pPr algn="ctr">
              <a:defRPr sz="3200" smtClean="0"/>
            </a:lvl1pPr>
          </a:lstStyle>
          <a:p>
            <a:r>
              <a:rPr lang="en-US" smtClean="0"/>
              <a:t>Click to edit Master title style</a:t>
            </a:r>
          </a:p>
        </p:txBody>
      </p:sp>
    </p:spTree>
  </p:cSld>
  <p:clrMapOvr>
    <a:masterClrMapping/>
  </p:clrMapOvr>
  <p:transition advClick="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35506" y="6415277"/>
            <a:ext cx="7087343" cy="430887"/>
          </a:xfrm>
        </p:spPr>
        <p:txBody>
          <a:bodyPr anchor="b">
            <a:noAutofit/>
          </a:bodyPr>
          <a:lstStyle>
            <a:lvl1pPr marL="0" indent="0">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14325"/>
            <a:ext cx="5004049" cy="430887"/>
          </a:xfrm>
        </p:spPr>
        <p:txBody>
          <a:bodyPr anchor="b">
            <a:normAutofit/>
          </a:bodyPr>
          <a:lstStyle>
            <a:lvl1pPr algn="r">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p>
            <a:r>
              <a:rPr lang="en-US" dirty="0" smtClean="0"/>
              <a:t>Click to edit Master title style</a:t>
            </a:r>
            <a:endParaRPr lang="en-GB" dirty="0"/>
          </a:p>
        </p:txBody>
      </p:sp>
    </p:spTree>
  </p:cSld>
  <p:clrMapOvr>
    <a:masterClrMapping/>
  </p:clrMapOvr>
  <p:transition advClick="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ormAutofit/>
          </a:bodyPr>
          <a:lstStyle>
            <a:lvl1pPr marL="0" indent="0">
              <a:buNone/>
              <a:defRPr sz="3600" b="1">
                <a:solidFill>
                  <a:srgbClr val="00446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Tree>
  </p:cSld>
  <p:clrMapOvr>
    <a:masterClrMapping/>
  </p:clrMapOvr>
  <p:transition advClick="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5"/>
          <p:cNvSpPr>
            <a:spLocks noGrp="1"/>
          </p:cNvSpPr>
          <p:nvPr>
            <p:ph type="title"/>
          </p:nvPr>
        </p:nvSpPr>
        <p:spPr>
          <a:xfrm>
            <a:off x="457200" y="116632"/>
            <a:ext cx="8229600" cy="1224136"/>
          </a:xfrm>
          <a:prstGeom prst="rect">
            <a:avLst/>
          </a:prstGeom>
        </p:spPr>
        <p:txBody>
          <a:bodyPr rtlCol="0">
            <a:normAutofit/>
          </a:bodyPr>
          <a:lstStyle/>
          <a:p>
            <a:r>
              <a:rPr lang="en-US" smtClean="0"/>
              <a:t>Click to edit Master title style</a:t>
            </a:r>
            <a:endParaRPr lang="en-GB"/>
          </a:p>
        </p:txBody>
      </p:sp>
    </p:spTree>
  </p:cSld>
  <p:clrMapOvr>
    <a:masterClrMapping/>
  </p:clrMapOvr>
  <p:transition advClick="0"/>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advClick="0"/>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advClick="0"/>
</p:sldLayout>
</file>

<file path=ppt/slideLayouts/slideLayout86.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Click="0"/>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ransition advClick="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90500"/>
            <a:ext cx="8226425"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5613" y="1598613"/>
            <a:ext cx="8226425" cy="41132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6"/>
          <p:cNvSpPr>
            <a:spLocks noGrp="1"/>
          </p:cNvSpPr>
          <p:nvPr>
            <p:ph sz="quarter" idx="11"/>
          </p:nvPr>
        </p:nvSpPr>
        <p:spPr>
          <a:xfrm>
            <a:off x="455612" y="6200780"/>
            <a:ext cx="8226425" cy="482600"/>
          </a:xfrm>
          <a:prstGeom prst="rect">
            <a:avLst/>
          </a:prstGeom>
        </p:spPr>
        <p:txBody>
          <a:bodyPr anchor="b"/>
          <a:lstStyle>
            <a:lvl1pPr>
              <a:buNone/>
              <a:defRPr sz="1000"/>
            </a:lvl1pPr>
            <a:lvl2pPr>
              <a:buNone/>
              <a:defRPr/>
            </a:lvl2pPr>
          </a:lstStyle>
          <a:p>
            <a:pPr lvl="0"/>
            <a:r>
              <a:rPr lang="en-US" smtClean="0"/>
              <a:t>Click to edit Master text styles</a:t>
            </a:r>
          </a:p>
        </p:txBody>
      </p:sp>
      <p:sp>
        <p:nvSpPr>
          <p:cNvPr id="5" name="Slide Number Placeholder 3"/>
          <p:cNvSpPr>
            <a:spLocks noGrp="1"/>
          </p:cNvSpPr>
          <p:nvPr>
            <p:ph type="sldNum" sz="quarter" idx="12"/>
          </p:nvPr>
        </p:nvSpPr>
        <p:spPr>
          <a:xfrm>
            <a:off x="8682038" y="6554788"/>
            <a:ext cx="323850" cy="228600"/>
          </a:xfrm>
          <a:prstGeom prst="rect">
            <a:avLst/>
          </a:prstGeom>
        </p:spPr>
        <p:txBody>
          <a:bodyPr/>
          <a:lstStyle>
            <a:lvl1pPr>
              <a:defRPr>
                <a:solidFill>
                  <a:srgbClr val="000000"/>
                </a:solidFill>
                <a:latin typeface="Arial"/>
                <a:ea typeface="+mn-ea"/>
              </a:defRPr>
            </a:lvl1pPr>
          </a:lstStyle>
          <a:p>
            <a:pPr fontAlgn="base">
              <a:spcBef>
                <a:spcPct val="0"/>
              </a:spcBef>
              <a:spcAft>
                <a:spcPct val="0"/>
              </a:spcAft>
              <a:defRPr/>
            </a:pPr>
            <a:fld id="{F6E36FBD-3BFC-49F5-9DA6-97DD551398CD}" type="slidenum">
              <a:rPr lang="en-US"/>
              <a:pPr fontAlgn="base">
                <a:spcBef>
                  <a:spcPct val="0"/>
                </a:spcBef>
                <a:spcAft>
                  <a:spcPct val="0"/>
                </a:spcAft>
                <a:defRPr/>
              </a:pPr>
              <a:t>‹N›</a:t>
            </a:fld>
            <a:endParaRPr lang="en-US" dirty="0"/>
          </a:p>
        </p:txBody>
      </p:sp>
    </p:spTree>
  </p:cSld>
  <p:clrMapOvr>
    <a:masterClrMapping/>
  </p:clrMapOvr>
  <p:transition advClick="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190500"/>
            <a:ext cx="8226425"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5613" y="1598613"/>
            <a:ext cx="8226425" cy="41132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6"/>
          <p:cNvSpPr>
            <a:spLocks noGrp="1"/>
          </p:cNvSpPr>
          <p:nvPr>
            <p:ph sz="quarter" idx="11"/>
          </p:nvPr>
        </p:nvSpPr>
        <p:spPr>
          <a:xfrm>
            <a:off x="455612" y="6200780"/>
            <a:ext cx="8226425" cy="482600"/>
          </a:xfrm>
          <a:prstGeom prst="rect">
            <a:avLst/>
          </a:prstGeom>
        </p:spPr>
        <p:txBody>
          <a:bodyPr anchor="b"/>
          <a:lstStyle>
            <a:lvl1pPr>
              <a:buNone/>
              <a:defRPr sz="1000"/>
            </a:lvl1pPr>
            <a:lvl2pPr>
              <a:buNone/>
              <a:defRPr/>
            </a:lvl2pPr>
          </a:lstStyle>
          <a:p>
            <a:pPr lvl="0"/>
            <a:r>
              <a:rPr lang="en-US" smtClean="0"/>
              <a:t>Click to edit Master text styles</a:t>
            </a:r>
          </a:p>
        </p:txBody>
      </p:sp>
      <p:sp>
        <p:nvSpPr>
          <p:cNvPr id="5" name="Slide Number Placeholder 3"/>
          <p:cNvSpPr>
            <a:spLocks noGrp="1"/>
          </p:cNvSpPr>
          <p:nvPr>
            <p:ph type="sldNum" sz="quarter" idx="12"/>
          </p:nvPr>
        </p:nvSpPr>
        <p:spPr>
          <a:xfrm>
            <a:off x="8682038" y="6554788"/>
            <a:ext cx="323850" cy="228600"/>
          </a:xfrm>
          <a:prstGeom prst="rect">
            <a:avLst/>
          </a:prstGeom>
        </p:spPr>
        <p:txBody>
          <a:bodyPr/>
          <a:lstStyle>
            <a:lvl1pPr>
              <a:defRPr>
                <a:solidFill>
                  <a:srgbClr val="000000"/>
                </a:solidFill>
                <a:latin typeface="Arial"/>
                <a:ea typeface="+mn-ea"/>
              </a:defRPr>
            </a:lvl1pPr>
          </a:lstStyle>
          <a:p>
            <a:pPr fontAlgn="base">
              <a:spcBef>
                <a:spcPct val="0"/>
              </a:spcBef>
              <a:spcAft>
                <a:spcPct val="0"/>
              </a:spcAft>
              <a:defRPr/>
            </a:pPr>
            <a:fld id="{CCEC15C9-6C4F-43E6-9DB1-D72DAFE7B17C}" type="slidenum">
              <a:rPr lang="en-US"/>
              <a:pPr fontAlgn="base">
                <a:spcBef>
                  <a:spcPct val="0"/>
                </a:spcBef>
                <a:spcAft>
                  <a:spcPct val="0"/>
                </a:spcAft>
                <a:defRPr/>
              </a:pPr>
              <a:t>‹N›</a:t>
            </a:fld>
            <a:endParaRPr lang="en-US" dirty="0"/>
          </a:p>
        </p:txBody>
      </p:sp>
    </p:spTree>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355DFE79-A388-410A-B1D2-36CE9E9C47F0}" type="datetimeFigureOut">
              <a:rPr lang="it-IT" smtClean="0"/>
              <a:pPr/>
              <a:t>18/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81BBD5FE-4345-46AD-9A22-796BD26791A8}" type="slidenum">
              <a:rPr lang="it-IT" smtClean="0"/>
              <a:pPr/>
              <a:t>‹N›</a:t>
            </a:fld>
            <a:endParaRPr lang="it-IT"/>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35506" y="6415277"/>
            <a:ext cx="7087343" cy="430887"/>
          </a:xfrm>
        </p:spPr>
        <p:txBody>
          <a:bodyPr anchor="b">
            <a:noAutofit/>
          </a:bodyPr>
          <a:lstStyle>
            <a:lvl1pPr marL="0" indent="0">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14325"/>
            <a:ext cx="5004049" cy="430887"/>
          </a:xfrm>
        </p:spPr>
        <p:txBody>
          <a:bodyPr anchor="b">
            <a:normAutofit/>
          </a:bodyPr>
          <a:lstStyle>
            <a:lvl1pPr algn="r">
              <a:buNone/>
              <a:defRPr sz="1000" b="0">
                <a:solidFill>
                  <a:srgbClr val="00446A"/>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lvl1pPr>
              <a:defRPr sz="2800"/>
            </a:lvl1pPr>
          </a:lstStyle>
          <a:p>
            <a:r>
              <a:rPr lang="en-US" dirty="0" smtClean="0"/>
              <a:t>Click to edit Master title style</a:t>
            </a:r>
            <a:endParaRPr lang="en-GB" dirty="0"/>
          </a:p>
        </p:txBody>
      </p:sp>
    </p:spTree>
  </p:cSld>
  <p:clrMapOvr>
    <a:masterClrMapping/>
  </p:clrMapOvr>
  <p:transition advClick="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6" name="Title 5"/>
          <p:cNvSpPr>
            <a:spLocks noGrp="1"/>
          </p:cNvSpPr>
          <p:nvPr>
            <p:ph type="title"/>
          </p:nvPr>
        </p:nvSpPr>
        <p:spPr>
          <a:xfrm>
            <a:off x="458788" y="135734"/>
            <a:ext cx="8228011" cy="1143000"/>
          </a:xfrm>
          <a:prstGeom prst="rect">
            <a:avLst/>
          </a:prstGeom>
        </p:spPr>
        <p:txBody>
          <a:bodyPr lIns="0"/>
          <a:lstStyle>
            <a:lvl1pPr>
              <a:defRPr>
                <a:solidFill>
                  <a:schemeClr val="bg1"/>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449263" y="1602000"/>
            <a:ext cx="8250237" cy="4311650"/>
          </a:xfrm>
          <a:prstGeom prst="rect">
            <a:avLst/>
          </a:prstGeom>
        </p:spPr>
        <p:txBody>
          <a:bodyPr lIns="0"/>
          <a:lstStyle>
            <a:lvl1pPr marL="254000" indent="-254000">
              <a:spcBef>
                <a:spcPts val="0"/>
              </a:spcBef>
              <a:spcAft>
                <a:spcPts val="800"/>
              </a:spcAft>
              <a:buClrTx/>
              <a:buSzPct val="120000"/>
              <a:buFontTx/>
              <a:buBlip>
                <a:blip r:embed="rId2" r:link="rId3"/>
              </a:buBlip>
              <a:defRPr/>
            </a:lvl1pPr>
            <a:lvl2pPr marL="515938" indent="-244475">
              <a:spcBef>
                <a:spcPts val="0"/>
              </a:spcBef>
              <a:spcAft>
                <a:spcPts val="800"/>
              </a:spcAft>
              <a:buClrTx/>
              <a:buSzPct val="120000"/>
              <a:buFontTx/>
              <a:buBlip>
                <a:blip r:embed="rId2" r:link="rId3"/>
              </a:buBlip>
              <a:defRPr/>
            </a:lvl2pPr>
            <a:lvl3pPr marL="762000" indent="-236538">
              <a:spcBef>
                <a:spcPts val="0"/>
              </a:spcBef>
              <a:spcAft>
                <a:spcPts val="800"/>
              </a:spcAft>
              <a:buClrTx/>
              <a:buSzPct val="120000"/>
              <a:buFontTx/>
              <a:buBlip>
                <a:blip r:embed="rId2" r:link="rId3"/>
              </a:buBlip>
              <a:defRPr/>
            </a:lvl3pPr>
            <a:lvl4pPr marL="1033463" indent="-263525">
              <a:spcBef>
                <a:spcPts val="0"/>
              </a:spcBef>
              <a:spcAft>
                <a:spcPts val="800"/>
              </a:spcAft>
              <a:buClrTx/>
              <a:buSzPct val="120000"/>
              <a:buFontTx/>
              <a:buBlip>
                <a:blip r:embed="rId2" r:link="rId3"/>
              </a:buBlip>
              <a:defRPr/>
            </a:lvl4pPr>
            <a:lvl5pPr marL="1270000" indent="-220663">
              <a:spcBef>
                <a:spcPts val="0"/>
              </a:spcBef>
              <a:spcAft>
                <a:spcPts val="800"/>
              </a:spcAft>
              <a:buClrTx/>
              <a:buSzPct val="120000"/>
              <a:buFontTx/>
              <a:buBlip>
                <a:blip r:embed="rId2" r:link="rId3"/>
              </a:buBlip>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3"/>
          <p:cNvSpPr>
            <a:spLocks noGrp="1"/>
          </p:cNvSpPr>
          <p:nvPr>
            <p:ph type="body" sz="quarter" idx="11"/>
          </p:nvPr>
        </p:nvSpPr>
        <p:spPr>
          <a:xfrm>
            <a:off x="457200" y="6097915"/>
            <a:ext cx="6635080" cy="630942"/>
          </a:xfrm>
          <a:prstGeom prst="rect">
            <a:avLst/>
          </a:prstGeom>
        </p:spPr>
        <p:txBody>
          <a:bodyPr lIns="0" anchor="b">
            <a:normAutofit/>
          </a:bodyPr>
          <a:lstStyle>
            <a:lvl1pPr marL="0" indent="0" algn="l">
              <a:buFontTx/>
              <a:buNone/>
              <a:defRPr sz="1000">
                <a:solidFill>
                  <a:schemeClr val="tx1"/>
                </a:solidFill>
              </a:defRPr>
            </a:lvl1pPr>
            <a:lvl2pPr algn="l">
              <a:buFontTx/>
              <a:buNone/>
              <a:defRPr sz="1000">
                <a:solidFill>
                  <a:schemeClr val="tx1"/>
                </a:solidFill>
              </a:defRPr>
            </a:lvl2pPr>
            <a:lvl3pPr algn="l">
              <a:buFontTx/>
              <a:buNone/>
              <a:defRPr sz="1000">
                <a:solidFill>
                  <a:schemeClr val="tx1"/>
                </a:solidFill>
              </a:defRPr>
            </a:lvl3pPr>
            <a:lvl4pPr algn="l">
              <a:buFontTx/>
              <a:buNone/>
              <a:defRPr sz="1000">
                <a:solidFill>
                  <a:schemeClr val="tx1"/>
                </a:solidFill>
              </a:defRPr>
            </a:lvl4pPr>
            <a:lvl5pPr algn="l">
              <a:buFontTx/>
              <a:buNone/>
              <a:defRPr sz="10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Tree>
  </p:cSld>
  <p:clrMapOvr>
    <a:masterClrMapping/>
  </p:clrMapOvr>
  <p:transition advClick="0"/>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Text Placeholder 9"/>
          <p:cNvSpPr>
            <a:spLocks noGrp="1"/>
          </p:cNvSpPr>
          <p:nvPr>
            <p:ph type="body" sz="quarter" idx="13"/>
          </p:nvPr>
        </p:nvSpPr>
        <p:spPr>
          <a:xfrm>
            <a:off x="-1" y="6427113"/>
            <a:ext cx="5004049" cy="430887"/>
          </a:xfrm>
        </p:spPr>
        <p:txBody>
          <a:bodyPr anchor="b">
            <a:normAutofit/>
          </a:bodyPr>
          <a:lstStyle>
            <a:lvl1pPr marL="0" indent="0">
              <a:spcBef>
                <a:spcPts val="0"/>
              </a:spcBef>
              <a:buNone/>
              <a:defRPr sz="1000" b="0">
                <a:solidFill>
                  <a:schemeClr val="accent1"/>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8" name="Text Placeholder 9"/>
          <p:cNvSpPr>
            <a:spLocks noGrp="1"/>
          </p:cNvSpPr>
          <p:nvPr>
            <p:ph type="body" sz="quarter" idx="14"/>
          </p:nvPr>
        </p:nvSpPr>
        <p:spPr>
          <a:xfrm>
            <a:off x="4139951" y="6427113"/>
            <a:ext cx="5004049" cy="430887"/>
          </a:xfrm>
        </p:spPr>
        <p:txBody>
          <a:bodyPr anchor="b">
            <a:normAutofit/>
          </a:bodyPr>
          <a:lstStyle>
            <a:lvl1pPr algn="r">
              <a:buNone/>
              <a:defRPr sz="1000" b="0">
                <a:solidFill>
                  <a:schemeClr val="accent1"/>
                </a:solidFill>
                <a:latin typeface="Arial" pitchFamily="34" charset="0"/>
                <a:cs typeface="Arial" pitchFamily="34" charset="0"/>
              </a:defRPr>
            </a:lvl1pPr>
            <a:lvl2pPr>
              <a:defRPr sz="1000" b="0">
                <a:solidFill>
                  <a:srgbClr val="002060"/>
                </a:solidFill>
                <a:latin typeface="Arial" pitchFamily="34" charset="0"/>
                <a:cs typeface="Arial" pitchFamily="34" charset="0"/>
              </a:defRPr>
            </a:lvl2pPr>
            <a:lvl3pPr>
              <a:defRPr sz="1000" b="0">
                <a:solidFill>
                  <a:srgbClr val="002060"/>
                </a:solidFill>
                <a:latin typeface="Arial" pitchFamily="34" charset="0"/>
                <a:cs typeface="Arial" pitchFamily="34" charset="0"/>
              </a:defRPr>
            </a:lvl3pPr>
            <a:lvl4pPr>
              <a:defRPr sz="1000" b="0">
                <a:solidFill>
                  <a:srgbClr val="002060"/>
                </a:solidFill>
                <a:latin typeface="Arial" pitchFamily="34" charset="0"/>
                <a:cs typeface="Arial" pitchFamily="34" charset="0"/>
              </a:defRPr>
            </a:lvl4pPr>
            <a:lvl5pPr>
              <a:defRPr sz="1000" b="0">
                <a:solidFill>
                  <a:srgbClr val="002060"/>
                </a:solidFill>
                <a:latin typeface="Arial" pitchFamily="34" charset="0"/>
                <a:cs typeface="Arial" pitchFamily="34" charset="0"/>
              </a:defRPr>
            </a:lvl5pPr>
          </a:lstStyle>
          <a:p>
            <a:pPr lvl="0"/>
            <a:endParaRPr lang="en-US" dirty="0" smtClean="0"/>
          </a:p>
          <a:p>
            <a:pPr lvl="0"/>
            <a:r>
              <a:rPr lang="en-US" dirty="0" smtClean="0"/>
              <a:t>Click to edit Master text styles</a:t>
            </a:r>
          </a:p>
        </p:txBody>
      </p:sp>
      <p:sp>
        <p:nvSpPr>
          <p:cNvPr id="9" name="Title Placeholder 15"/>
          <p:cNvSpPr>
            <a:spLocks noGrp="1"/>
          </p:cNvSpPr>
          <p:nvPr>
            <p:ph type="title"/>
          </p:nvPr>
        </p:nvSpPr>
        <p:spPr>
          <a:xfrm>
            <a:off x="457200" y="116632"/>
            <a:ext cx="8229600" cy="1224136"/>
          </a:xfrm>
          <a:prstGeom prst="rect">
            <a:avLst/>
          </a:prstGeom>
        </p:spPr>
        <p:txBody>
          <a:bodyPr rtlCol="0">
            <a:normAutofit/>
          </a:bodyPr>
          <a:lstStyle/>
          <a:p>
            <a:r>
              <a:rPr lang="en-US" dirty="0" smtClean="0"/>
              <a:t>Click to edit Master title style</a:t>
            </a:r>
            <a:endParaRPr lang="en-GB" dirty="0"/>
          </a:p>
        </p:txBody>
      </p:sp>
    </p:spTree>
  </p:cSld>
  <p:clrMapOvr>
    <a:masterClrMapping/>
  </p:clrMapOvr>
  <p:transition advClick="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6"/>
          <p:cNvSpPr/>
          <p:nvPr userDrawn="1"/>
        </p:nvSpPr>
        <p:spPr>
          <a:xfrm>
            <a:off x="0" y="0"/>
            <a:ext cx="9144000" cy="6240463"/>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srgbClr val="FFFFFF"/>
              </a:solidFill>
            </a:endParaRPr>
          </a:p>
        </p:txBody>
      </p:sp>
      <p:sp>
        <p:nvSpPr>
          <p:cNvPr id="4" name="Rectangle 4"/>
          <p:cNvSpPr/>
          <p:nvPr userDrawn="1"/>
        </p:nvSpPr>
        <p:spPr>
          <a:xfrm>
            <a:off x="0" y="6189663"/>
            <a:ext cx="9144000" cy="58737"/>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srgbClr val="FFFFFF"/>
              </a:solidFill>
            </a:endParaRPr>
          </a:p>
        </p:txBody>
      </p:sp>
      <p:sp>
        <p:nvSpPr>
          <p:cNvPr id="8" name="Rectangle 2"/>
          <p:cNvSpPr>
            <a:spLocks noGrp="1" noChangeArrowheads="1"/>
          </p:cNvSpPr>
          <p:nvPr>
            <p:ph type="ctrTitle"/>
          </p:nvPr>
        </p:nvSpPr>
        <p:spPr>
          <a:xfrm>
            <a:off x="863765" y="1770522"/>
            <a:ext cx="7772235" cy="2574525"/>
          </a:xfrm>
          <a:prstGeom prst="rect">
            <a:avLst/>
          </a:prstGeom>
          <a:noFill/>
        </p:spPr>
        <p:txBody>
          <a:bodyPr lIns="0" tIns="0" rIns="0" bIns="0" anchor="ctr" anchorCtr="0"/>
          <a:lstStyle>
            <a:lvl1pPr>
              <a:defRPr sz="4400">
                <a:solidFill>
                  <a:schemeClr val="bg1"/>
                </a:solidFill>
                <a:latin typeface="+mj-lt"/>
                <a:cs typeface="Arial"/>
              </a:defRPr>
            </a:lvl1pPr>
          </a:lstStyle>
          <a:p>
            <a:endParaRPr lang="en-US" dirty="0" smtClean="0"/>
          </a:p>
        </p:txBody>
      </p:sp>
    </p:spTree>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5" name="Rectangle 4"/>
          <p:cNvSpPr/>
          <p:nvPr userDrawn="1"/>
        </p:nvSpPr>
        <p:spPr>
          <a:xfrm>
            <a:off x="0" y="0"/>
            <a:ext cx="9144000" cy="1403350"/>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it-IT">
              <a:solidFill>
                <a:srgbClr val="FFFFFF"/>
              </a:solidFill>
            </a:endParaRPr>
          </a:p>
        </p:txBody>
      </p:sp>
      <p:sp>
        <p:nvSpPr>
          <p:cNvPr id="6" name="Title 5"/>
          <p:cNvSpPr>
            <a:spLocks noGrp="1"/>
          </p:cNvSpPr>
          <p:nvPr>
            <p:ph type="title"/>
          </p:nvPr>
        </p:nvSpPr>
        <p:spPr>
          <a:xfrm>
            <a:off x="457200" y="118800"/>
            <a:ext cx="8229600" cy="1143000"/>
          </a:xfrm>
          <a:prstGeom prst="rect">
            <a:avLst/>
          </a:prstGeom>
        </p:spPr>
        <p:txBody>
          <a:bodyPr vert="horz" lIns="0" anchor="ctr" anchorCtr="0"/>
          <a:lstStyle>
            <a:lvl1pPr>
              <a:defRPr>
                <a:solidFill>
                  <a:schemeClr val="bg1"/>
                </a:solidFill>
              </a:defRPr>
            </a:lvl1pPr>
          </a:lstStyle>
          <a:p>
            <a:r>
              <a:rPr lang="en-GB" dirty="0" smtClean="0"/>
              <a:t>Click to edit Master title style</a:t>
            </a:r>
            <a:endParaRPr lang="en-US" dirty="0"/>
          </a:p>
        </p:txBody>
      </p:sp>
      <p:sp>
        <p:nvSpPr>
          <p:cNvPr id="8" name="Text Placeholder 7"/>
          <p:cNvSpPr>
            <a:spLocks noGrp="1"/>
          </p:cNvSpPr>
          <p:nvPr>
            <p:ph type="body" sz="quarter" idx="10"/>
          </p:nvPr>
        </p:nvSpPr>
        <p:spPr>
          <a:xfrm>
            <a:off x="449263" y="1602000"/>
            <a:ext cx="8250237" cy="4311650"/>
          </a:xfrm>
          <a:prstGeom prst="rect">
            <a:avLst/>
          </a:prstGeom>
        </p:spPr>
        <p:txBody>
          <a:bodyPr vert="horz" lIns="0"/>
          <a:lstStyle>
            <a:lvl1pPr>
              <a:buClr>
                <a:schemeClr val="accent1"/>
              </a:buClr>
              <a:buSzPct val="120000"/>
              <a:buFont typeface="Arial" pitchFamily="34" charset="0"/>
              <a:buChar char="•"/>
              <a:defRPr/>
            </a:lvl1pPr>
            <a:lvl2pPr>
              <a:buClr>
                <a:schemeClr val="accent1"/>
              </a:buClr>
              <a:buSzPct val="120000"/>
              <a:buFont typeface="Arial" pitchFamily="34" charset="0"/>
              <a:buChar char="•"/>
              <a:defRPr/>
            </a:lvl2pPr>
            <a:lvl3pPr>
              <a:buClr>
                <a:schemeClr val="accent1"/>
              </a:buClr>
              <a:buSzPct val="120000"/>
              <a:buFont typeface="Arial" pitchFamily="34" charset="0"/>
              <a:buChar char="•"/>
              <a:defRPr/>
            </a:lvl3pPr>
            <a:lvl4pPr>
              <a:buClr>
                <a:schemeClr val="accent1"/>
              </a:buClr>
              <a:buSzPct val="120000"/>
              <a:buFont typeface="Arial" pitchFamily="34" charset="0"/>
              <a:buChar char="•"/>
              <a:defRPr/>
            </a:lvl4pPr>
            <a:lvl5pPr>
              <a:buClr>
                <a:schemeClr val="accent1"/>
              </a:buClr>
              <a:buSzPct val="120000"/>
              <a:buFont typeface="Arial" pitchFamily="34" charset="0"/>
              <a:buChar char="•"/>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9" name="Text Placeholder 3"/>
          <p:cNvSpPr>
            <a:spLocks noGrp="1"/>
          </p:cNvSpPr>
          <p:nvPr>
            <p:ph type="body" sz="quarter" idx="11"/>
          </p:nvPr>
        </p:nvSpPr>
        <p:spPr>
          <a:xfrm>
            <a:off x="13840" y="6231540"/>
            <a:ext cx="5348287" cy="612775"/>
          </a:xfrm>
          <a:prstGeom prst="rect">
            <a:avLst/>
          </a:prstGeom>
        </p:spPr>
        <p:txBody>
          <a:bodyPr vert="horz" anchor="b"/>
          <a:lstStyle>
            <a:lvl1pPr marL="0" indent="0" algn="l">
              <a:spcBef>
                <a:spcPts val="0"/>
              </a:spcBef>
              <a:buFontTx/>
              <a:buNone/>
              <a:defRPr sz="1000">
                <a:solidFill>
                  <a:schemeClr val="tx1"/>
                </a:solidFill>
              </a:defRPr>
            </a:lvl1pPr>
            <a:lvl2pPr algn="l">
              <a:buFontTx/>
              <a:buNone/>
              <a:defRPr sz="1000">
                <a:solidFill>
                  <a:schemeClr val="tx1"/>
                </a:solidFill>
              </a:defRPr>
            </a:lvl2pPr>
            <a:lvl3pPr algn="l">
              <a:buFontTx/>
              <a:buNone/>
              <a:defRPr sz="1000">
                <a:solidFill>
                  <a:schemeClr val="tx1"/>
                </a:solidFill>
              </a:defRPr>
            </a:lvl3pPr>
            <a:lvl4pPr algn="l">
              <a:buFontTx/>
              <a:buNone/>
              <a:defRPr sz="1000">
                <a:solidFill>
                  <a:schemeClr val="tx1"/>
                </a:solidFill>
              </a:defRPr>
            </a:lvl4pPr>
            <a:lvl5pPr algn="l">
              <a:buFontTx/>
              <a:buNone/>
              <a:defRPr sz="1000">
                <a:solidFill>
                  <a:schemeClr val="tx1"/>
                </a:solidFill>
              </a:defRPr>
            </a:lvl5pPr>
          </a:lstStyle>
          <a:p>
            <a:pPr lvl="0"/>
            <a:r>
              <a:rPr lang="en-GB" dirty="0" smtClean="0"/>
              <a:t>Click to edit Master text styles</a:t>
            </a:r>
          </a:p>
          <a:p>
            <a:pPr lvl="0"/>
            <a:r>
              <a:rPr lang="en-GB" dirty="0" smtClean="0"/>
              <a:t>Second level</a:t>
            </a:r>
          </a:p>
          <a:p>
            <a:pPr lvl="0"/>
            <a:r>
              <a:rPr lang="en-GB" dirty="0" smtClean="0"/>
              <a:t>Third level</a:t>
            </a:r>
            <a:endParaRPr lang="en-US" dirty="0"/>
          </a:p>
        </p:txBody>
      </p:sp>
    </p:spTree>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sp>
        <p:nvSpPr>
          <p:cNvPr id="4" name="Rectangle 4"/>
          <p:cNvSpPr/>
          <p:nvPr userDrawn="1"/>
        </p:nvSpPr>
        <p:spPr>
          <a:xfrm>
            <a:off x="0" y="0"/>
            <a:ext cx="9144000" cy="1403350"/>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it-IT">
              <a:solidFill>
                <a:srgbClr val="FFFFFF"/>
              </a:solidFill>
            </a:endParaRPr>
          </a:p>
        </p:txBody>
      </p:sp>
      <p:graphicFrame>
        <p:nvGraphicFramePr>
          <p:cNvPr id="5" name="Content Placeholder 8"/>
          <p:cNvGraphicFramePr>
            <a:graphicFrameLocks/>
          </p:cNvGraphicFramePr>
          <p:nvPr/>
        </p:nvGraphicFramePr>
        <p:xfrm>
          <a:off x="1584325" y="2520950"/>
          <a:ext cx="5992813" cy="2259013"/>
        </p:xfrm>
        <a:graphic>
          <a:graphicData uri="http://schemas.openxmlformats.org/drawingml/2006/table">
            <a:tbl>
              <a:tblPr firstRow="1" bandRow="1">
                <a:tableStyleId>{2D5ABB26-0587-4C30-8999-92F81FD0307C}</a:tableStyleId>
              </a:tblPr>
              <a:tblGrid>
                <a:gridCol w="2996214"/>
                <a:gridCol w="2996214"/>
              </a:tblGrid>
              <a:tr h="320040">
                <a:tc>
                  <a:txBody>
                    <a:bodyPr/>
                    <a:lstStyle/>
                    <a:p>
                      <a:r>
                        <a:rPr lang="en-US" dirty="0" smtClean="0">
                          <a:solidFill>
                            <a:schemeClr val="bg1"/>
                          </a:solidFill>
                        </a:rPr>
                        <a:t>Primary</a:t>
                      </a:r>
                      <a:r>
                        <a:rPr lang="en-US" baseline="0" dirty="0" smtClean="0">
                          <a:solidFill>
                            <a:schemeClr val="bg1"/>
                          </a:solidFill>
                        </a:rPr>
                        <a:t> Tumor Site</a:t>
                      </a:r>
                      <a:endParaRPr lang="en-US" dirty="0">
                        <a:solidFill>
                          <a:schemeClr val="bg1"/>
                        </a:solidFill>
                      </a:endParaRPr>
                    </a:p>
                  </a:txBody>
                  <a:tcPr marL="170268" marR="170268"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dirty="0" smtClean="0">
                          <a:solidFill>
                            <a:schemeClr val="bg1"/>
                          </a:solidFill>
                        </a:rPr>
                        <a:t>Incidence (%)</a:t>
                      </a:r>
                      <a:r>
                        <a:rPr lang="en-US" baseline="0" dirty="0" smtClean="0">
                          <a:solidFill>
                            <a:schemeClr val="bg1"/>
                          </a:solidFill>
                        </a:rPr>
                        <a:t> </a:t>
                      </a:r>
                      <a:br>
                        <a:rPr lang="en-US" baseline="0" dirty="0" smtClean="0">
                          <a:solidFill>
                            <a:schemeClr val="bg1"/>
                          </a:solidFill>
                        </a:rPr>
                      </a:br>
                      <a:r>
                        <a:rPr lang="en-US" baseline="0" dirty="0" smtClean="0">
                          <a:solidFill>
                            <a:schemeClr val="bg1"/>
                          </a:solidFill>
                        </a:rPr>
                        <a:t>of Bone Metastases</a:t>
                      </a:r>
                      <a:endParaRPr lang="en-US" dirty="0">
                        <a:solidFill>
                          <a:schemeClr val="bg1"/>
                        </a:solidFill>
                      </a:endParaRPr>
                    </a:p>
                  </a:txBody>
                  <a:tcPr marL="170268" marR="170268" anchor="ct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r>
              <a:tr h="539750">
                <a:tc>
                  <a:txBody>
                    <a:bodyPr/>
                    <a:lstStyle/>
                    <a:p>
                      <a:r>
                        <a:rPr lang="en-US" dirty="0" smtClean="0">
                          <a:solidFill>
                            <a:schemeClr val="tx1"/>
                          </a:solidFill>
                        </a:rPr>
                        <a:t>Breast</a:t>
                      </a:r>
                      <a:endParaRPr lang="en-US" dirty="0">
                        <a:solidFill>
                          <a:schemeClr val="tx1"/>
                        </a:solidFill>
                      </a:endParaRPr>
                    </a:p>
                  </a:txBody>
                  <a:tcPr marL="170268" marR="170268"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smtClean="0">
                          <a:solidFill>
                            <a:schemeClr val="tx1"/>
                          </a:solidFill>
                        </a:rPr>
                        <a:t>65%</a:t>
                      </a:r>
                      <a:r>
                        <a:rPr lang="en-US" dirty="0" smtClean="0">
                          <a:solidFill>
                            <a:schemeClr val="tx1"/>
                          </a:solidFill>
                          <a:latin typeface="Arial"/>
                          <a:cs typeface="Arial"/>
                        </a:rPr>
                        <a:t>–</a:t>
                      </a:r>
                      <a:r>
                        <a:rPr lang="en-US" dirty="0" smtClean="0">
                          <a:solidFill>
                            <a:schemeClr val="tx1"/>
                          </a:solidFill>
                        </a:rPr>
                        <a:t>75%</a:t>
                      </a:r>
                      <a:endParaRPr lang="en-US" dirty="0">
                        <a:solidFill>
                          <a:schemeClr val="tx1"/>
                        </a:solidFill>
                      </a:endParaRPr>
                    </a:p>
                  </a:txBody>
                  <a:tcPr marL="170268" marR="170268" anchor="ct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39750">
                <a:tc>
                  <a:txBody>
                    <a:bodyPr/>
                    <a:lstStyle/>
                    <a:p>
                      <a:r>
                        <a:rPr lang="en-US" dirty="0" smtClean="0">
                          <a:solidFill>
                            <a:schemeClr val="tx1"/>
                          </a:solidFill>
                        </a:rPr>
                        <a:t>Prostate</a:t>
                      </a:r>
                      <a:endParaRPr lang="en-US" dirty="0">
                        <a:solidFill>
                          <a:schemeClr val="tx1"/>
                        </a:solidFill>
                      </a:endParaRPr>
                    </a:p>
                  </a:txBody>
                  <a:tcPr marL="170268" marR="170268"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smtClean="0">
                          <a:solidFill>
                            <a:schemeClr val="tx1"/>
                          </a:solidFill>
                        </a:rPr>
                        <a:t>65%</a:t>
                      </a:r>
                      <a:r>
                        <a:rPr lang="en-US" dirty="0" smtClean="0">
                          <a:solidFill>
                            <a:schemeClr val="tx1"/>
                          </a:solidFill>
                          <a:latin typeface="Arial"/>
                          <a:cs typeface="Arial"/>
                        </a:rPr>
                        <a:t>–</a:t>
                      </a:r>
                      <a:r>
                        <a:rPr lang="en-US" dirty="0" smtClean="0">
                          <a:solidFill>
                            <a:schemeClr val="tx1"/>
                          </a:solidFill>
                        </a:rPr>
                        <a:t>75%</a:t>
                      </a:r>
                      <a:endParaRPr lang="en-US" dirty="0">
                        <a:solidFill>
                          <a:schemeClr val="tx1"/>
                        </a:solidFill>
                      </a:endParaRPr>
                    </a:p>
                  </a:txBody>
                  <a:tcPr marL="170268" marR="170268" anchor="ct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r>
              <a:tr h="539750">
                <a:tc>
                  <a:txBody>
                    <a:bodyPr/>
                    <a:lstStyle/>
                    <a:p>
                      <a:r>
                        <a:rPr lang="en-US" dirty="0" smtClean="0">
                          <a:solidFill>
                            <a:schemeClr val="tx1"/>
                          </a:solidFill>
                        </a:rPr>
                        <a:t>Lung</a:t>
                      </a:r>
                      <a:endParaRPr lang="en-US" dirty="0">
                        <a:solidFill>
                          <a:schemeClr val="tx1"/>
                        </a:solidFill>
                      </a:endParaRPr>
                    </a:p>
                  </a:txBody>
                  <a:tcPr marL="170268" marR="170268" anchor="ctr">
                    <a:lnL w="12700" cap="flat" cmpd="sng" algn="ctr">
                      <a:solidFill>
                        <a:schemeClr val="accent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dirty="0" smtClean="0">
                          <a:solidFill>
                            <a:schemeClr val="tx1"/>
                          </a:solidFill>
                        </a:rPr>
                        <a:t>30%</a:t>
                      </a:r>
                      <a:r>
                        <a:rPr lang="en-US" dirty="0" smtClean="0">
                          <a:solidFill>
                            <a:schemeClr val="tx1"/>
                          </a:solidFill>
                          <a:latin typeface="Arial"/>
                          <a:cs typeface="Arial"/>
                        </a:rPr>
                        <a:t>–</a:t>
                      </a:r>
                      <a:r>
                        <a:rPr lang="en-US" dirty="0" smtClean="0">
                          <a:solidFill>
                            <a:schemeClr val="tx1"/>
                          </a:solidFill>
                        </a:rPr>
                        <a:t>40%</a:t>
                      </a:r>
                      <a:endParaRPr lang="en-US" dirty="0">
                        <a:solidFill>
                          <a:schemeClr val="tx1"/>
                        </a:solidFill>
                      </a:endParaRPr>
                    </a:p>
                  </a:txBody>
                  <a:tcPr marL="170268" marR="170268" anchor="ctr">
                    <a:lnL w="12700" cap="flat" cmpd="sng" algn="ctr">
                      <a:no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6" name="Title 3"/>
          <p:cNvSpPr>
            <a:spLocks noGrp="1"/>
          </p:cNvSpPr>
          <p:nvPr>
            <p:ph type="title"/>
          </p:nvPr>
        </p:nvSpPr>
        <p:spPr>
          <a:xfrm>
            <a:off x="457200" y="118800"/>
            <a:ext cx="8229600" cy="1143000"/>
          </a:xfrm>
          <a:prstGeom prst="rect">
            <a:avLst/>
          </a:prstGeom>
        </p:spPr>
        <p:txBody>
          <a:bodyPr vert="horz" lIns="0" rIns="0" anchor="ctr" anchorCtr="0"/>
          <a:lstStyle>
            <a:lvl1pPr>
              <a:defRPr>
                <a:solidFill>
                  <a:schemeClr val="bg1"/>
                </a:solidFill>
              </a:defRPr>
            </a:lvl1pPr>
          </a:lstStyle>
          <a:p>
            <a:r>
              <a:rPr lang="en-GB" dirty="0" smtClean="0"/>
              <a:t>Click to edit Master title style</a:t>
            </a:r>
            <a:endParaRPr lang="en-US" dirty="0"/>
          </a:p>
        </p:txBody>
      </p:sp>
      <p:sp>
        <p:nvSpPr>
          <p:cNvPr id="8" name="Text Placeholder 3"/>
          <p:cNvSpPr>
            <a:spLocks noGrp="1"/>
          </p:cNvSpPr>
          <p:nvPr>
            <p:ph type="body" sz="quarter" idx="10"/>
          </p:nvPr>
        </p:nvSpPr>
        <p:spPr>
          <a:xfrm>
            <a:off x="457200" y="6065280"/>
            <a:ext cx="5348287" cy="612775"/>
          </a:xfrm>
          <a:prstGeom prst="rect">
            <a:avLst/>
          </a:prstGeom>
        </p:spPr>
        <p:txBody>
          <a:bodyPr vert="horz" anchor="b"/>
          <a:lstStyle>
            <a:lvl1pPr marL="168275" indent="-168275" algn="l" fontAlgn="base">
              <a:spcBef>
                <a:spcPts val="0"/>
              </a:spcBef>
              <a:buFont typeface="Arial" charset="0"/>
              <a:buNone/>
              <a:defRPr sz="1000">
                <a:solidFill>
                  <a:schemeClr val="tx1"/>
                </a:solidFill>
              </a:defRPr>
            </a:lvl1pPr>
            <a:lvl2pPr algn="l">
              <a:buFontTx/>
              <a:buNone/>
              <a:defRPr sz="1000">
                <a:solidFill>
                  <a:schemeClr val="tx1"/>
                </a:solidFill>
              </a:defRPr>
            </a:lvl2pPr>
            <a:lvl3pPr algn="l">
              <a:buFontTx/>
              <a:buNone/>
              <a:defRPr sz="1000">
                <a:solidFill>
                  <a:schemeClr val="tx1"/>
                </a:solidFill>
              </a:defRPr>
            </a:lvl3pPr>
            <a:lvl4pPr algn="l">
              <a:buFontTx/>
              <a:buNone/>
              <a:defRPr sz="1000">
                <a:solidFill>
                  <a:schemeClr val="tx1"/>
                </a:solidFill>
              </a:defRPr>
            </a:lvl4pPr>
            <a:lvl5pPr algn="l">
              <a:buFontTx/>
              <a:buNone/>
              <a:defRPr sz="1000">
                <a:solidFill>
                  <a:schemeClr val="tx1"/>
                </a:solidFill>
              </a:defRPr>
            </a:lvl5pPr>
          </a:lstStyle>
          <a:p>
            <a:pPr lvl="0"/>
            <a:r>
              <a:rPr lang="en-US" altLang="en-GB" dirty="0" smtClean="0"/>
              <a:t>Click to edit Master text styles</a:t>
            </a:r>
          </a:p>
          <a:p>
            <a:pPr lvl="1"/>
            <a:r>
              <a:rPr lang="en-US" altLang="en-GB" dirty="0" smtClean="0"/>
              <a:t>Second level</a:t>
            </a:r>
          </a:p>
          <a:p>
            <a:pPr lvl="2"/>
            <a:r>
              <a:rPr lang="en-US" altLang="en-GB" dirty="0" smtClean="0"/>
              <a:t>Third level</a:t>
            </a:r>
          </a:p>
        </p:txBody>
      </p:sp>
    </p:spTree>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5" name="Rectangle 4"/>
          <p:cNvSpPr/>
          <p:nvPr userDrawn="1"/>
        </p:nvSpPr>
        <p:spPr>
          <a:xfrm>
            <a:off x="0" y="0"/>
            <a:ext cx="9144000" cy="1403350"/>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it-IT">
              <a:solidFill>
                <a:srgbClr val="FFFFFF"/>
              </a:solidFill>
            </a:endParaRPr>
          </a:p>
        </p:txBody>
      </p:sp>
      <p:sp>
        <p:nvSpPr>
          <p:cNvPr id="2" name="Title 1"/>
          <p:cNvSpPr>
            <a:spLocks noGrp="1"/>
          </p:cNvSpPr>
          <p:nvPr>
            <p:ph type="title"/>
          </p:nvPr>
        </p:nvSpPr>
        <p:spPr>
          <a:xfrm>
            <a:off x="457200" y="274638"/>
            <a:ext cx="8229600" cy="1143000"/>
          </a:xfrm>
          <a:prstGeom prst="rect">
            <a:avLst/>
          </a:prstGeom>
        </p:spPr>
        <p:txBody>
          <a:bodyPr vert="horz" lIns="0" rIns="0"/>
          <a:lstStyle>
            <a:lvl1pPr>
              <a:defRPr>
                <a:solidFill>
                  <a:schemeClr val="bg1"/>
                </a:solidFill>
              </a:defRPr>
            </a:lvl1pPr>
          </a:lstStyle>
          <a:p>
            <a:r>
              <a:rPr lang="en-GB" dirty="0" smtClean="0"/>
              <a:t>Click to edit Master title style</a:t>
            </a:r>
            <a:endParaRPr lang="en-US" dirty="0"/>
          </a:p>
        </p:txBody>
      </p:sp>
      <p:sp>
        <p:nvSpPr>
          <p:cNvPr id="4" name="Text Placeholder 3"/>
          <p:cNvSpPr>
            <a:spLocks noGrp="1"/>
          </p:cNvSpPr>
          <p:nvPr>
            <p:ph type="body" sz="quarter" idx="10"/>
          </p:nvPr>
        </p:nvSpPr>
        <p:spPr>
          <a:xfrm>
            <a:off x="457200" y="6065280"/>
            <a:ext cx="5348287" cy="612775"/>
          </a:xfrm>
          <a:prstGeom prst="rect">
            <a:avLst/>
          </a:prstGeom>
        </p:spPr>
        <p:txBody>
          <a:bodyPr vert="horz" anchor="b"/>
          <a:lstStyle>
            <a:lvl1pPr algn="l">
              <a:buFontTx/>
              <a:buNone/>
              <a:defRPr sz="1000">
                <a:solidFill>
                  <a:schemeClr val="tx1"/>
                </a:solidFill>
              </a:defRPr>
            </a:lvl1pPr>
            <a:lvl2pPr algn="l">
              <a:buFontTx/>
              <a:buNone/>
              <a:defRPr sz="1000">
                <a:solidFill>
                  <a:schemeClr val="tx1"/>
                </a:solidFill>
              </a:defRPr>
            </a:lvl2pPr>
            <a:lvl3pPr algn="l">
              <a:buFontTx/>
              <a:buNone/>
              <a:defRPr sz="1000">
                <a:solidFill>
                  <a:schemeClr val="tx1"/>
                </a:solidFill>
              </a:defRPr>
            </a:lvl3pPr>
            <a:lvl4pPr algn="l">
              <a:buFontTx/>
              <a:buNone/>
              <a:defRPr sz="1000">
                <a:solidFill>
                  <a:schemeClr val="tx1"/>
                </a:solidFill>
              </a:defRPr>
            </a:lvl4pPr>
            <a:lvl5pPr algn="l">
              <a:buFontTx/>
              <a:buNone/>
              <a:defRPr sz="1000">
                <a:solidFill>
                  <a:schemeClr val="tx1"/>
                </a:solidFill>
              </a:defRPr>
            </a:lvl5pPr>
          </a:lstStyle>
          <a:p>
            <a:pPr lvl="0"/>
            <a:r>
              <a:rPr lang="en-GB" dirty="0" smtClean="0"/>
              <a:t>Click to edit Master text styles</a:t>
            </a:r>
          </a:p>
          <a:p>
            <a:pPr lvl="0"/>
            <a:r>
              <a:rPr lang="en-GB" dirty="0" smtClean="0"/>
              <a:t>Second level</a:t>
            </a:r>
          </a:p>
          <a:p>
            <a:pPr lvl="0"/>
            <a:r>
              <a:rPr lang="en-GB" dirty="0" smtClean="0"/>
              <a:t>Third level</a:t>
            </a:r>
            <a:endParaRPr lang="en-US" dirty="0"/>
          </a:p>
        </p:txBody>
      </p:sp>
      <p:sp>
        <p:nvSpPr>
          <p:cNvPr id="7" name="Table Placeholder 6"/>
          <p:cNvSpPr>
            <a:spLocks noGrp="1"/>
          </p:cNvSpPr>
          <p:nvPr>
            <p:ph type="tbl" sz="quarter" idx="11"/>
          </p:nvPr>
        </p:nvSpPr>
        <p:spPr>
          <a:xfrm>
            <a:off x="1650999" y="2208456"/>
            <a:ext cx="5715369" cy="3092445"/>
          </a:xfrm>
          <a:prstGeom prst="rect">
            <a:avLst/>
          </a:prstGeom>
          <a:ln>
            <a:solidFill>
              <a:schemeClr val="tx2"/>
            </a:solidFill>
          </a:ln>
        </p:spPr>
        <p:txBody>
          <a:bodyPr vert="horz" anchor="ctr" anchorCtr="0"/>
          <a:lstStyle>
            <a:lvl1pPr>
              <a:buFontTx/>
              <a:buNone/>
              <a:defRPr sz="1800">
                <a:latin typeface="+mn-lt"/>
              </a:defRPr>
            </a:lvl1pPr>
          </a:lstStyle>
          <a:p>
            <a:pPr lvl="0"/>
            <a:endParaRPr lang="en-US" noProof="0" dirty="0"/>
          </a:p>
        </p:txBody>
      </p:sp>
    </p:spTree>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sp>
        <p:nvSpPr>
          <p:cNvPr id="5" name="Rectangle 5"/>
          <p:cNvSpPr/>
          <p:nvPr userDrawn="1"/>
        </p:nvSpPr>
        <p:spPr>
          <a:xfrm>
            <a:off x="0" y="0"/>
            <a:ext cx="9144000" cy="1403350"/>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it-IT">
              <a:solidFill>
                <a:srgbClr val="FFFFFF"/>
              </a:solidFill>
            </a:endParaRPr>
          </a:p>
        </p:txBody>
      </p:sp>
      <p:sp>
        <p:nvSpPr>
          <p:cNvPr id="2" name="Title 1"/>
          <p:cNvSpPr>
            <a:spLocks noGrp="1"/>
          </p:cNvSpPr>
          <p:nvPr>
            <p:ph type="title"/>
          </p:nvPr>
        </p:nvSpPr>
        <p:spPr>
          <a:xfrm>
            <a:off x="455613" y="190500"/>
            <a:ext cx="8226425" cy="1143000"/>
          </a:xfrm>
          <a:prstGeom prst="rect">
            <a:avLst/>
          </a:prstGeom>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a:xfrm>
            <a:off x="455613" y="1598613"/>
            <a:ext cx="8226425" cy="41132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6"/>
          <p:cNvSpPr>
            <a:spLocks noGrp="1"/>
          </p:cNvSpPr>
          <p:nvPr>
            <p:ph sz="quarter" idx="11"/>
          </p:nvPr>
        </p:nvSpPr>
        <p:spPr>
          <a:xfrm>
            <a:off x="455612" y="6200780"/>
            <a:ext cx="8226425" cy="482600"/>
          </a:xfrm>
          <a:prstGeom prst="rect">
            <a:avLst/>
          </a:prstGeom>
        </p:spPr>
        <p:txBody>
          <a:bodyPr anchor="b"/>
          <a:lstStyle>
            <a:lvl1pPr>
              <a:buNone/>
              <a:defRPr sz="1000"/>
            </a:lvl1pPr>
            <a:lvl2pPr>
              <a:buNone/>
              <a:defRPr/>
            </a:lvl2pPr>
          </a:lstStyle>
          <a:p>
            <a:pPr lvl="0"/>
            <a:r>
              <a:rPr lang="en-US" dirty="0" err="1" smtClean="0"/>
              <a:t>Click to edit Master text styles</a:t>
            </a:r>
          </a:p>
        </p:txBody>
      </p:sp>
      <p:sp>
        <p:nvSpPr>
          <p:cNvPr id="6" name="Slide Number Placeholder 3"/>
          <p:cNvSpPr>
            <a:spLocks noGrp="1"/>
          </p:cNvSpPr>
          <p:nvPr>
            <p:ph type="sldNum" sz="quarter" idx="12"/>
          </p:nvPr>
        </p:nvSpPr>
        <p:spPr>
          <a:xfrm>
            <a:off x="8682038" y="6554788"/>
            <a:ext cx="323850" cy="228600"/>
          </a:xfrm>
          <a:prstGeom prst="rect">
            <a:avLst/>
          </a:prstGeom>
        </p:spPr>
        <p:txBody>
          <a:bodyPr/>
          <a:lstStyle>
            <a:lvl1pPr>
              <a:defRPr>
                <a:solidFill>
                  <a:srgbClr val="00446A"/>
                </a:solidFill>
                <a:latin typeface="Arial" charset="0"/>
                <a:ea typeface="+mn-ea"/>
                <a:cs typeface="Arial" charset="0"/>
              </a:defRPr>
            </a:lvl1pPr>
          </a:lstStyle>
          <a:p>
            <a:pPr fontAlgn="base">
              <a:spcBef>
                <a:spcPct val="0"/>
              </a:spcBef>
              <a:spcAft>
                <a:spcPct val="0"/>
              </a:spcAft>
              <a:defRPr/>
            </a:pPr>
            <a:fld id="{148353A5-C656-41FD-89CB-7F67F02A32B0}" type="slidenum">
              <a:rPr lang="en-US"/>
              <a:pPr fontAlgn="base">
                <a:spcBef>
                  <a:spcPct val="0"/>
                </a:spcBef>
                <a:spcAft>
                  <a:spcPct val="0"/>
                </a:spcAft>
                <a:defRPr/>
              </a:pPr>
              <a:t>‹N›</a:t>
            </a:fld>
            <a:endParaRPr lang="en-US"/>
          </a:p>
        </p:txBody>
      </p:sp>
    </p:spTree>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userDrawn="1">
  <p:cSld name="13_Title and Content">
    <p:spTree>
      <p:nvGrpSpPr>
        <p:cNvPr id="1" name=""/>
        <p:cNvGrpSpPr/>
        <p:nvPr/>
      </p:nvGrpSpPr>
      <p:grpSpPr>
        <a:xfrm>
          <a:off x="0" y="0"/>
          <a:ext cx="0" cy="0"/>
          <a:chOff x="0" y="0"/>
          <a:chExt cx="0" cy="0"/>
        </a:xfrm>
      </p:grpSpPr>
      <p:sp>
        <p:nvSpPr>
          <p:cNvPr id="5" name="Rectangle 5"/>
          <p:cNvSpPr/>
          <p:nvPr userDrawn="1"/>
        </p:nvSpPr>
        <p:spPr>
          <a:xfrm>
            <a:off x="0" y="0"/>
            <a:ext cx="9144000" cy="1403350"/>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it-IT">
              <a:solidFill>
                <a:srgbClr val="FFFFFF"/>
              </a:solidFill>
            </a:endParaRPr>
          </a:p>
        </p:txBody>
      </p:sp>
      <p:sp>
        <p:nvSpPr>
          <p:cNvPr id="2" name="Title 1"/>
          <p:cNvSpPr>
            <a:spLocks noGrp="1"/>
          </p:cNvSpPr>
          <p:nvPr>
            <p:ph type="title"/>
          </p:nvPr>
        </p:nvSpPr>
        <p:spPr>
          <a:xfrm>
            <a:off x="455613" y="190500"/>
            <a:ext cx="8226425" cy="1143000"/>
          </a:xfrm>
          <a:prstGeom prst="rect">
            <a:avLst/>
          </a:prstGeom>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a:xfrm>
            <a:off x="455613" y="1598613"/>
            <a:ext cx="8226425" cy="41132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Content Placeholder 6"/>
          <p:cNvSpPr>
            <a:spLocks noGrp="1"/>
          </p:cNvSpPr>
          <p:nvPr>
            <p:ph sz="quarter" idx="11"/>
          </p:nvPr>
        </p:nvSpPr>
        <p:spPr>
          <a:xfrm>
            <a:off x="455612" y="6200780"/>
            <a:ext cx="8226425" cy="482600"/>
          </a:xfrm>
          <a:prstGeom prst="rect">
            <a:avLst/>
          </a:prstGeom>
        </p:spPr>
        <p:txBody>
          <a:bodyPr anchor="b"/>
          <a:lstStyle>
            <a:lvl1pPr>
              <a:buNone/>
              <a:defRPr sz="1000"/>
            </a:lvl1pPr>
            <a:lvl2pPr>
              <a:buNone/>
              <a:defRPr/>
            </a:lvl2pPr>
          </a:lstStyle>
          <a:p>
            <a:pPr lvl="0"/>
            <a:r>
              <a:rPr lang="en-US" dirty="0" err="1" smtClean="0"/>
              <a:t>Click to edit Master text styles</a:t>
            </a:r>
          </a:p>
        </p:txBody>
      </p:sp>
      <p:sp>
        <p:nvSpPr>
          <p:cNvPr id="6" name="Slide Number Placeholder 3"/>
          <p:cNvSpPr>
            <a:spLocks noGrp="1"/>
          </p:cNvSpPr>
          <p:nvPr>
            <p:ph type="sldNum" sz="quarter" idx="12"/>
          </p:nvPr>
        </p:nvSpPr>
        <p:spPr>
          <a:xfrm>
            <a:off x="8682038" y="6554788"/>
            <a:ext cx="323850" cy="228600"/>
          </a:xfrm>
          <a:prstGeom prst="rect">
            <a:avLst/>
          </a:prstGeom>
        </p:spPr>
        <p:txBody>
          <a:bodyPr/>
          <a:lstStyle>
            <a:lvl1pPr>
              <a:defRPr>
                <a:solidFill>
                  <a:srgbClr val="00446A"/>
                </a:solidFill>
                <a:latin typeface="Arial" charset="0"/>
                <a:ea typeface="+mn-ea"/>
                <a:cs typeface="Arial" charset="0"/>
              </a:defRPr>
            </a:lvl1pPr>
          </a:lstStyle>
          <a:p>
            <a:pPr fontAlgn="base">
              <a:spcBef>
                <a:spcPct val="0"/>
              </a:spcBef>
              <a:spcAft>
                <a:spcPct val="0"/>
              </a:spcAft>
              <a:defRPr/>
            </a:pPr>
            <a:fld id="{B538920D-2B5C-4920-B53C-0D0DE24806F9}" type="slidenum">
              <a:rPr lang="en-US"/>
              <a:pPr fontAlgn="base">
                <a:spcBef>
                  <a:spcPct val="0"/>
                </a:spcBef>
                <a:spcAft>
                  <a:spcPct val="0"/>
                </a:spcAft>
                <a:defRPr/>
              </a:pPr>
              <a:t>‹N›</a:t>
            </a:fld>
            <a:endParaRPr lang="en-US"/>
          </a:p>
        </p:txBody>
      </p:sp>
    </p:spTree>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15888"/>
            <a:ext cx="8229600" cy="122555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6" Type="http://schemas.openxmlformats.org/officeDocument/2006/relationships/image" Target="../media/image2.png"/><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image" Target="../media/image1.png"/><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theme" Target="../theme/theme11.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26" Type="http://schemas.openxmlformats.org/officeDocument/2006/relationships/tags" Target="../tags/tag7.xml"/><Relationship Id="rId3" Type="http://schemas.openxmlformats.org/officeDocument/2006/relationships/slideLayout" Target="../slideLayouts/slideLayout135.xml"/><Relationship Id="rId21" Type="http://schemas.openxmlformats.org/officeDocument/2006/relationships/tags" Target="../tags/tag2.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tags" Target="../tags/tag6.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vmlDrawing" Target="../drawings/vmlDrawing1.v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24" Type="http://schemas.openxmlformats.org/officeDocument/2006/relationships/tags" Target="../tags/tag5.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23" Type="http://schemas.openxmlformats.org/officeDocument/2006/relationships/tags" Target="../tags/tag4.xml"/><Relationship Id="rId28" Type="http://schemas.openxmlformats.org/officeDocument/2006/relationships/image" Target="../media/image7.emf"/><Relationship Id="rId10" Type="http://schemas.openxmlformats.org/officeDocument/2006/relationships/slideLayout" Target="../slideLayouts/slideLayout142.xml"/><Relationship Id="rId19" Type="http://schemas.openxmlformats.org/officeDocument/2006/relationships/theme" Target="../theme/theme1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 Id="rId22" Type="http://schemas.openxmlformats.org/officeDocument/2006/relationships/tags" Target="../tags/tag3.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6" Type="http://schemas.openxmlformats.org/officeDocument/2006/relationships/image" Target="../media/image2.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png"/><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5.jpe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heme" Target="../theme/theme7.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6" Type="http://schemas.openxmlformats.org/officeDocument/2006/relationships/image" Target="../media/image2.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image" Target="../media/image1.png"/><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image" Target="../media/image1.pn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ags" Target="../tags/tag1.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theme" Target="../theme/theme9.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5DFE79-A388-410A-B1D2-36CE9E9C47F0}" type="datetimeFigureOut">
              <a:rPr lang="it-IT" smtClean="0"/>
              <a:pPr/>
              <a:t>18/05/2017</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BBD5FE-4345-46AD-9A22-796BD26791A8}" type="slidenum">
              <a:rPr lang="it-IT" smtClean="0"/>
              <a:pPr/>
              <a:t>‹N›</a:t>
            </a:fld>
            <a:endParaRPr lang="it-IT"/>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p:cNvSpPr/>
          <p:nvPr/>
        </p:nvSpPr>
        <p:spPr>
          <a:xfrm>
            <a:off x="0" y="0"/>
            <a:ext cx="9144000" cy="1400175"/>
          </a:xfrm>
          <a:prstGeom prst="rect">
            <a:avLst/>
          </a:prstGeom>
          <a:solidFill>
            <a:srgbClr val="00446A"/>
          </a:solidFill>
          <a:ln w="9525" cap="flat" cmpd="sng" algn="ctr">
            <a:noFill/>
            <a:prstDash val="solid"/>
          </a:ln>
          <a:effectLst>
            <a:outerShdw blurRad="40000" dist="23000" dir="5400000" rotWithShape="0">
              <a:srgbClr val="000000">
                <a:alpha val="35000"/>
              </a:srgbClr>
            </a:outerShdw>
          </a:effectLst>
        </p:spPr>
        <p:txBody>
          <a:bodyPr anchor="ctr"/>
          <a:lstStyle/>
          <a:p>
            <a:pPr algn="ctr" fontAlgn="base">
              <a:spcBef>
                <a:spcPct val="0"/>
              </a:spcBef>
              <a:spcAft>
                <a:spcPct val="0"/>
              </a:spcAft>
              <a:defRPr/>
            </a:pPr>
            <a:endParaRPr lang="en-US">
              <a:solidFill>
                <a:srgbClr val="FFFFFF"/>
              </a:solidFill>
              <a:ea typeface="MS PGothic" pitchFamily="34" charset="-128"/>
            </a:endParaRPr>
          </a:p>
        </p:txBody>
      </p:sp>
      <p:sp>
        <p:nvSpPr>
          <p:cNvPr id="798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pic>
        <p:nvPicPr>
          <p:cNvPr id="79876" name="Picture 8" descr="SlideCorner.png"/>
          <p:cNvPicPr>
            <a:picLocks noChangeAspect="1"/>
          </p:cNvPicPr>
          <p:nvPr/>
        </p:nvPicPr>
        <p:blipFill>
          <a:blip r:embed="rId15" cstate="print"/>
          <a:srcRect/>
          <a:stretch>
            <a:fillRect/>
          </a:stretch>
        </p:blipFill>
        <p:spPr bwMode="auto">
          <a:xfrm>
            <a:off x="0" y="3630613"/>
            <a:ext cx="4284663" cy="3235325"/>
          </a:xfrm>
          <a:prstGeom prst="rect">
            <a:avLst/>
          </a:prstGeom>
          <a:noFill/>
          <a:ln w="9525">
            <a:noFill/>
            <a:miter lim="800000"/>
            <a:headEnd/>
            <a:tailEnd/>
          </a:ln>
        </p:spPr>
      </p:pic>
      <p:sp>
        <p:nvSpPr>
          <p:cNvPr id="79877" name="Title Placeholder 15"/>
          <p:cNvSpPr>
            <a:spLocks noGrp="1"/>
          </p:cNvSpPr>
          <p:nvPr>
            <p:ph type="title"/>
          </p:nvPr>
        </p:nvSpPr>
        <p:spPr bwMode="auto">
          <a:xfrm>
            <a:off x="457200" y="115888"/>
            <a:ext cx="8229600" cy="12255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Tree>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Lst>
  <p:transition advClick="0"/>
  <p:txStyles>
    <p:titleStyle>
      <a:lvl1pPr algn="l" rtl="0" eaLnBrk="0" fontAlgn="base" hangingPunct="0">
        <a:spcBef>
          <a:spcPct val="0"/>
        </a:spcBef>
        <a:spcAft>
          <a:spcPct val="0"/>
        </a:spcAft>
        <a:defRPr sz="2800" b="1" kern="1200">
          <a:solidFill>
            <a:schemeClr val="bg1"/>
          </a:solidFill>
          <a:latin typeface="Arial" pitchFamily="34" charset="0"/>
          <a:ea typeface="+mj-ea"/>
          <a:cs typeface="Arial" pitchFamily="34" charset="0"/>
        </a:defRPr>
      </a:lvl1pPr>
      <a:lvl2pPr algn="l" rtl="0" eaLnBrk="0" fontAlgn="base" hangingPunct="0">
        <a:spcBef>
          <a:spcPct val="0"/>
        </a:spcBef>
        <a:spcAft>
          <a:spcPct val="0"/>
        </a:spcAft>
        <a:defRPr sz="2800" b="1">
          <a:solidFill>
            <a:schemeClr val="bg1"/>
          </a:solidFill>
          <a:latin typeface="Arial" charset="0"/>
          <a:cs typeface="Arial" charset="0"/>
        </a:defRPr>
      </a:lvl2pPr>
      <a:lvl3pPr algn="l" rtl="0" eaLnBrk="0" fontAlgn="base" hangingPunct="0">
        <a:spcBef>
          <a:spcPct val="0"/>
        </a:spcBef>
        <a:spcAft>
          <a:spcPct val="0"/>
        </a:spcAft>
        <a:defRPr sz="2800" b="1">
          <a:solidFill>
            <a:schemeClr val="bg1"/>
          </a:solidFill>
          <a:latin typeface="Arial" charset="0"/>
          <a:cs typeface="Arial" charset="0"/>
        </a:defRPr>
      </a:lvl3pPr>
      <a:lvl4pPr algn="l" rtl="0" eaLnBrk="0" fontAlgn="base" hangingPunct="0">
        <a:spcBef>
          <a:spcPct val="0"/>
        </a:spcBef>
        <a:spcAft>
          <a:spcPct val="0"/>
        </a:spcAft>
        <a:defRPr sz="2800" b="1">
          <a:solidFill>
            <a:schemeClr val="bg1"/>
          </a:solidFill>
          <a:latin typeface="Arial" charset="0"/>
          <a:cs typeface="Arial" charset="0"/>
        </a:defRPr>
      </a:lvl4pPr>
      <a:lvl5pPr algn="l" rtl="0" eaLnBrk="0" fontAlgn="base" hangingPunct="0">
        <a:spcBef>
          <a:spcPct val="0"/>
        </a:spcBef>
        <a:spcAft>
          <a:spcPct val="0"/>
        </a:spcAft>
        <a:defRPr sz="2800" b="1">
          <a:solidFill>
            <a:schemeClr val="bg1"/>
          </a:solidFill>
          <a:latin typeface="Arial" charset="0"/>
          <a:cs typeface="Arial" charset="0"/>
        </a:defRPr>
      </a:lvl5pPr>
      <a:lvl6pPr marL="457200" algn="l" rtl="0" fontAlgn="base">
        <a:spcBef>
          <a:spcPct val="0"/>
        </a:spcBef>
        <a:spcAft>
          <a:spcPct val="0"/>
        </a:spcAft>
        <a:defRPr sz="3200" b="1">
          <a:solidFill>
            <a:schemeClr val="bg1"/>
          </a:solidFill>
          <a:latin typeface="Arial" charset="0"/>
          <a:cs typeface="Arial" charset="0"/>
        </a:defRPr>
      </a:lvl6pPr>
      <a:lvl7pPr marL="914400" algn="l" rtl="0" fontAlgn="base">
        <a:spcBef>
          <a:spcPct val="0"/>
        </a:spcBef>
        <a:spcAft>
          <a:spcPct val="0"/>
        </a:spcAft>
        <a:defRPr sz="3200" b="1">
          <a:solidFill>
            <a:schemeClr val="bg1"/>
          </a:solidFill>
          <a:latin typeface="Arial" charset="0"/>
          <a:cs typeface="Arial" charset="0"/>
        </a:defRPr>
      </a:lvl7pPr>
      <a:lvl8pPr marL="1371600" algn="l" rtl="0" fontAlgn="base">
        <a:spcBef>
          <a:spcPct val="0"/>
        </a:spcBef>
        <a:spcAft>
          <a:spcPct val="0"/>
        </a:spcAft>
        <a:defRPr sz="3200" b="1">
          <a:solidFill>
            <a:schemeClr val="bg1"/>
          </a:solidFill>
          <a:latin typeface="Arial" charset="0"/>
          <a:cs typeface="Arial" charset="0"/>
        </a:defRPr>
      </a:lvl8pPr>
      <a:lvl9pPr marL="1828800" algn="l" rtl="0" fontAlgn="base">
        <a:spcBef>
          <a:spcPct val="0"/>
        </a:spcBef>
        <a:spcAft>
          <a:spcPct val="0"/>
        </a:spcAft>
        <a:defRPr sz="3200" b="1">
          <a:solidFill>
            <a:schemeClr val="bg1"/>
          </a:solidFill>
          <a:latin typeface="Arial" charset="0"/>
          <a:cs typeface="Arial" charset="0"/>
        </a:defRPr>
      </a:lvl9pPr>
    </p:titleStyle>
    <p:bodyStyle>
      <a:lvl1pPr marL="342900" indent="-342900" algn="l" rtl="0" eaLnBrk="0" fontAlgn="base" hangingPunct="0">
        <a:spcBef>
          <a:spcPct val="20000"/>
        </a:spcBef>
        <a:spcAft>
          <a:spcPct val="0"/>
        </a:spcAft>
        <a:buSzPct val="120000"/>
        <a:buBlip>
          <a:blip r:embed="rId16"/>
        </a:buBlip>
        <a:defRPr sz="2400" kern="1200">
          <a:solidFill>
            <a:srgbClr val="00446A"/>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itchFamily="34" charset="0"/>
        <a:buChar char="–"/>
        <a:defRPr sz="2000" kern="1200">
          <a:solidFill>
            <a:srgbClr val="00446A"/>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itchFamily="34" charset="0"/>
        <a:buChar char="•"/>
        <a:defRPr kern="1200">
          <a:solidFill>
            <a:srgbClr val="00446A"/>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1600" kern="1200">
          <a:solidFill>
            <a:srgbClr val="00446A"/>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buChar char="»"/>
        <a:defRPr sz="1600" kern="1200">
          <a:solidFill>
            <a:srgbClr val="00446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51202" name="Rectangle 5"/>
          <p:cNvSpPr>
            <a:spLocks noChangeArrowheads="1"/>
          </p:cNvSpPr>
          <p:nvPr/>
        </p:nvSpPr>
        <p:spPr bwMode="gray">
          <a:xfrm>
            <a:off x="2162175" y="6408738"/>
            <a:ext cx="4784725" cy="247650"/>
          </a:xfrm>
          <a:prstGeom prst="rect">
            <a:avLst/>
          </a:prstGeom>
          <a:noFill/>
          <a:ln>
            <a:noFill/>
          </a:ln>
          <a:extLst>
            <a:ext uri="{909E8E84-426E-40dd-AFC4-6F175D3DCCD1}"/>
            <a:ext uri="{91240B29-F687-4f45-9708-019B960494DF}"/>
          </a:extLst>
        </p:spPr>
        <p:txBody>
          <a:bodyPr/>
          <a:lstStyle>
            <a:lvl1pPr eaLnBrk="0" hangingPunct="0">
              <a:defRPr sz="2400">
                <a:solidFill>
                  <a:schemeClr val="tx1"/>
                </a:solidFill>
                <a:latin typeface="Garamond" pitchFamily="18" charset="0"/>
                <a:ea typeface="MS PGothic" pitchFamily="34" charset="-128"/>
              </a:defRPr>
            </a:lvl1pPr>
            <a:lvl2pPr marL="742950" indent="-285750" eaLnBrk="0" hangingPunct="0">
              <a:defRPr sz="2400">
                <a:solidFill>
                  <a:schemeClr val="tx1"/>
                </a:solidFill>
                <a:latin typeface="Garamond" pitchFamily="18" charset="0"/>
                <a:ea typeface="MS PGothic" pitchFamily="34" charset="-128"/>
              </a:defRPr>
            </a:lvl2pPr>
            <a:lvl3pPr marL="1143000" indent="-228600" eaLnBrk="0" hangingPunct="0">
              <a:defRPr sz="2400">
                <a:solidFill>
                  <a:schemeClr val="tx1"/>
                </a:solidFill>
                <a:latin typeface="Garamond" pitchFamily="18" charset="0"/>
                <a:ea typeface="MS PGothic" pitchFamily="34" charset="-128"/>
              </a:defRPr>
            </a:lvl3pPr>
            <a:lvl4pPr marL="1600200" indent="-228600" eaLnBrk="0" hangingPunct="0">
              <a:defRPr sz="2400">
                <a:solidFill>
                  <a:schemeClr val="tx1"/>
                </a:solidFill>
                <a:latin typeface="Garamond" pitchFamily="18" charset="0"/>
                <a:ea typeface="MS PGothic" pitchFamily="34" charset="-128"/>
              </a:defRPr>
            </a:lvl4pPr>
            <a:lvl5pPr marL="2057400" indent="-228600" eaLnBrk="0" hangingPunct="0">
              <a:defRPr sz="2400">
                <a:solidFill>
                  <a:schemeClr val="tx1"/>
                </a:solidFill>
                <a:latin typeface="Garamond" pitchFamily="18" charset="0"/>
                <a:ea typeface="MS PGothic" pitchFamily="34" charset="-128"/>
              </a:defRPr>
            </a:lvl5pPr>
            <a:lvl6pPr marL="2514600" indent="-228600" eaLnBrk="0" fontAlgn="base" hangingPunct="0">
              <a:spcBef>
                <a:spcPct val="0"/>
              </a:spcBef>
              <a:spcAft>
                <a:spcPct val="0"/>
              </a:spcAft>
              <a:defRPr sz="2400">
                <a:solidFill>
                  <a:schemeClr val="tx1"/>
                </a:solidFill>
                <a:latin typeface="Garamond" pitchFamily="18" charset="0"/>
                <a:ea typeface="MS PGothic" pitchFamily="34" charset="-128"/>
              </a:defRPr>
            </a:lvl6pPr>
            <a:lvl7pPr marL="2971800" indent="-228600" eaLnBrk="0" fontAlgn="base" hangingPunct="0">
              <a:spcBef>
                <a:spcPct val="0"/>
              </a:spcBef>
              <a:spcAft>
                <a:spcPct val="0"/>
              </a:spcAft>
              <a:defRPr sz="2400">
                <a:solidFill>
                  <a:schemeClr val="tx1"/>
                </a:solidFill>
                <a:latin typeface="Garamond" pitchFamily="18" charset="0"/>
                <a:ea typeface="MS PGothic" pitchFamily="34" charset="-128"/>
              </a:defRPr>
            </a:lvl7pPr>
            <a:lvl8pPr marL="3429000" indent="-228600" eaLnBrk="0" fontAlgn="base" hangingPunct="0">
              <a:spcBef>
                <a:spcPct val="0"/>
              </a:spcBef>
              <a:spcAft>
                <a:spcPct val="0"/>
              </a:spcAft>
              <a:defRPr sz="2400">
                <a:solidFill>
                  <a:schemeClr val="tx1"/>
                </a:solidFill>
                <a:latin typeface="Garamond" pitchFamily="18" charset="0"/>
                <a:ea typeface="MS PGothic" pitchFamily="34" charset="-128"/>
              </a:defRPr>
            </a:lvl8pPr>
            <a:lvl9pPr marL="3886200" indent="-228600" eaLnBrk="0" fontAlgn="base" hangingPunct="0">
              <a:spcBef>
                <a:spcPct val="0"/>
              </a:spcBef>
              <a:spcAft>
                <a:spcPct val="0"/>
              </a:spcAft>
              <a:defRPr sz="2400">
                <a:solidFill>
                  <a:schemeClr val="tx1"/>
                </a:solidFill>
                <a:latin typeface="Garamond" pitchFamily="18" charset="0"/>
                <a:ea typeface="MS PGothic" pitchFamily="34" charset="-128"/>
              </a:defRPr>
            </a:lvl9pPr>
          </a:lstStyle>
          <a:p>
            <a:pPr algn="ctr" eaLnBrk="1" fontAlgn="base" hangingPunct="1">
              <a:spcBef>
                <a:spcPct val="0"/>
              </a:spcBef>
              <a:spcAft>
                <a:spcPct val="0"/>
              </a:spcAft>
              <a:defRPr/>
            </a:pPr>
            <a:endParaRPr lang="en-US" altLang="it-IT" sz="1000" smtClean="0">
              <a:solidFill>
                <a:srgbClr val="000000"/>
              </a:solidFill>
              <a:latin typeface="Arial" pitchFamily="34" charset="0"/>
            </a:endParaRPr>
          </a:p>
        </p:txBody>
      </p:sp>
      <p:sp>
        <p:nvSpPr>
          <p:cNvPr id="64515" name="Rectangle 7"/>
          <p:cNvSpPr>
            <a:spLocks noGrp="1" noChangeArrowheads="1"/>
          </p:cNvSpPr>
          <p:nvPr>
            <p:ph type="title"/>
          </p:nvPr>
        </p:nvSpPr>
        <p:spPr bwMode="gray">
          <a:xfrm>
            <a:off x="314325" y="119063"/>
            <a:ext cx="5540375"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ltLang="it-IT" smtClean="0"/>
              <a:t>Klicken Sie, um das Titelformat zu bearbeiten</a:t>
            </a:r>
          </a:p>
        </p:txBody>
      </p:sp>
      <p:sp>
        <p:nvSpPr>
          <p:cNvPr id="64516" name="Rectangle 12"/>
          <p:cNvSpPr>
            <a:spLocks noGrp="1" noChangeArrowheads="1"/>
          </p:cNvSpPr>
          <p:nvPr>
            <p:ph type="body" idx="1"/>
          </p:nvPr>
        </p:nvSpPr>
        <p:spPr bwMode="gray">
          <a:xfrm>
            <a:off x="314325" y="1614488"/>
            <a:ext cx="8524875"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ltLang="it-IT" smtClean="0"/>
              <a:t>Klicken Sie, um die Formate des Vorlagentextes zu bearbeiten</a:t>
            </a:r>
          </a:p>
          <a:p>
            <a:pPr lvl="1"/>
            <a:r>
              <a:rPr lang="de-DE" altLang="it-IT" smtClean="0"/>
              <a:t>Zweite Ebene</a:t>
            </a:r>
          </a:p>
          <a:p>
            <a:pPr lvl="2"/>
            <a:r>
              <a:rPr lang="de-DE" altLang="it-IT" smtClean="0"/>
              <a:t>Dritte Ebene</a:t>
            </a:r>
          </a:p>
          <a:p>
            <a:pPr lvl="3"/>
            <a:r>
              <a:rPr lang="de-DE" altLang="it-IT" smtClean="0"/>
              <a:t>Vierte Ebene</a:t>
            </a:r>
          </a:p>
        </p:txBody>
      </p:sp>
    </p:spTree>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Lst>
  <p:transition spd="med">
    <p:fade/>
  </p:transition>
  <p:timing>
    <p:tnLst>
      <p:par>
        <p:cTn id="1" dur="indefinite" restart="never" nodeType="tmRoot"/>
      </p:par>
    </p:tnLst>
  </p:timing>
  <p:hf sldNum="0" hdr="0" dt="0"/>
  <p:txStyles>
    <p:titleStyle>
      <a:lvl1pPr algn="l" rtl="0" eaLnBrk="0" fontAlgn="base" hangingPunct="0">
        <a:lnSpc>
          <a:spcPct val="95000"/>
        </a:lnSpc>
        <a:spcBef>
          <a:spcPct val="0"/>
        </a:spcBef>
        <a:spcAft>
          <a:spcPct val="0"/>
        </a:spcAft>
        <a:defRPr sz="2400" b="1">
          <a:solidFill>
            <a:srgbClr val="FFFFFF"/>
          </a:solidFill>
          <a:latin typeface="+mj-lt"/>
          <a:ea typeface="ＭＳ Ｐゴシック" pitchFamily="34" charset="-128"/>
          <a:cs typeface="MS PGothic" charset="0"/>
        </a:defRPr>
      </a:lvl1pPr>
      <a:lvl2pPr algn="l" rtl="0" eaLnBrk="0" fontAlgn="base" hangingPunct="0">
        <a:lnSpc>
          <a:spcPct val="95000"/>
        </a:lnSpc>
        <a:spcBef>
          <a:spcPct val="0"/>
        </a:spcBef>
        <a:spcAft>
          <a:spcPct val="0"/>
        </a:spcAft>
        <a:defRPr sz="2400" b="1">
          <a:solidFill>
            <a:srgbClr val="FFFFFF"/>
          </a:solidFill>
          <a:latin typeface="Arial" charset="0"/>
          <a:ea typeface="ＭＳ Ｐゴシック" pitchFamily="34" charset="-128"/>
          <a:cs typeface="MS PGothic" charset="0"/>
        </a:defRPr>
      </a:lvl2pPr>
      <a:lvl3pPr algn="l" rtl="0" eaLnBrk="0" fontAlgn="base" hangingPunct="0">
        <a:lnSpc>
          <a:spcPct val="95000"/>
        </a:lnSpc>
        <a:spcBef>
          <a:spcPct val="0"/>
        </a:spcBef>
        <a:spcAft>
          <a:spcPct val="0"/>
        </a:spcAft>
        <a:defRPr sz="2400" b="1">
          <a:solidFill>
            <a:srgbClr val="FFFFFF"/>
          </a:solidFill>
          <a:latin typeface="Arial" charset="0"/>
          <a:ea typeface="ＭＳ Ｐゴシック" pitchFamily="34" charset="-128"/>
          <a:cs typeface="MS PGothic" charset="0"/>
        </a:defRPr>
      </a:lvl3pPr>
      <a:lvl4pPr algn="l" rtl="0" eaLnBrk="0" fontAlgn="base" hangingPunct="0">
        <a:lnSpc>
          <a:spcPct val="95000"/>
        </a:lnSpc>
        <a:spcBef>
          <a:spcPct val="0"/>
        </a:spcBef>
        <a:spcAft>
          <a:spcPct val="0"/>
        </a:spcAft>
        <a:defRPr sz="2400" b="1">
          <a:solidFill>
            <a:srgbClr val="FFFFFF"/>
          </a:solidFill>
          <a:latin typeface="Arial" charset="0"/>
          <a:ea typeface="ＭＳ Ｐゴシック" pitchFamily="34" charset="-128"/>
          <a:cs typeface="MS PGothic" charset="0"/>
        </a:defRPr>
      </a:lvl4pPr>
      <a:lvl5pPr algn="l" rtl="0" eaLnBrk="0" fontAlgn="base" hangingPunct="0">
        <a:lnSpc>
          <a:spcPct val="95000"/>
        </a:lnSpc>
        <a:spcBef>
          <a:spcPct val="0"/>
        </a:spcBef>
        <a:spcAft>
          <a:spcPct val="0"/>
        </a:spcAft>
        <a:defRPr sz="2400" b="1">
          <a:solidFill>
            <a:srgbClr val="FFFFFF"/>
          </a:solidFill>
          <a:latin typeface="Arial" charset="0"/>
          <a:ea typeface="ＭＳ Ｐゴシック" pitchFamily="34" charset="-128"/>
          <a:cs typeface="MS PGothic" charset="0"/>
        </a:defRPr>
      </a:lvl5pPr>
      <a:lvl6pPr marL="457200" algn="l" rtl="0" fontAlgn="base">
        <a:lnSpc>
          <a:spcPct val="95000"/>
        </a:lnSpc>
        <a:spcBef>
          <a:spcPct val="0"/>
        </a:spcBef>
        <a:spcAft>
          <a:spcPct val="0"/>
        </a:spcAft>
        <a:defRPr sz="2400" b="1">
          <a:solidFill>
            <a:srgbClr val="FFFFFF"/>
          </a:solidFill>
          <a:latin typeface="Arial" charset="0"/>
          <a:cs typeface="Arial" charset="0"/>
        </a:defRPr>
      </a:lvl6pPr>
      <a:lvl7pPr marL="914400" algn="l" rtl="0" fontAlgn="base">
        <a:lnSpc>
          <a:spcPct val="95000"/>
        </a:lnSpc>
        <a:spcBef>
          <a:spcPct val="0"/>
        </a:spcBef>
        <a:spcAft>
          <a:spcPct val="0"/>
        </a:spcAft>
        <a:defRPr sz="2400" b="1">
          <a:solidFill>
            <a:srgbClr val="FFFFFF"/>
          </a:solidFill>
          <a:latin typeface="Arial" charset="0"/>
          <a:cs typeface="Arial" charset="0"/>
        </a:defRPr>
      </a:lvl7pPr>
      <a:lvl8pPr marL="1371600" algn="l" rtl="0" fontAlgn="base">
        <a:lnSpc>
          <a:spcPct val="95000"/>
        </a:lnSpc>
        <a:spcBef>
          <a:spcPct val="0"/>
        </a:spcBef>
        <a:spcAft>
          <a:spcPct val="0"/>
        </a:spcAft>
        <a:defRPr sz="2400" b="1">
          <a:solidFill>
            <a:srgbClr val="FFFFFF"/>
          </a:solidFill>
          <a:latin typeface="Arial" charset="0"/>
          <a:cs typeface="Arial" charset="0"/>
        </a:defRPr>
      </a:lvl8pPr>
      <a:lvl9pPr marL="1828800" algn="l" rtl="0" fontAlgn="base">
        <a:lnSpc>
          <a:spcPct val="95000"/>
        </a:lnSpc>
        <a:spcBef>
          <a:spcPct val="0"/>
        </a:spcBef>
        <a:spcAft>
          <a:spcPct val="0"/>
        </a:spcAft>
        <a:defRPr sz="2400" b="1">
          <a:solidFill>
            <a:srgbClr val="FFFFFF"/>
          </a:solidFill>
          <a:latin typeface="Arial" charset="0"/>
          <a:cs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000" b="1">
          <a:solidFill>
            <a:schemeClr val="tx1"/>
          </a:solidFill>
          <a:latin typeface="+mn-lt"/>
          <a:ea typeface="ＭＳ Ｐゴシック" pitchFamily="34" charset="-128"/>
          <a:cs typeface="MS PGothic" charset="0"/>
        </a:defRPr>
      </a:lvl1pPr>
      <a:lvl2pPr marL="381000" indent="-188913" algn="l" rtl="0" eaLnBrk="0" fontAlgn="base" hangingPunct="0">
        <a:spcBef>
          <a:spcPct val="30000"/>
        </a:spcBef>
        <a:spcAft>
          <a:spcPct val="0"/>
        </a:spcAft>
        <a:buClr>
          <a:schemeClr val="accent1"/>
        </a:buClr>
        <a:buChar char="-"/>
        <a:defRPr sz="2800">
          <a:solidFill>
            <a:schemeClr val="tx1"/>
          </a:solidFill>
          <a:latin typeface="+mn-lt"/>
          <a:ea typeface="ＭＳ Ｐゴシック" pitchFamily="34" charset="-128"/>
          <a:cs typeface="MS PGothic" charset="0"/>
        </a:defRPr>
      </a:lvl2pPr>
      <a:lvl3pPr marL="561975" indent="-179388" algn="l" rtl="0" eaLnBrk="0" fontAlgn="base" hangingPunct="0">
        <a:spcBef>
          <a:spcPct val="30000"/>
        </a:spcBef>
        <a:spcAft>
          <a:spcPct val="0"/>
        </a:spcAft>
        <a:buClr>
          <a:schemeClr val="accent1"/>
        </a:buClr>
        <a:buChar char="-"/>
        <a:defRPr sz="1600">
          <a:solidFill>
            <a:schemeClr val="tx1"/>
          </a:solidFill>
          <a:latin typeface="+mn-lt"/>
          <a:ea typeface="ＭＳ Ｐゴシック" pitchFamily="34" charset="-128"/>
          <a:cs typeface="MS PGothic" charset="0"/>
        </a:defRPr>
      </a:lvl3pPr>
      <a:lvl4pPr marL="768350" indent="-204788" algn="l" rtl="0" eaLnBrk="0" fontAlgn="base" hangingPunct="0">
        <a:spcBef>
          <a:spcPct val="30000"/>
        </a:spcBef>
        <a:spcAft>
          <a:spcPct val="0"/>
        </a:spcAft>
        <a:buClr>
          <a:schemeClr val="accent1"/>
        </a:buClr>
        <a:buChar char="-"/>
        <a:defRPr sz="1600">
          <a:solidFill>
            <a:schemeClr val="tx1"/>
          </a:solidFill>
          <a:latin typeface="+mn-lt"/>
          <a:ea typeface="ＭＳ Ｐゴシック" pitchFamily="34" charset="-128"/>
          <a:cs typeface="MS PGothic" charset="0"/>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ea typeface="ＭＳ Ｐゴシック" pitchFamily="34" charset="-128"/>
          <a:cs typeface="MS PGothic" charset="0"/>
        </a:defRPr>
      </a:lvl5pPr>
      <a:lvl6pPr marL="1508125" indent="-168275" algn="l" rtl="0" fontAlgn="base">
        <a:spcBef>
          <a:spcPct val="40000"/>
        </a:spcBef>
        <a:spcAft>
          <a:spcPct val="0"/>
        </a:spcAft>
        <a:buClr>
          <a:schemeClr val="accent1"/>
        </a:buClr>
        <a:buFont typeface="Wingdings" pitchFamily="2" charset="2"/>
        <a:buChar char="»"/>
        <a:defRPr sz="2000">
          <a:solidFill>
            <a:schemeClr val="tx1"/>
          </a:solidFill>
          <a:latin typeface="+mn-lt"/>
          <a:cs typeface="+mn-cs"/>
        </a:defRPr>
      </a:lvl6pPr>
      <a:lvl7pPr marL="1965325" indent="-168275" algn="l" rtl="0" fontAlgn="base">
        <a:spcBef>
          <a:spcPct val="40000"/>
        </a:spcBef>
        <a:spcAft>
          <a:spcPct val="0"/>
        </a:spcAft>
        <a:buClr>
          <a:schemeClr val="accent1"/>
        </a:buClr>
        <a:buFont typeface="Wingdings" pitchFamily="2" charset="2"/>
        <a:buChar char="»"/>
        <a:defRPr sz="2000">
          <a:solidFill>
            <a:schemeClr val="tx1"/>
          </a:solidFill>
          <a:latin typeface="+mn-lt"/>
          <a:cs typeface="+mn-cs"/>
        </a:defRPr>
      </a:lvl7pPr>
      <a:lvl8pPr marL="2422525" indent="-168275" algn="l" rtl="0" fontAlgn="base">
        <a:spcBef>
          <a:spcPct val="40000"/>
        </a:spcBef>
        <a:spcAft>
          <a:spcPct val="0"/>
        </a:spcAft>
        <a:buClr>
          <a:schemeClr val="accent1"/>
        </a:buClr>
        <a:buFont typeface="Wingdings" pitchFamily="2" charset="2"/>
        <a:buChar char="»"/>
        <a:defRPr sz="2000">
          <a:solidFill>
            <a:schemeClr val="tx1"/>
          </a:solidFill>
          <a:latin typeface="+mn-lt"/>
          <a:cs typeface="+mn-cs"/>
        </a:defRPr>
      </a:lvl8pPr>
      <a:lvl9pPr marL="2879725" indent="-168275" algn="l" rtl="0" fontAlgn="base">
        <a:spcBef>
          <a:spcPct val="40000"/>
        </a:spcBef>
        <a:spcAft>
          <a:spcPct val="0"/>
        </a:spcAft>
        <a:buClr>
          <a:schemeClr val="accent1"/>
        </a:buClr>
        <a:buFont typeface="Wingdings" pitchFamily="2" charset="2"/>
        <a:buChar char="»"/>
        <a:defRPr sz="20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2"/>
        </a:solidFill>
        <a:effectLst/>
      </p:bgPr>
    </p:bg>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custDataLst>
              <p:tags r:id="rId2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850" name="think-cell Slide" r:id="rId27" imgW="360" imgH="360" progId="">
                  <p:embed/>
                </p:oleObj>
              </mc:Choice>
              <mc:Fallback>
                <p:oleObj name="think-cell Slide" r:id="rId27" imgW="360" imgH="360" progId="">
                  <p:embed/>
                  <p:pic>
                    <p:nvPicPr>
                      <p:cNvPr id="0" name="Object 2"/>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7"/>
          <p:cNvGrpSpPr>
            <a:grpSpLocks/>
          </p:cNvGrpSpPr>
          <p:nvPr userDrawn="1">
            <p:custDataLst>
              <p:tags r:id="rId22"/>
            </p:custDataLst>
          </p:nvPr>
        </p:nvGrpSpPr>
        <p:grpSpPr bwMode="auto">
          <a:xfrm>
            <a:off x="-3175" y="1333500"/>
            <a:ext cx="9147175" cy="5524500"/>
            <a:chOff x="-2" y="922"/>
            <a:chExt cx="5762" cy="3398"/>
          </a:xfrm>
        </p:grpSpPr>
        <p:sp>
          <p:nvSpPr>
            <p:cNvPr id="5138" name="Rectangle 18"/>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5139" name="Freeform 19"/>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5140" name="Freeform 2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sp>
          <p:nvSpPr>
            <p:cNvPr id="5141" name="Freeform 21"/>
            <p:cNvSpPr>
              <a:spLocks/>
            </p:cNvSpPr>
            <p:nvPr/>
          </p:nvSpPr>
          <p:spPr bwMode="gray">
            <a:xfrm>
              <a:off x="-2" y="3358"/>
              <a:ext cx="5762" cy="684"/>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p:spPr>
          <p:txBody>
            <a:bodyPr/>
            <a:lstStyle/>
            <a:p>
              <a:pPr fontAlgn="base">
                <a:spcBef>
                  <a:spcPct val="0"/>
                </a:spcBef>
                <a:spcAft>
                  <a:spcPct val="0"/>
                </a:spcAft>
                <a:defRPr/>
              </a:pPr>
              <a:endParaRPr lang="de-DE" sz="1600">
                <a:solidFill>
                  <a:srgbClr val="6BC200"/>
                </a:solidFill>
                <a:ea typeface="ＭＳ Ｐゴシック" pitchFamily="34" charset="-128"/>
                <a:sym typeface="Wingdings" pitchFamily="2" charset="2"/>
              </a:endParaRPr>
            </a:p>
          </p:txBody>
        </p:sp>
      </p:grpSp>
      <p:sp>
        <p:nvSpPr>
          <p:cNvPr id="5123" name="Rectangle 10"/>
          <p:cNvSpPr>
            <a:spLocks noChangeArrowheads="1"/>
          </p:cNvSpPr>
          <p:nvPr>
            <p:custDataLst>
              <p:tags r:id="rId23"/>
            </p:custDataLst>
          </p:nvPr>
        </p:nvSpPr>
        <p:spPr bwMode="gray">
          <a:xfrm>
            <a:off x="9010650" y="4125913"/>
            <a:ext cx="133350" cy="700087"/>
          </a:xfrm>
          <a:prstGeom prst="rect">
            <a:avLst/>
          </a:prstGeom>
          <a:solidFill>
            <a:srgbClr val="6BC200"/>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5124" name="Rectangle 11"/>
          <p:cNvSpPr>
            <a:spLocks noChangeArrowheads="1"/>
          </p:cNvSpPr>
          <p:nvPr>
            <p:custDataLst>
              <p:tags r:id="rId24"/>
            </p:custDataLst>
          </p:nvPr>
        </p:nvSpPr>
        <p:spPr bwMode="gray">
          <a:xfrm>
            <a:off x="9010650" y="4818063"/>
            <a:ext cx="133350" cy="698500"/>
          </a:xfrm>
          <a:prstGeom prst="rect">
            <a:avLst/>
          </a:prstGeom>
          <a:solidFill>
            <a:srgbClr val="0090C5"/>
          </a:solidFill>
          <a:ln>
            <a:noFill/>
          </a:ln>
          <a:extLst/>
        </p:spPr>
        <p:txBody>
          <a:bodyPr wrap="none" anchor="ctr"/>
          <a:lstStyle/>
          <a:p>
            <a:pPr fontAlgn="base">
              <a:spcBef>
                <a:spcPct val="0"/>
              </a:spcBef>
              <a:spcAft>
                <a:spcPct val="0"/>
              </a:spcAft>
              <a:defRPr/>
            </a:pPr>
            <a:endParaRPr lang="en-GB">
              <a:solidFill>
                <a:srgbClr val="000000"/>
              </a:solidFill>
              <a:ea typeface="ＭＳ Ｐゴシック" pitchFamily="34" charset="-128"/>
              <a:cs typeface="Arial" charset="0"/>
              <a:sym typeface="Wingdings" pitchFamily="2" charset="2"/>
            </a:endParaRPr>
          </a:p>
        </p:txBody>
      </p:sp>
      <p:sp>
        <p:nvSpPr>
          <p:cNvPr id="1031" name="Rectangle 6"/>
          <p:cNvSpPr>
            <a:spLocks noGrp="1" noChangeArrowheads="1"/>
          </p:cNvSpPr>
          <p:nvPr>
            <p:ph type="title"/>
            <p:custDataLst>
              <p:tags r:id="rId25"/>
            </p:custDataLst>
          </p:nvPr>
        </p:nvSpPr>
        <p:spPr bwMode="gray">
          <a:xfrm>
            <a:off x="455613" y="346075"/>
            <a:ext cx="7069137" cy="9493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Titelmasterformat durch Klicken bearbeiten</a:t>
            </a:r>
          </a:p>
        </p:txBody>
      </p:sp>
      <p:sp>
        <p:nvSpPr>
          <p:cNvPr id="1032" name="Rectangle 7"/>
          <p:cNvSpPr>
            <a:spLocks noGrp="1" noChangeArrowheads="1"/>
          </p:cNvSpPr>
          <p:nvPr>
            <p:ph type="body" idx="1"/>
            <p:custDataLst>
              <p:tags r:id="rId26"/>
            </p:custDataLst>
          </p:nvPr>
        </p:nvSpPr>
        <p:spPr bwMode="gray">
          <a:xfrm>
            <a:off x="466725" y="1625600"/>
            <a:ext cx="8204200" cy="45339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Textmasterformate durch Klicken bearbeiten</a:t>
            </a:r>
          </a:p>
          <a:p>
            <a:pPr lvl="1"/>
            <a:r>
              <a:rPr lang="en-GB" smtClean="0"/>
              <a:t>Zweite Ebene</a:t>
            </a:r>
          </a:p>
          <a:p>
            <a:pPr lvl="2"/>
            <a:r>
              <a:rPr lang="en-GB" smtClean="0"/>
              <a:t>Dritte Ebene</a:t>
            </a:r>
          </a:p>
          <a:p>
            <a:pPr lvl="3"/>
            <a:r>
              <a:rPr lang="en-GB" smtClean="0"/>
              <a:t>Vierte Ebene</a:t>
            </a:r>
          </a:p>
          <a:p>
            <a:pPr lvl="4"/>
            <a:r>
              <a:rPr lang="en-GB" smtClean="0"/>
              <a:t>Fünfte Ebene</a:t>
            </a:r>
          </a:p>
        </p:txBody>
      </p:sp>
    </p:spTree>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 id="2147484046" r:id="rId14"/>
    <p:sldLayoutId id="2147484047" r:id="rId15"/>
    <p:sldLayoutId id="2147484048" r:id="rId16"/>
    <p:sldLayoutId id="2147484049" r:id="rId17"/>
    <p:sldLayoutId id="2147484050" r:id="rId18"/>
  </p:sldLayoutIdLst>
  <p:transition>
    <p:fade/>
  </p:transition>
  <p:timing>
    <p:tnLst>
      <p:par>
        <p:cTn id="1" dur="indefinite" restart="never" nodeType="tmRoot"/>
      </p:par>
    </p:tnLst>
  </p:timing>
  <p:hf sldNum="0" hdr="0" dt="0"/>
  <p:txStyles>
    <p:titleStyle>
      <a:lvl1pPr algn="l" rtl="0" eaLnBrk="0" fontAlgn="base" hangingPunct="0">
        <a:spcBef>
          <a:spcPct val="0"/>
        </a:spcBef>
        <a:spcAft>
          <a:spcPct val="0"/>
        </a:spcAft>
        <a:defRPr sz="2200">
          <a:solidFill>
            <a:schemeClr val="hlink"/>
          </a:solidFill>
          <a:latin typeface="+mj-lt"/>
          <a:ea typeface="+mj-ea"/>
          <a:cs typeface="+mj-cs"/>
        </a:defRPr>
      </a:lvl1pPr>
      <a:lvl2pPr algn="l" rtl="0" eaLnBrk="0" fontAlgn="base" hangingPunct="0">
        <a:spcBef>
          <a:spcPct val="0"/>
        </a:spcBef>
        <a:spcAft>
          <a:spcPct val="0"/>
        </a:spcAft>
        <a:defRPr sz="2200">
          <a:solidFill>
            <a:schemeClr val="hlink"/>
          </a:solidFill>
          <a:latin typeface="Arial" charset="0"/>
        </a:defRPr>
      </a:lvl2pPr>
      <a:lvl3pPr algn="l" rtl="0" eaLnBrk="0" fontAlgn="base" hangingPunct="0">
        <a:spcBef>
          <a:spcPct val="0"/>
        </a:spcBef>
        <a:spcAft>
          <a:spcPct val="0"/>
        </a:spcAft>
        <a:defRPr sz="2200">
          <a:solidFill>
            <a:schemeClr val="hlink"/>
          </a:solidFill>
          <a:latin typeface="Arial" charset="0"/>
        </a:defRPr>
      </a:lvl3pPr>
      <a:lvl4pPr algn="l" rtl="0" eaLnBrk="0" fontAlgn="base" hangingPunct="0">
        <a:spcBef>
          <a:spcPct val="0"/>
        </a:spcBef>
        <a:spcAft>
          <a:spcPct val="0"/>
        </a:spcAft>
        <a:defRPr sz="2200">
          <a:solidFill>
            <a:schemeClr val="hlink"/>
          </a:solidFill>
          <a:latin typeface="Arial" charset="0"/>
        </a:defRPr>
      </a:lvl4pPr>
      <a:lvl5pPr algn="l" rtl="0" eaLnBrk="0" fontAlgn="base" hangingPunct="0">
        <a:spcBef>
          <a:spcPct val="0"/>
        </a:spcBef>
        <a:spcAft>
          <a:spcPct val="0"/>
        </a:spcAft>
        <a:defRPr sz="2200">
          <a:solidFill>
            <a:schemeClr val="hlink"/>
          </a:solidFill>
          <a:latin typeface="Arial" charset="0"/>
        </a:defRPr>
      </a:lvl5pPr>
      <a:lvl6pPr marL="457200" algn="l" rtl="0" fontAlgn="base">
        <a:spcBef>
          <a:spcPct val="0"/>
        </a:spcBef>
        <a:spcAft>
          <a:spcPct val="0"/>
        </a:spcAft>
        <a:defRPr sz="2200">
          <a:solidFill>
            <a:schemeClr val="hlink"/>
          </a:solidFill>
          <a:latin typeface="Arial" charset="0"/>
        </a:defRPr>
      </a:lvl6pPr>
      <a:lvl7pPr marL="914400" algn="l" rtl="0" fontAlgn="base">
        <a:spcBef>
          <a:spcPct val="0"/>
        </a:spcBef>
        <a:spcAft>
          <a:spcPct val="0"/>
        </a:spcAft>
        <a:defRPr sz="2200">
          <a:solidFill>
            <a:schemeClr val="hlink"/>
          </a:solidFill>
          <a:latin typeface="Arial" charset="0"/>
        </a:defRPr>
      </a:lvl7pPr>
      <a:lvl8pPr marL="1371600" algn="l" rtl="0" fontAlgn="base">
        <a:spcBef>
          <a:spcPct val="0"/>
        </a:spcBef>
        <a:spcAft>
          <a:spcPct val="0"/>
        </a:spcAft>
        <a:defRPr sz="2200">
          <a:solidFill>
            <a:schemeClr val="hlink"/>
          </a:solidFill>
          <a:latin typeface="Arial" charset="0"/>
        </a:defRPr>
      </a:lvl8pPr>
      <a:lvl9pPr marL="1828800" algn="l" rtl="0" fontAlgn="base">
        <a:spcBef>
          <a:spcPct val="0"/>
        </a:spcBef>
        <a:spcAft>
          <a:spcPct val="0"/>
        </a:spcAft>
        <a:defRPr sz="2200">
          <a:solidFill>
            <a:schemeClr val="hlink"/>
          </a:solidFill>
          <a:latin typeface="Arial" charset="0"/>
        </a:defRPr>
      </a:lvl9pPr>
    </p:titleStyle>
    <p:bodyStyle>
      <a:lvl1pPr algn="l" rtl="0" eaLnBrk="0" fontAlgn="base" hangingPunct="0">
        <a:spcBef>
          <a:spcPts val="300"/>
        </a:spcBef>
        <a:spcAft>
          <a:spcPts val="600"/>
        </a:spcAft>
        <a:buClr>
          <a:schemeClr val="accent2"/>
        </a:buClr>
        <a:buFont typeface="Wingdings" pitchFamily="2" charset="2"/>
        <a:defRPr>
          <a:solidFill>
            <a:schemeClr val="hlink"/>
          </a:solidFill>
          <a:latin typeface="+mn-lt"/>
          <a:ea typeface="+mn-ea"/>
          <a:cs typeface="+mn-cs"/>
        </a:defRPr>
      </a:lvl1pPr>
      <a:lvl2pPr marL="276225" indent="-274638" algn="l" rtl="0" eaLnBrk="0" fontAlgn="base" hangingPunct="0">
        <a:spcBef>
          <a:spcPts val="300"/>
        </a:spcBef>
        <a:spcAft>
          <a:spcPts val="600"/>
        </a:spcAft>
        <a:buClr>
          <a:schemeClr val="accent2"/>
        </a:buClr>
        <a:buFont typeface="Wingdings" pitchFamily="2" charset="2"/>
        <a:buChar char="§"/>
        <a:defRPr>
          <a:solidFill>
            <a:schemeClr val="hlink"/>
          </a:solidFill>
          <a:latin typeface="+mn-lt"/>
        </a:defRPr>
      </a:lvl2pPr>
      <a:lvl3pPr marL="539750" indent="-261938" algn="l" rtl="0" eaLnBrk="0" fontAlgn="base" hangingPunct="0">
        <a:spcBef>
          <a:spcPts val="300"/>
        </a:spcBef>
        <a:spcAft>
          <a:spcPts val="600"/>
        </a:spcAft>
        <a:buClr>
          <a:schemeClr val="accent2"/>
        </a:buClr>
        <a:buFont typeface="Wingdings" pitchFamily="2" charset="2"/>
        <a:buChar char="§"/>
        <a:defRPr>
          <a:solidFill>
            <a:schemeClr val="hlink"/>
          </a:solidFill>
          <a:latin typeface="+mn-lt"/>
        </a:defRPr>
      </a:lvl3pPr>
      <a:lvl4pPr marL="806450" indent="-265113" algn="l" rtl="0" eaLnBrk="0" fontAlgn="base" hangingPunct="0">
        <a:spcBef>
          <a:spcPts val="300"/>
        </a:spcBef>
        <a:spcAft>
          <a:spcPts val="600"/>
        </a:spcAft>
        <a:buClr>
          <a:schemeClr val="accent2"/>
        </a:buClr>
        <a:buFont typeface="Wingdings" pitchFamily="2" charset="2"/>
        <a:buChar char="§"/>
        <a:defRPr>
          <a:solidFill>
            <a:schemeClr val="hlink"/>
          </a:solidFill>
          <a:latin typeface="+mn-lt"/>
        </a:defRPr>
      </a:lvl4pPr>
      <a:lvl5pPr marL="1073150" indent="-265113" algn="l" rtl="0" eaLnBrk="0" fontAlgn="base" hangingPunct="0">
        <a:spcBef>
          <a:spcPts val="300"/>
        </a:spcBef>
        <a:spcAft>
          <a:spcPts val="600"/>
        </a:spcAft>
        <a:buClr>
          <a:schemeClr val="accent2"/>
        </a:buClr>
        <a:buFont typeface="Wingdings" pitchFamily="2" charset="2"/>
        <a:buChar char="§"/>
        <a:defRPr>
          <a:solidFill>
            <a:schemeClr val="hlink"/>
          </a:solidFill>
          <a:latin typeface="+mn-lt"/>
        </a:defRPr>
      </a:lvl5pPr>
      <a:lvl6pPr marL="1530350" indent="-265113" algn="l" rtl="0" fontAlgn="base">
        <a:spcBef>
          <a:spcPts val="300"/>
        </a:spcBef>
        <a:spcAft>
          <a:spcPts val="600"/>
        </a:spcAft>
        <a:buClr>
          <a:schemeClr val="accent2"/>
        </a:buClr>
        <a:buFont typeface="Wingdings" pitchFamily="2" charset="2"/>
        <a:buChar char="§"/>
        <a:defRPr>
          <a:solidFill>
            <a:schemeClr val="hlink"/>
          </a:solidFill>
          <a:latin typeface="+mn-lt"/>
        </a:defRPr>
      </a:lvl6pPr>
      <a:lvl7pPr marL="1987550" indent="-265113" algn="l" rtl="0" fontAlgn="base">
        <a:spcBef>
          <a:spcPts val="300"/>
        </a:spcBef>
        <a:spcAft>
          <a:spcPts val="600"/>
        </a:spcAft>
        <a:buClr>
          <a:schemeClr val="accent2"/>
        </a:buClr>
        <a:buFont typeface="Wingdings" pitchFamily="2" charset="2"/>
        <a:buChar char="§"/>
        <a:defRPr>
          <a:solidFill>
            <a:schemeClr val="hlink"/>
          </a:solidFill>
          <a:latin typeface="+mn-lt"/>
        </a:defRPr>
      </a:lvl7pPr>
      <a:lvl8pPr marL="2444750" indent="-265113" algn="l" rtl="0" fontAlgn="base">
        <a:spcBef>
          <a:spcPts val="300"/>
        </a:spcBef>
        <a:spcAft>
          <a:spcPts val="600"/>
        </a:spcAft>
        <a:buClr>
          <a:schemeClr val="accent2"/>
        </a:buClr>
        <a:buFont typeface="Wingdings" pitchFamily="2" charset="2"/>
        <a:buChar char="§"/>
        <a:defRPr>
          <a:solidFill>
            <a:schemeClr val="hlink"/>
          </a:solidFill>
          <a:latin typeface="+mn-lt"/>
        </a:defRPr>
      </a:lvl8pPr>
      <a:lvl9pPr marL="2901950" indent="-265113" algn="l" rtl="0" fontAlgn="base">
        <a:spcBef>
          <a:spcPts val="300"/>
        </a:spcBef>
        <a:spcAft>
          <a:spcPts val="600"/>
        </a:spcAft>
        <a:buClr>
          <a:schemeClr val="accent2"/>
        </a:buClr>
        <a:buFont typeface="Wingdings" pitchFamily="2" charset="2"/>
        <a:buChar char="§"/>
        <a:defRPr>
          <a:solidFill>
            <a:schemeClr val="hlink"/>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62"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smtClean="0"/>
              <a:t>Fare clic per modificare lo stile del titolo</a:t>
            </a:r>
          </a:p>
        </p:txBody>
      </p:sp>
      <p:sp>
        <p:nvSpPr>
          <p:cNvPr id="245763"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Arial" charset="0"/>
                <a:ea typeface="+mn-ea"/>
                <a:cs typeface="+mn-cs"/>
              </a:defRPr>
            </a:lvl1pPr>
          </a:lstStyle>
          <a:p>
            <a:pPr fontAlgn="base">
              <a:spcBef>
                <a:spcPct val="0"/>
              </a:spcBef>
              <a:spcAft>
                <a:spcPct val="0"/>
              </a:spcAft>
              <a:defRPr/>
            </a:pPr>
            <a:endParaRPr lang="it-IT"/>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Arial" charset="0"/>
                <a:ea typeface="+mn-ea"/>
                <a:cs typeface="+mn-cs"/>
              </a:defRPr>
            </a:lvl1pPr>
          </a:lstStyle>
          <a:p>
            <a:pPr fontAlgn="base">
              <a:spcBef>
                <a:spcPct val="0"/>
              </a:spcBef>
              <a:spcAft>
                <a:spcPct val="0"/>
              </a:spcAft>
              <a:defRPr/>
            </a:pPr>
            <a:endParaRPr lang="it-IT"/>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Arial" charset="0"/>
                <a:ea typeface="+mn-ea"/>
                <a:cs typeface="+mn-cs"/>
              </a:defRPr>
            </a:lvl1pPr>
          </a:lstStyle>
          <a:p>
            <a:pPr fontAlgn="base">
              <a:spcBef>
                <a:spcPct val="0"/>
              </a:spcBef>
              <a:spcAft>
                <a:spcPct val="0"/>
              </a:spcAft>
              <a:defRPr/>
            </a:pPr>
            <a:fld id="{6523261E-9D46-4BF8-B25B-7C28744CA1DB}" type="slidenum">
              <a:rPr lang="it-IT"/>
              <a:pPr fontAlgn="base">
                <a:spcBef>
                  <a:spcPct val="0"/>
                </a:spcBef>
                <a:spcAft>
                  <a:spcPct val="0"/>
                </a:spcAft>
                <a:defRPr/>
              </a:pPr>
              <a:t>‹N›</a:t>
            </a:fld>
            <a:endParaRPr lang="it-IT"/>
          </a:p>
        </p:txBody>
      </p:sp>
    </p:spTree>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9618"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239619"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7" name="Rectangle 4"/>
          <p:cNvSpPr>
            <a:spLocks noGrp="1" noChangeArrowheads="1"/>
          </p:cNvSpPr>
          <p:nvPr>
            <p:ph type="dt" sz="half" idx="2"/>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b="1">
                <a:solidFill>
                  <a:srgbClr val="000000"/>
                </a:solidFill>
                <a:latin typeface="+mn-lt"/>
                <a:ea typeface="+mn-ea"/>
                <a:cs typeface="+mn-cs"/>
              </a:defRPr>
            </a:lvl1pPr>
          </a:lstStyle>
          <a:p>
            <a:pPr fontAlgn="base">
              <a:spcBef>
                <a:spcPct val="0"/>
              </a:spcBef>
              <a:spcAft>
                <a:spcPct val="0"/>
              </a:spcAft>
              <a:defRPr/>
            </a:pPr>
            <a:endParaRPr lang="fr-FR"/>
          </a:p>
        </p:txBody>
      </p:sp>
      <p:sp>
        <p:nvSpPr>
          <p:cNvPr id="8" name="Rectangle 5"/>
          <p:cNvSpPr>
            <a:spLocks noGrp="1" noChangeArrowheads="1"/>
          </p:cNvSpPr>
          <p:nvPr>
            <p:ph type="ftr" sz="quarter" idx="3"/>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b="1">
                <a:solidFill>
                  <a:srgbClr val="000000"/>
                </a:solidFill>
                <a:latin typeface="+mn-lt"/>
                <a:ea typeface="+mn-ea"/>
                <a:cs typeface="+mn-cs"/>
              </a:defRPr>
            </a:lvl1pPr>
          </a:lstStyle>
          <a:p>
            <a:pPr fontAlgn="base">
              <a:spcBef>
                <a:spcPct val="0"/>
              </a:spcBef>
              <a:spcAft>
                <a:spcPct val="0"/>
              </a:spcAft>
              <a:defRPr/>
            </a:pPr>
            <a:endParaRPr lang="fr-FR"/>
          </a:p>
        </p:txBody>
      </p:sp>
      <p:sp>
        <p:nvSpPr>
          <p:cNvPr id="9" name="Rectangle 6"/>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b="1">
                <a:solidFill>
                  <a:srgbClr val="000000"/>
                </a:solidFill>
                <a:latin typeface="+mn-lt"/>
                <a:ea typeface="+mn-ea"/>
                <a:cs typeface="+mn-cs"/>
              </a:defRPr>
            </a:lvl1pPr>
          </a:lstStyle>
          <a:p>
            <a:pPr fontAlgn="base">
              <a:spcBef>
                <a:spcPct val="0"/>
              </a:spcBef>
              <a:spcAft>
                <a:spcPct val="0"/>
              </a:spcAft>
              <a:defRPr/>
            </a:pPr>
            <a:fld id="{BD8233BC-4047-4614-8A22-F1D701FE7498}" type="slidenum">
              <a:rPr lang="fr-FR"/>
              <a:pPr fontAlgn="base">
                <a:spcBef>
                  <a:spcPct val="0"/>
                </a:spcBef>
                <a:spcAft>
                  <a:spcPct val="0"/>
                </a:spcAft>
                <a:defRPr/>
              </a:pPr>
              <a:t>‹N›</a:t>
            </a:fld>
            <a:endParaRPr lang="fr-FR"/>
          </a:p>
        </p:txBody>
      </p:sp>
    </p:spTree>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6786"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smtClean="0"/>
              <a:t>Fare clic per modificare lo stile del titolo dello schema</a:t>
            </a:r>
          </a:p>
        </p:txBody>
      </p:sp>
      <p:sp>
        <p:nvSpPr>
          <p:cNvPr id="24678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457732"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b="0">
                <a:solidFill>
                  <a:srgbClr val="000000"/>
                </a:solidFill>
                <a:latin typeface="Times New Roman" pitchFamily="18" charset="0"/>
                <a:ea typeface="+mn-ea"/>
                <a:cs typeface="Arial" pitchFamily="34" charset="0"/>
              </a:defRPr>
            </a:lvl1pPr>
          </a:lstStyle>
          <a:p>
            <a:pPr fontAlgn="base">
              <a:spcBef>
                <a:spcPct val="0"/>
              </a:spcBef>
              <a:spcAft>
                <a:spcPct val="0"/>
              </a:spcAft>
              <a:defRPr/>
            </a:pPr>
            <a:fld id="{D4814C1D-22B6-4EEB-A956-845CBDBA1907}" type="datetimeFigureOut">
              <a:rPr lang="it-IT"/>
              <a:pPr fontAlgn="base">
                <a:spcBef>
                  <a:spcPct val="0"/>
                </a:spcBef>
                <a:spcAft>
                  <a:spcPct val="0"/>
                </a:spcAft>
                <a:defRPr/>
              </a:pPr>
              <a:t>18/05/2017</a:t>
            </a:fld>
            <a:endParaRPr lang="it-IT"/>
          </a:p>
        </p:txBody>
      </p:sp>
      <p:sp>
        <p:nvSpPr>
          <p:cNvPr id="457733"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b="0">
                <a:solidFill>
                  <a:srgbClr val="000000"/>
                </a:solidFill>
                <a:latin typeface="Times New Roman" pitchFamily="18" charset="0"/>
                <a:ea typeface="+mn-ea"/>
                <a:cs typeface="Arial" pitchFamily="34" charset="0"/>
              </a:defRPr>
            </a:lvl1pPr>
          </a:lstStyle>
          <a:p>
            <a:pPr fontAlgn="base">
              <a:spcBef>
                <a:spcPct val="0"/>
              </a:spcBef>
              <a:spcAft>
                <a:spcPct val="0"/>
              </a:spcAft>
              <a:defRPr/>
            </a:pPr>
            <a:endParaRPr lang="it-IT"/>
          </a:p>
        </p:txBody>
      </p:sp>
      <p:sp>
        <p:nvSpPr>
          <p:cNvPr id="457734"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b="0">
                <a:solidFill>
                  <a:srgbClr val="000000"/>
                </a:solidFill>
                <a:latin typeface="Times New Roman" pitchFamily="18" charset="0"/>
                <a:ea typeface="+mn-ea"/>
                <a:cs typeface="Arial" pitchFamily="34" charset="0"/>
              </a:defRPr>
            </a:lvl1pPr>
          </a:lstStyle>
          <a:p>
            <a:pPr fontAlgn="base">
              <a:spcBef>
                <a:spcPct val="0"/>
              </a:spcBef>
              <a:spcAft>
                <a:spcPct val="0"/>
              </a:spcAft>
              <a:defRPr/>
            </a:pPr>
            <a:fld id="{F8C37588-10CA-4C81-B57C-306C716E61A8}" type="slidenum">
              <a:rPr lang="it-IT"/>
              <a:pPr fontAlgn="base">
                <a:spcBef>
                  <a:spcPct val="0"/>
                </a:spcBef>
                <a:spcAft>
                  <a:spcPct val="0"/>
                </a:spcAft>
                <a:defRPr/>
              </a:pPr>
              <a:t>‹N›</a:t>
            </a:fld>
            <a:endParaRPr lang="it-IT"/>
          </a:p>
        </p:txBody>
      </p:sp>
    </p:spTree>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Ls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cs typeface="Arial" pitchFamily="34" charset="0"/>
        </a:defRPr>
      </a:lvl2pPr>
      <a:lvl3pPr algn="ctr" rtl="0" eaLnBrk="0" fontAlgn="base" hangingPunct="0">
        <a:spcBef>
          <a:spcPct val="0"/>
        </a:spcBef>
        <a:spcAft>
          <a:spcPct val="0"/>
        </a:spcAft>
        <a:defRPr sz="4400">
          <a:solidFill>
            <a:schemeClr val="tx2"/>
          </a:solidFill>
          <a:latin typeface="Times New Roman" pitchFamily="18" charset="0"/>
          <a:cs typeface="Arial" pitchFamily="34" charset="0"/>
        </a:defRPr>
      </a:lvl3pPr>
      <a:lvl4pPr algn="ctr" rtl="0" eaLnBrk="0" fontAlgn="base" hangingPunct="0">
        <a:spcBef>
          <a:spcPct val="0"/>
        </a:spcBef>
        <a:spcAft>
          <a:spcPct val="0"/>
        </a:spcAft>
        <a:defRPr sz="4400">
          <a:solidFill>
            <a:schemeClr val="tx2"/>
          </a:solidFill>
          <a:latin typeface="Times New Roman" pitchFamily="18" charset="0"/>
          <a:cs typeface="Arial" pitchFamily="34" charset="0"/>
        </a:defRPr>
      </a:lvl4pPr>
      <a:lvl5pPr algn="ctr" rtl="0" eaLnBrk="0" fontAlgn="base" hangingPunct="0">
        <a:spcBef>
          <a:spcPct val="0"/>
        </a:spcBef>
        <a:spcAft>
          <a:spcPct val="0"/>
        </a:spcAft>
        <a:defRPr sz="4400">
          <a:solidFill>
            <a:schemeClr val="tx2"/>
          </a:solidFill>
          <a:latin typeface="Times New Roman" pitchFamily="18" charset="0"/>
          <a:cs typeface="Arial" pitchFamily="34" charset="0"/>
        </a:defRPr>
      </a:lvl5pPr>
      <a:lvl6pPr marL="457200" algn="ctr" rtl="0" fontAlgn="base">
        <a:spcBef>
          <a:spcPct val="0"/>
        </a:spcBef>
        <a:spcAft>
          <a:spcPct val="0"/>
        </a:spcAft>
        <a:defRPr sz="4400">
          <a:solidFill>
            <a:schemeClr val="tx2"/>
          </a:solidFill>
          <a:latin typeface="Times New Roman" pitchFamily="18" charset="0"/>
          <a:cs typeface="Arial" pitchFamily="34" charset="0"/>
        </a:defRPr>
      </a:lvl6pPr>
      <a:lvl7pPr marL="914400" algn="ctr" rtl="0" fontAlgn="base">
        <a:spcBef>
          <a:spcPct val="0"/>
        </a:spcBef>
        <a:spcAft>
          <a:spcPct val="0"/>
        </a:spcAft>
        <a:defRPr sz="4400">
          <a:solidFill>
            <a:schemeClr val="tx2"/>
          </a:solidFill>
          <a:latin typeface="Times New Roman" pitchFamily="18" charset="0"/>
          <a:cs typeface="Arial" pitchFamily="34" charset="0"/>
        </a:defRPr>
      </a:lvl7pPr>
      <a:lvl8pPr marL="1371600" algn="ctr" rtl="0" fontAlgn="base">
        <a:spcBef>
          <a:spcPct val="0"/>
        </a:spcBef>
        <a:spcAft>
          <a:spcPct val="0"/>
        </a:spcAft>
        <a:defRPr sz="4400">
          <a:solidFill>
            <a:schemeClr val="tx2"/>
          </a:solidFill>
          <a:latin typeface="Times New Roman" pitchFamily="18" charset="0"/>
          <a:cs typeface="Arial" pitchFamily="34" charset="0"/>
        </a:defRPr>
      </a:lvl8pPr>
      <a:lvl9pPr marL="1828800" algn="ctr" rtl="0" fontAlgn="base">
        <a:spcBef>
          <a:spcPct val="0"/>
        </a:spcBef>
        <a:spcAft>
          <a:spcPct val="0"/>
        </a:spcAft>
        <a:defRPr sz="4400">
          <a:solidFill>
            <a:schemeClr val="tx2"/>
          </a:solidFill>
          <a:latin typeface="Times New Roman" pitchFamily="18" charset="0"/>
          <a:cs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04" tIns="45702" rIns="91404" bIns="45702" numCol="1" anchor="ctr" anchorCtr="0" compatLnSpc="1">
            <a:prstTxWarp prst="textNoShape">
              <a:avLst/>
            </a:prstTxWarp>
          </a:bodyPr>
          <a:lstStyle/>
          <a:p>
            <a:pPr lvl="0"/>
            <a:r>
              <a:rPr lang="it-IT" smtClean="0"/>
              <a:t>Fare clic per modificare lo stile del titolo dello schema</a:t>
            </a:r>
          </a:p>
        </p:txBody>
      </p:sp>
      <p:sp>
        <p:nvSpPr>
          <p:cNvPr id="29699"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04" tIns="45702" rIns="91404" bIns="45702"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489476"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04" tIns="45702" rIns="91404" bIns="45702" numCol="1" anchor="t" anchorCtr="0" compatLnSpc="1">
            <a:prstTxWarp prst="textNoShape">
              <a:avLst/>
            </a:prstTxWarp>
          </a:bodyPr>
          <a:lstStyle>
            <a:lvl1pPr>
              <a:defRPr sz="1400" b="0">
                <a:solidFill>
                  <a:srgbClr val="000000"/>
                </a:solidFill>
                <a:cs typeface="+mn-cs"/>
              </a:defRPr>
            </a:lvl1pPr>
          </a:lstStyle>
          <a:p>
            <a:pPr fontAlgn="base">
              <a:spcBef>
                <a:spcPct val="0"/>
              </a:spcBef>
              <a:spcAft>
                <a:spcPct val="0"/>
              </a:spcAft>
              <a:defRPr/>
            </a:pPr>
            <a:endParaRPr lang="it-IT"/>
          </a:p>
        </p:txBody>
      </p:sp>
      <p:sp>
        <p:nvSpPr>
          <p:cNvPr id="489477"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04" tIns="45702" rIns="91404" bIns="45702" numCol="1" anchor="t" anchorCtr="0" compatLnSpc="1">
            <a:prstTxWarp prst="textNoShape">
              <a:avLst/>
            </a:prstTxWarp>
          </a:bodyPr>
          <a:lstStyle>
            <a:lvl1pPr algn="ctr">
              <a:defRPr sz="1400" b="0">
                <a:solidFill>
                  <a:srgbClr val="000000"/>
                </a:solidFill>
                <a:cs typeface="+mn-cs"/>
              </a:defRPr>
            </a:lvl1pPr>
          </a:lstStyle>
          <a:p>
            <a:pPr fontAlgn="base">
              <a:spcBef>
                <a:spcPct val="0"/>
              </a:spcBef>
              <a:spcAft>
                <a:spcPct val="0"/>
              </a:spcAft>
              <a:defRPr/>
            </a:pPr>
            <a:endParaRPr lang="it-IT"/>
          </a:p>
        </p:txBody>
      </p:sp>
      <p:sp>
        <p:nvSpPr>
          <p:cNvPr id="489478"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04" tIns="45702" rIns="91404" bIns="45702" numCol="1" anchor="t" anchorCtr="0" compatLnSpc="1">
            <a:prstTxWarp prst="textNoShape">
              <a:avLst/>
            </a:prstTxWarp>
          </a:bodyPr>
          <a:lstStyle>
            <a:lvl1pPr algn="r">
              <a:defRPr sz="1400" b="0">
                <a:solidFill>
                  <a:srgbClr val="000000"/>
                </a:solidFill>
                <a:cs typeface="+mn-cs"/>
              </a:defRPr>
            </a:lvl1pPr>
          </a:lstStyle>
          <a:p>
            <a:pPr fontAlgn="base">
              <a:spcBef>
                <a:spcPct val="0"/>
              </a:spcBef>
              <a:spcAft>
                <a:spcPct val="0"/>
              </a:spcAft>
              <a:defRPr/>
            </a:pPr>
            <a:fld id="{D6B82A91-F915-4B54-A44E-BA265129AE47}" type="slidenum">
              <a:rPr lang="it-IT"/>
              <a:pPr fontAlgn="base">
                <a:spcBef>
                  <a:spcPct val="0"/>
                </a:spcBef>
                <a:spcAft>
                  <a:spcPct val="0"/>
                </a:spcAft>
                <a:defRPr/>
              </a:pPr>
              <a:t>‹N›</a:t>
            </a:fld>
            <a:endParaRPr lang="it-IT"/>
          </a:p>
        </p:txBody>
      </p:sp>
    </p:spTree>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txStyles>
    <p:titleStyle>
      <a:lvl1pPr algn="ctr" rtl="0" eaLnBrk="0" fontAlgn="base" hangingPunct="0">
        <a:spcBef>
          <a:spcPct val="0"/>
        </a:spcBef>
        <a:spcAft>
          <a:spcPct val="0"/>
        </a:spcAft>
        <a:defRPr sz="4300">
          <a:solidFill>
            <a:schemeClr val="tx2"/>
          </a:solidFill>
          <a:latin typeface="+mj-lt"/>
          <a:ea typeface="+mj-ea"/>
          <a:cs typeface="+mj-cs"/>
        </a:defRPr>
      </a:lvl1pPr>
      <a:lvl2pPr algn="ctr" rtl="0" eaLnBrk="0" fontAlgn="base" hangingPunct="0">
        <a:spcBef>
          <a:spcPct val="0"/>
        </a:spcBef>
        <a:spcAft>
          <a:spcPct val="0"/>
        </a:spcAft>
        <a:defRPr sz="4300">
          <a:solidFill>
            <a:schemeClr val="tx2"/>
          </a:solidFill>
          <a:latin typeface="Times New Roman" pitchFamily="18" charset="0"/>
        </a:defRPr>
      </a:lvl2pPr>
      <a:lvl3pPr algn="ctr" rtl="0" eaLnBrk="0" fontAlgn="base" hangingPunct="0">
        <a:spcBef>
          <a:spcPct val="0"/>
        </a:spcBef>
        <a:spcAft>
          <a:spcPct val="0"/>
        </a:spcAft>
        <a:defRPr sz="4300">
          <a:solidFill>
            <a:schemeClr val="tx2"/>
          </a:solidFill>
          <a:latin typeface="Times New Roman" pitchFamily="18" charset="0"/>
        </a:defRPr>
      </a:lvl3pPr>
      <a:lvl4pPr algn="ctr" rtl="0" eaLnBrk="0" fontAlgn="base" hangingPunct="0">
        <a:spcBef>
          <a:spcPct val="0"/>
        </a:spcBef>
        <a:spcAft>
          <a:spcPct val="0"/>
        </a:spcAft>
        <a:defRPr sz="4300">
          <a:solidFill>
            <a:schemeClr val="tx2"/>
          </a:solidFill>
          <a:latin typeface="Times New Roman" pitchFamily="18" charset="0"/>
        </a:defRPr>
      </a:lvl4pPr>
      <a:lvl5pPr algn="ctr" rtl="0" eaLnBrk="0" fontAlgn="base" hangingPunct="0">
        <a:spcBef>
          <a:spcPct val="0"/>
        </a:spcBef>
        <a:spcAft>
          <a:spcPct val="0"/>
        </a:spcAft>
        <a:defRPr sz="4300">
          <a:solidFill>
            <a:schemeClr val="tx2"/>
          </a:solidFill>
          <a:latin typeface="Times New Roman" pitchFamily="18" charset="0"/>
        </a:defRPr>
      </a:lvl5pPr>
      <a:lvl6pPr marL="457200" algn="ctr" rtl="0" fontAlgn="base">
        <a:spcBef>
          <a:spcPct val="0"/>
        </a:spcBef>
        <a:spcAft>
          <a:spcPct val="0"/>
        </a:spcAft>
        <a:defRPr sz="4300">
          <a:solidFill>
            <a:schemeClr val="tx2"/>
          </a:solidFill>
          <a:latin typeface="Times New Roman" pitchFamily="18" charset="0"/>
        </a:defRPr>
      </a:lvl6pPr>
      <a:lvl7pPr marL="914400" algn="ctr" rtl="0" fontAlgn="base">
        <a:spcBef>
          <a:spcPct val="0"/>
        </a:spcBef>
        <a:spcAft>
          <a:spcPct val="0"/>
        </a:spcAft>
        <a:defRPr sz="4300">
          <a:solidFill>
            <a:schemeClr val="tx2"/>
          </a:solidFill>
          <a:latin typeface="Times New Roman" pitchFamily="18" charset="0"/>
        </a:defRPr>
      </a:lvl7pPr>
      <a:lvl8pPr marL="1371600" algn="ctr" rtl="0" fontAlgn="base">
        <a:spcBef>
          <a:spcPct val="0"/>
        </a:spcBef>
        <a:spcAft>
          <a:spcPct val="0"/>
        </a:spcAft>
        <a:defRPr sz="4300">
          <a:solidFill>
            <a:schemeClr val="tx2"/>
          </a:solidFill>
          <a:latin typeface="Times New Roman" pitchFamily="18" charset="0"/>
        </a:defRPr>
      </a:lvl8pPr>
      <a:lvl9pPr marL="1828800" algn="ctr" rtl="0" fontAlgn="base">
        <a:spcBef>
          <a:spcPct val="0"/>
        </a:spcBef>
        <a:spcAft>
          <a:spcPct val="0"/>
        </a:spcAft>
        <a:defRPr sz="43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p:nvSpPr>
        <p:spPr>
          <a:xfrm>
            <a:off x="0" y="0"/>
            <a:ext cx="9144000" cy="1400175"/>
          </a:xfrm>
          <a:prstGeom prst="rect">
            <a:avLst/>
          </a:prstGeom>
          <a:solidFill>
            <a:srgbClr val="00446A"/>
          </a:solidFill>
          <a:ln w="9525" cap="flat" cmpd="sng" algn="ctr">
            <a:noFill/>
            <a:prstDash val="solid"/>
          </a:ln>
          <a:effectLst>
            <a:outerShdw blurRad="40000" dist="23000" dir="5400000" rotWithShape="0">
              <a:srgbClr val="000000">
                <a:alpha val="35000"/>
              </a:srgbClr>
            </a:outerShdw>
          </a:effectLst>
        </p:spPr>
        <p:txBody>
          <a:bodyPr anchor="ctr"/>
          <a:lstStyle/>
          <a:p>
            <a:pPr algn="ctr" fontAlgn="base">
              <a:spcBef>
                <a:spcPct val="0"/>
              </a:spcBef>
              <a:spcAft>
                <a:spcPct val="0"/>
              </a:spcAft>
              <a:defRPr/>
            </a:pPr>
            <a:endParaRPr lang="en-US">
              <a:solidFill>
                <a:srgbClr val="FFFFFF"/>
              </a:solidFill>
              <a:cs typeface="Arial" charset="0"/>
            </a:endParaRPr>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pic>
        <p:nvPicPr>
          <p:cNvPr id="3076" name="Picture 8" descr="SlideCorner.png"/>
          <p:cNvPicPr>
            <a:picLocks noChangeAspect="1"/>
          </p:cNvPicPr>
          <p:nvPr/>
        </p:nvPicPr>
        <p:blipFill>
          <a:blip r:embed="rId15" cstate="print"/>
          <a:srcRect/>
          <a:stretch>
            <a:fillRect/>
          </a:stretch>
        </p:blipFill>
        <p:spPr bwMode="auto">
          <a:xfrm>
            <a:off x="0" y="3630613"/>
            <a:ext cx="4284663" cy="3235325"/>
          </a:xfrm>
          <a:prstGeom prst="rect">
            <a:avLst/>
          </a:prstGeom>
          <a:noFill/>
          <a:ln w="9525">
            <a:noFill/>
            <a:miter lim="800000"/>
            <a:headEnd/>
            <a:tailEnd/>
          </a:ln>
        </p:spPr>
      </p:pic>
      <p:sp>
        <p:nvSpPr>
          <p:cNvPr id="3077" name="Title Placeholder 15"/>
          <p:cNvSpPr>
            <a:spLocks noGrp="1"/>
          </p:cNvSpPr>
          <p:nvPr>
            <p:ph type="title"/>
          </p:nvPr>
        </p:nvSpPr>
        <p:spPr bwMode="auto">
          <a:xfrm>
            <a:off x="457200" y="115888"/>
            <a:ext cx="8229600" cy="12255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Tree>
    <p:extLst>
      <p:ext uri="{BB962C8B-B14F-4D97-AF65-F5344CB8AC3E}">
        <p14:creationId xmlns:p14="http://schemas.microsoft.com/office/powerpoint/2010/main" val="187271969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rtl="0" eaLnBrk="0" fontAlgn="base" hangingPunct="0">
        <a:spcBef>
          <a:spcPct val="0"/>
        </a:spcBef>
        <a:spcAft>
          <a:spcPct val="0"/>
        </a:spcAft>
        <a:defRPr sz="2800" b="1" kern="1200">
          <a:solidFill>
            <a:schemeClr val="bg1"/>
          </a:solidFill>
          <a:latin typeface="Arial" pitchFamily="34" charset="0"/>
          <a:ea typeface="+mj-ea"/>
          <a:cs typeface="Arial" pitchFamily="34" charset="0"/>
        </a:defRPr>
      </a:lvl1pPr>
      <a:lvl2pPr algn="l" rtl="0" eaLnBrk="0" fontAlgn="base" hangingPunct="0">
        <a:spcBef>
          <a:spcPct val="0"/>
        </a:spcBef>
        <a:spcAft>
          <a:spcPct val="0"/>
        </a:spcAft>
        <a:defRPr sz="2800" b="1">
          <a:solidFill>
            <a:schemeClr val="bg1"/>
          </a:solidFill>
          <a:latin typeface="Arial" charset="0"/>
          <a:cs typeface="Arial" charset="0"/>
        </a:defRPr>
      </a:lvl2pPr>
      <a:lvl3pPr algn="l" rtl="0" eaLnBrk="0" fontAlgn="base" hangingPunct="0">
        <a:spcBef>
          <a:spcPct val="0"/>
        </a:spcBef>
        <a:spcAft>
          <a:spcPct val="0"/>
        </a:spcAft>
        <a:defRPr sz="2800" b="1">
          <a:solidFill>
            <a:schemeClr val="bg1"/>
          </a:solidFill>
          <a:latin typeface="Arial" charset="0"/>
          <a:cs typeface="Arial" charset="0"/>
        </a:defRPr>
      </a:lvl3pPr>
      <a:lvl4pPr algn="l" rtl="0" eaLnBrk="0" fontAlgn="base" hangingPunct="0">
        <a:spcBef>
          <a:spcPct val="0"/>
        </a:spcBef>
        <a:spcAft>
          <a:spcPct val="0"/>
        </a:spcAft>
        <a:defRPr sz="2800" b="1">
          <a:solidFill>
            <a:schemeClr val="bg1"/>
          </a:solidFill>
          <a:latin typeface="Arial" charset="0"/>
          <a:cs typeface="Arial" charset="0"/>
        </a:defRPr>
      </a:lvl4pPr>
      <a:lvl5pPr algn="l" rtl="0" eaLnBrk="0" fontAlgn="base" hangingPunct="0">
        <a:spcBef>
          <a:spcPct val="0"/>
        </a:spcBef>
        <a:spcAft>
          <a:spcPct val="0"/>
        </a:spcAft>
        <a:defRPr sz="2800" b="1">
          <a:solidFill>
            <a:schemeClr val="bg1"/>
          </a:solidFill>
          <a:latin typeface="Arial" charset="0"/>
          <a:cs typeface="Arial" charset="0"/>
        </a:defRPr>
      </a:lvl5pPr>
      <a:lvl6pPr marL="457200" algn="l" rtl="0" fontAlgn="base">
        <a:spcBef>
          <a:spcPct val="0"/>
        </a:spcBef>
        <a:spcAft>
          <a:spcPct val="0"/>
        </a:spcAft>
        <a:defRPr sz="3200" b="1">
          <a:solidFill>
            <a:schemeClr val="bg1"/>
          </a:solidFill>
          <a:latin typeface="Arial" charset="0"/>
          <a:cs typeface="Arial" charset="0"/>
        </a:defRPr>
      </a:lvl6pPr>
      <a:lvl7pPr marL="914400" algn="l" rtl="0" fontAlgn="base">
        <a:spcBef>
          <a:spcPct val="0"/>
        </a:spcBef>
        <a:spcAft>
          <a:spcPct val="0"/>
        </a:spcAft>
        <a:defRPr sz="3200" b="1">
          <a:solidFill>
            <a:schemeClr val="bg1"/>
          </a:solidFill>
          <a:latin typeface="Arial" charset="0"/>
          <a:cs typeface="Arial" charset="0"/>
        </a:defRPr>
      </a:lvl7pPr>
      <a:lvl8pPr marL="1371600" algn="l" rtl="0" fontAlgn="base">
        <a:spcBef>
          <a:spcPct val="0"/>
        </a:spcBef>
        <a:spcAft>
          <a:spcPct val="0"/>
        </a:spcAft>
        <a:defRPr sz="3200" b="1">
          <a:solidFill>
            <a:schemeClr val="bg1"/>
          </a:solidFill>
          <a:latin typeface="Arial" charset="0"/>
          <a:cs typeface="Arial" charset="0"/>
        </a:defRPr>
      </a:lvl8pPr>
      <a:lvl9pPr marL="1828800" algn="l" rtl="0" fontAlgn="base">
        <a:spcBef>
          <a:spcPct val="0"/>
        </a:spcBef>
        <a:spcAft>
          <a:spcPct val="0"/>
        </a:spcAft>
        <a:defRPr sz="3200" b="1">
          <a:solidFill>
            <a:schemeClr val="bg1"/>
          </a:solidFill>
          <a:latin typeface="Arial" charset="0"/>
          <a:cs typeface="Arial" charset="0"/>
        </a:defRPr>
      </a:lvl9pPr>
    </p:titleStyle>
    <p:bodyStyle>
      <a:lvl1pPr marL="342900" indent="-342900" algn="l" rtl="0" eaLnBrk="0" fontAlgn="base" hangingPunct="0">
        <a:spcBef>
          <a:spcPct val="20000"/>
        </a:spcBef>
        <a:spcAft>
          <a:spcPct val="0"/>
        </a:spcAft>
        <a:buSzPct val="120000"/>
        <a:buBlip>
          <a:blip r:embed="rId16"/>
        </a:buBlip>
        <a:defRPr sz="2400" kern="1200">
          <a:solidFill>
            <a:srgbClr val="00446A"/>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itchFamily="34" charset="0"/>
        <a:buChar char="–"/>
        <a:defRPr sz="2000" kern="1200">
          <a:solidFill>
            <a:srgbClr val="00446A"/>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itchFamily="34" charset="0"/>
        <a:buChar char="•"/>
        <a:defRPr kern="1200">
          <a:solidFill>
            <a:srgbClr val="00446A"/>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1600" kern="1200">
          <a:solidFill>
            <a:srgbClr val="00446A"/>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buChar char="»"/>
        <a:defRPr sz="1600" kern="1200">
          <a:solidFill>
            <a:srgbClr val="00446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76802" name="Title Placeholder 1"/>
          <p:cNvSpPr>
            <a:spLocks noGrp="1"/>
          </p:cNvSpPr>
          <p:nvPr>
            <p:ph type="title"/>
          </p:nvPr>
        </p:nvSpPr>
        <p:spPr bwMode="auto">
          <a:xfrm>
            <a:off x="457200" y="1428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76803"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5" name="Footer Placeholder 4"/>
          <p:cNvSpPr>
            <a:spLocks noGrp="1"/>
          </p:cNvSpPr>
          <p:nvPr>
            <p:ph type="ftr" sz="quarter" idx="3"/>
          </p:nvPr>
        </p:nvSpPr>
        <p:spPr>
          <a:xfrm>
            <a:off x="428625" y="6356350"/>
            <a:ext cx="7786688" cy="365125"/>
          </a:xfrm>
          <a:prstGeom prst="rect">
            <a:avLst/>
          </a:prstGeom>
        </p:spPr>
        <p:txBody>
          <a:bodyPr vert="horz" lIns="91440" tIns="45720" rIns="91440" bIns="45720" rtlCol="0" anchor="ctr"/>
          <a:lstStyle>
            <a:lvl1pPr algn="l" eaLnBrk="1" hangingPunct="1">
              <a:defRPr sz="1000">
                <a:solidFill>
                  <a:srgbClr val="213C76"/>
                </a:solidFill>
                <a:latin typeface="+mn-lt"/>
                <a:ea typeface="ＭＳ Ｐゴシック" charset="-128"/>
                <a:cs typeface="+mn-cs"/>
              </a:defRPr>
            </a:lvl1pPr>
          </a:lstStyle>
          <a:p>
            <a:pPr fontAlgn="base">
              <a:spcBef>
                <a:spcPct val="0"/>
              </a:spcBef>
              <a:spcAft>
                <a:spcPct val="0"/>
              </a:spcAft>
              <a:defRPr/>
            </a:pPr>
            <a:endParaRPr lang="en-GB"/>
          </a:p>
        </p:txBody>
      </p:sp>
      <p:sp>
        <p:nvSpPr>
          <p:cNvPr id="6" name="Slide Number Placeholder 5"/>
          <p:cNvSpPr>
            <a:spLocks noGrp="1"/>
          </p:cNvSpPr>
          <p:nvPr>
            <p:ph type="sldNum" sz="quarter" idx="4"/>
          </p:nvPr>
        </p:nvSpPr>
        <p:spPr>
          <a:xfrm>
            <a:off x="8286750" y="6356350"/>
            <a:ext cx="400050" cy="365125"/>
          </a:xfrm>
          <a:prstGeom prst="rect">
            <a:avLst/>
          </a:prstGeom>
        </p:spPr>
        <p:txBody>
          <a:bodyPr vert="horz" lIns="91440" tIns="45720" rIns="91440" bIns="45720" rtlCol="0" anchor="ctr"/>
          <a:lstStyle>
            <a:lvl1pPr algn="r" eaLnBrk="1" hangingPunct="1">
              <a:defRPr sz="1000">
                <a:solidFill>
                  <a:srgbClr val="213C76"/>
                </a:solidFill>
                <a:latin typeface="+mn-lt"/>
                <a:ea typeface="ＭＳ Ｐゴシック" charset="-128"/>
                <a:cs typeface="+mn-cs"/>
              </a:defRPr>
            </a:lvl1pPr>
          </a:lstStyle>
          <a:p>
            <a:pPr fontAlgn="base">
              <a:spcBef>
                <a:spcPct val="0"/>
              </a:spcBef>
              <a:spcAft>
                <a:spcPct val="0"/>
              </a:spcAft>
              <a:defRPr/>
            </a:pPr>
            <a:fld id="{A376F17B-3252-43BD-B2EA-BD0D6152E14C}" type="slidenum">
              <a:rPr lang="en-GB"/>
              <a:pPr fontAlgn="base">
                <a:spcBef>
                  <a:spcPct val="0"/>
                </a:spcBef>
                <a:spcAft>
                  <a:spcPct val="0"/>
                </a:spcAft>
                <a:defRPr/>
              </a:pPr>
              <a:t>‹N›</a:t>
            </a:fld>
            <a:endParaRPr lang="en-GB" dirty="0"/>
          </a:p>
        </p:txBody>
      </p:sp>
    </p:spTree>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Lst>
  <p:hf hdr="0" ftr="0" dt="0"/>
  <p:txStyles>
    <p:titleStyle>
      <a:lvl1pPr algn="l" rtl="0" eaLnBrk="0" fontAlgn="base" hangingPunct="0">
        <a:spcBef>
          <a:spcPct val="0"/>
        </a:spcBef>
        <a:spcAft>
          <a:spcPct val="0"/>
        </a:spcAft>
        <a:defRPr sz="2800">
          <a:solidFill>
            <a:schemeClr val="bg1"/>
          </a:solidFill>
          <a:latin typeface="+mj-lt"/>
          <a:ea typeface="+mj-ea"/>
          <a:cs typeface="+mj-cs"/>
        </a:defRPr>
      </a:lvl1pPr>
      <a:lvl2pPr algn="l" rtl="0" eaLnBrk="0" fontAlgn="base" hangingPunct="0">
        <a:spcBef>
          <a:spcPct val="0"/>
        </a:spcBef>
        <a:spcAft>
          <a:spcPct val="0"/>
        </a:spcAft>
        <a:defRPr sz="2800">
          <a:solidFill>
            <a:schemeClr val="bg1"/>
          </a:solidFill>
          <a:latin typeface="Arial" pitchFamily="34" charset="0"/>
          <a:cs typeface="Arial" pitchFamily="34" charset="0"/>
        </a:defRPr>
      </a:lvl2pPr>
      <a:lvl3pPr algn="l" rtl="0" eaLnBrk="0" fontAlgn="base" hangingPunct="0">
        <a:spcBef>
          <a:spcPct val="0"/>
        </a:spcBef>
        <a:spcAft>
          <a:spcPct val="0"/>
        </a:spcAft>
        <a:defRPr sz="2800">
          <a:solidFill>
            <a:schemeClr val="bg1"/>
          </a:solidFill>
          <a:latin typeface="Arial" pitchFamily="34" charset="0"/>
          <a:cs typeface="Arial" pitchFamily="34" charset="0"/>
        </a:defRPr>
      </a:lvl3pPr>
      <a:lvl4pPr algn="l" rtl="0" eaLnBrk="0" fontAlgn="base" hangingPunct="0">
        <a:spcBef>
          <a:spcPct val="0"/>
        </a:spcBef>
        <a:spcAft>
          <a:spcPct val="0"/>
        </a:spcAft>
        <a:defRPr sz="2800">
          <a:solidFill>
            <a:schemeClr val="bg1"/>
          </a:solidFill>
          <a:latin typeface="Arial" pitchFamily="34" charset="0"/>
          <a:cs typeface="Arial" pitchFamily="34" charset="0"/>
        </a:defRPr>
      </a:lvl4pPr>
      <a:lvl5pPr algn="l" rtl="0" eaLnBrk="0" fontAlgn="base" hangingPunct="0">
        <a:spcBef>
          <a:spcPct val="0"/>
        </a:spcBef>
        <a:spcAft>
          <a:spcPct val="0"/>
        </a:spcAft>
        <a:defRPr sz="2800">
          <a:solidFill>
            <a:schemeClr val="bg1"/>
          </a:solidFill>
          <a:latin typeface="Arial" pitchFamily="34" charset="0"/>
          <a:cs typeface="Arial" pitchFamily="34" charset="0"/>
        </a:defRPr>
      </a:lvl5pPr>
      <a:lvl6pPr marL="457200" algn="l" rtl="0" fontAlgn="base">
        <a:spcBef>
          <a:spcPct val="0"/>
        </a:spcBef>
        <a:spcAft>
          <a:spcPct val="0"/>
        </a:spcAft>
        <a:defRPr sz="2800">
          <a:solidFill>
            <a:schemeClr val="bg1"/>
          </a:solidFill>
          <a:latin typeface="Arial" pitchFamily="34" charset="0"/>
          <a:cs typeface="Arial" pitchFamily="34" charset="0"/>
        </a:defRPr>
      </a:lvl6pPr>
      <a:lvl7pPr marL="914400" algn="l" rtl="0" fontAlgn="base">
        <a:spcBef>
          <a:spcPct val="0"/>
        </a:spcBef>
        <a:spcAft>
          <a:spcPct val="0"/>
        </a:spcAft>
        <a:defRPr sz="2800">
          <a:solidFill>
            <a:schemeClr val="bg1"/>
          </a:solidFill>
          <a:latin typeface="Arial" pitchFamily="34" charset="0"/>
          <a:cs typeface="Arial" pitchFamily="34" charset="0"/>
        </a:defRPr>
      </a:lvl7pPr>
      <a:lvl8pPr marL="1371600" algn="l" rtl="0" fontAlgn="base">
        <a:spcBef>
          <a:spcPct val="0"/>
        </a:spcBef>
        <a:spcAft>
          <a:spcPct val="0"/>
        </a:spcAft>
        <a:defRPr sz="2800">
          <a:solidFill>
            <a:schemeClr val="bg1"/>
          </a:solidFill>
          <a:latin typeface="Arial" pitchFamily="34" charset="0"/>
          <a:cs typeface="Arial" pitchFamily="34" charset="0"/>
        </a:defRPr>
      </a:lvl8pPr>
      <a:lvl9pPr marL="1828800" algn="l" rtl="0" fontAlgn="base">
        <a:spcBef>
          <a:spcPct val="0"/>
        </a:spcBef>
        <a:spcAft>
          <a:spcPct val="0"/>
        </a:spcAft>
        <a:defRPr sz="2800">
          <a:solidFill>
            <a:schemeClr val="bg1"/>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Font typeface="Wingdings" pitchFamily="2" charset="2"/>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chemeClr val="tx1"/>
          </a:solidFill>
          <a:latin typeface="+mn-lt"/>
          <a:cs typeface="+mn-cs"/>
        </a:defRPr>
      </a:lvl2pPr>
      <a:lvl3pPr marL="1143000" indent="-228600" algn="l" rtl="0" eaLnBrk="0" fontAlgn="base" hangingPunct="0">
        <a:spcBef>
          <a:spcPct val="20000"/>
        </a:spcBef>
        <a:spcAft>
          <a:spcPct val="0"/>
        </a:spcAft>
        <a:buFont typeface="Arial" pitchFamily="34" charset="0"/>
        <a:buChar char="•"/>
        <a:defRPr>
          <a:solidFill>
            <a:schemeClr val="tx1"/>
          </a:solidFill>
          <a:latin typeface="+mn-lt"/>
          <a:cs typeface="+mn-cs"/>
        </a:defRPr>
      </a:lvl3pPr>
      <a:lvl4pPr marL="1600200" indent="-228600" algn="l" rtl="0" eaLnBrk="0" fontAlgn="base" hangingPunct="0">
        <a:spcBef>
          <a:spcPct val="20000"/>
        </a:spcBef>
        <a:spcAft>
          <a:spcPct val="0"/>
        </a:spcAft>
        <a:buFont typeface="Arial" pitchFamily="34" charset="0"/>
        <a:buChar char="–"/>
        <a:defRPr sz="1600">
          <a:solidFill>
            <a:schemeClr val="tx1"/>
          </a:solidFill>
          <a:latin typeface="+mn-lt"/>
          <a:cs typeface="+mn-cs"/>
        </a:defRPr>
      </a:lvl4pPr>
      <a:lvl5pPr marL="2057400" indent="-228600" algn="l" rtl="0" eaLnBrk="0" fontAlgn="base" hangingPunct="0">
        <a:spcBef>
          <a:spcPct val="20000"/>
        </a:spcBef>
        <a:spcAft>
          <a:spcPct val="0"/>
        </a:spcAft>
        <a:buFont typeface="Wingdings" pitchFamily="2" charset="2"/>
        <a:buChar char="§"/>
        <a:defRPr sz="1400">
          <a:solidFill>
            <a:schemeClr val="tx1"/>
          </a:solidFill>
          <a:latin typeface="+mn-lt"/>
          <a:cs typeface="+mn-cs"/>
        </a:defRPr>
      </a:lvl5pPr>
      <a:lvl6pPr marL="2514600" indent="-228600" algn="l" rtl="0" fontAlgn="base">
        <a:spcBef>
          <a:spcPct val="20000"/>
        </a:spcBef>
        <a:spcAft>
          <a:spcPct val="0"/>
        </a:spcAft>
        <a:buFont typeface="Wingdings" pitchFamily="2" charset="2"/>
        <a:buChar char="§"/>
        <a:defRPr sz="1400">
          <a:solidFill>
            <a:schemeClr val="tx1"/>
          </a:solidFill>
          <a:latin typeface="+mn-lt"/>
          <a:cs typeface="+mn-cs"/>
        </a:defRPr>
      </a:lvl6pPr>
      <a:lvl7pPr marL="2971800" indent="-228600" algn="l" rtl="0" fontAlgn="base">
        <a:spcBef>
          <a:spcPct val="20000"/>
        </a:spcBef>
        <a:spcAft>
          <a:spcPct val="0"/>
        </a:spcAft>
        <a:buFont typeface="Wingdings" pitchFamily="2" charset="2"/>
        <a:buChar char="§"/>
        <a:defRPr sz="1400">
          <a:solidFill>
            <a:schemeClr val="tx1"/>
          </a:solidFill>
          <a:latin typeface="+mn-lt"/>
          <a:cs typeface="+mn-cs"/>
        </a:defRPr>
      </a:lvl7pPr>
      <a:lvl8pPr marL="3429000" indent="-228600" algn="l" rtl="0" fontAlgn="base">
        <a:spcBef>
          <a:spcPct val="20000"/>
        </a:spcBef>
        <a:spcAft>
          <a:spcPct val="0"/>
        </a:spcAft>
        <a:buFont typeface="Wingdings" pitchFamily="2" charset="2"/>
        <a:buChar char="§"/>
        <a:defRPr sz="1400">
          <a:solidFill>
            <a:schemeClr val="tx1"/>
          </a:solidFill>
          <a:latin typeface="+mn-lt"/>
          <a:cs typeface="+mn-cs"/>
        </a:defRPr>
      </a:lvl8pPr>
      <a:lvl9pPr marL="3886200" indent="-228600" algn="l" rtl="0" fontAlgn="base">
        <a:spcBef>
          <a:spcPct val="20000"/>
        </a:spcBef>
        <a:spcAft>
          <a:spcPct val="0"/>
        </a:spcAft>
        <a:buFont typeface="Wingdings" pitchFamily="2" charset="2"/>
        <a:buChar char="§"/>
        <a:defRPr sz="14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p:cNvSpPr/>
          <p:nvPr/>
        </p:nvSpPr>
        <p:spPr>
          <a:xfrm>
            <a:off x="0" y="0"/>
            <a:ext cx="9144000" cy="1400175"/>
          </a:xfrm>
          <a:prstGeom prst="rect">
            <a:avLst/>
          </a:prstGeom>
          <a:solidFill>
            <a:srgbClr val="00446A"/>
          </a:solidFill>
          <a:ln w="9525" cap="flat" cmpd="sng" algn="ctr">
            <a:noFill/>
            <a:prstDash val="solid"/>
          </a:ln>
          <a:effectLst>
            <a:outerShdw blurRad="40000" dist="23000" dir="5400000" rotWithShape="0">
              <a:srgbClr val="000000">
                <a:alpha val="35000"/>
              </a:srgbClr>
            </a:outerShdw>
          </a:effectLst>
        </p:spPr>
        <p:txBody>
          <a:bodyPr anchor="ctr"/>
          <a:lstStyle/>
          <a:p>
            <a:pPr algn="ctr" fontAlgn="base">
              <a:spcBef>
                <a:spcPct val="0"/>
              </a:spcBef>
              <a:spcAft>
                <a:spcPct val="0"/>
              </a:spcAft>
              <a:defRPr/>
            </a:pPr>
            <a:endParaRPr lang="en-US">
              <a:solidFill>
                <a:srgbClr val="FFFFFF"/>
              </a:solidFill>
              <a:ea typeface="ＭＳ Ｐゴシック" pitchFamily="34" charset="-128"/>
            </a:endParaRPr>
          </a:p>
        </p:txBody>
      </p:sp>
      <p:sp>
        <p:nvSpPr>
          <p:cNvPr id="788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pic>
        <p:nvPicPr>
          <p:cNvPr id="78852" name="Picture 8" descr="SlideCorner.png"/>
          <p:cNvPicPr>
            <a:picLocks noChangeAspect="1"/>
          </p:cNvPicPr>
          <p:nvPr/>
        </p:nvPicPr>
        <p:blipFill>
          <a:blip r:embed="rId15" cstate="print"/>
          <a:srcRect/>
          <a:stretch>
            <a:fillRect/>
          </a:stretch>
        </p:blipFill>
        <p:spPr bwMode="auto">
          <a:xfrm>
            <a:off x="0" y="3630613"/>
            <a:ext cx="4284663" cy="3235325"/>
          </a:xfrm>
          <a:prstGeom prst="rect">
            <a:avLst/>
          </a:prstGeom>
          <a:noFill/>
          <a:ln w="9525">
            <a:noFill/>
            <a:miter lim="800000"/>
            <a:headEnd/>
            <a:tailEnd/>
          </a:ln>
        </p:spPr>
      </p:pic>
      <p:sp>
        <p:nvSpPr>
          <p:cNvPr id="78853" name="Title Placeholder 15"/>
          <p:cNvSpPr>
            <a:spLocks noGrp="1"/>
          </p:cNvSpPr>
          <p:nvPr>
            <p:ph type="title"/>
          </p:nvPr>
        </p:nvSpPr>
        <p:spPr bwMode="auto">
          <a:xfrm>
            <a:off x="457200" y="115888"/>
            <a:ext cx="8229600" cy="12255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Tree>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66" r:id="rId6"/>
    <p:sldLayoutId id="2147483967" r:id="rId7"/>
    <p:sldLayoutId id="2147483968" r:id="rId8"/>
    <p:sldLayoutId id="2147483969" r:id="rId9"/>
    <p:sldLayoutId id="2147483970" r:id="rId10"/>
    <p:sldLayoutId id="2147483971" r:id="rId11"/>
    <p:sldLayoutId id="2147483972" r:id="rId12"/>
    <p:sldLayoutId id="2147483973" r:id="rId13"/>
  </p:sldLayoutIdLst>
  <p:transition advClick="0"/>
  <p:txStyles>
    <p:titleStyle>
      <a:lvl1pPr algn="l" rtl="0" eaLnBrk="0" fontAlgn="base" hangingPunct="0">
        <a:spcBef>
          <a:spcPct val="0"/>
        </a:spcBef>
        <a:spcAft>
          <a:spcPct val="0"/>
        </a:spcAft>
        <a:defRPr sz="2800" b="1" kern="1200">
          <a:solidFill>
            <a:schemeClr val="bg1"/>
          </a:solidFill>
          <a:latin typeface="Arial" pitchFamily="34" charset="0"/>
          <a:ea typeface="+mj-ea"/>
          <a:cs typeface="Arial" pitchFamily="34" charset="0"/>
        </a:defRPr>
      </a:lvl1pPr>
      <a:lvl2pPr algn="l" rtl="0" eaLnBrk="0" fontAlgn="base" hangingPunct="0">
        <a:spcBef>
          <a:spcPct val="0"/>
        </a:spcBef>
        <a:spcAft>
          <a:spcPct val="0"/>
        </a:spcAft>
        <a:defRPr sz="2800" b="1">
          <a:solidFill>
            <a:schemeClr val="bg1"/>
          </a:solidFill>
          <a:latin typeface="Arial" charset="0"/>
          <a:cs typeface="Arial" charset="0"/>
        </a:defRPr>
      </a:lvl2pPr>
      <a:lvl3pPr algn="l" rtl="0" eaLnBrk="0" fontAlgn="base" hangingPunct="0">
        <a:spcBef>
          <a:spcPct val="0"/>
        </a:spcBef>
        <a:spcAft>
          <a:spcPct val="0"/>
        </a:spcAft>
        <a:defRPr sz="2800" b="1">
          <a:solidFill>
            <a:schemeClr val="bg1"/>
          </a:solidFill>
          <a:latin typeface="Arial" charset="0"/>
          <a:cs typeface="Arial" charset="0"/>
        </a:defRPr>
      </a:lvl3pPr>
      <a:lvl4pPr algn="l" rtl="0" eaLnBrk="0" fontAlgn="base" hangingPunct="0">
        <a:spcBef>
          <a:spcPct val="0"/>
        </a:spcBef>
        <a:spcAft>
          <a:spcPct val="0"/>
        </a:spcAft>
        <a:defRPr sz="2800" b="1">
          <a:solidFill>
            <a:schemeClr val="bg1"/>
          </a:solidFill>
          <a:latin typeface="Arial" charset="0"/>
          <a:cs typeface="Arial" charset="0"/>
        </a:defRPr>
      </a:lvl4pPr>
      <a:lvl5pPr algn="l" rtl="0" eaLnBrk="0" fontAlgn="base" hangingPunct="0">
        <a:spcBef>
          <a:spcPct val="0"/>
        </a:spcBef>
        <a:spcAft>
          <a:spcPct val="0"/>
        </a:spcAft>
        <a:defRPr sz="2800" b="1">
          <a:solidFill>
            <a:schemeClr val="bg1"/>
          </a:solidFill>
          <a:latin typeface="Arial" charset="0"/>
          <a:cs typeface="Arial" charset="0"/>
        </a:defRPr>
      </a:lvl5pPr>
      <a:lvl6pPr marL="457200" algn="l" rtl="0" fontAlgn="base">
        <a:spcBef>
          <a:spcPct val="0"/>
        </a:spcBef>
        <a:spcAft>
          <a:spcPct val="0"/>
        </a:spcAft>
        <a:defRPr sz="3200" b="1">
          <a:solidFill>
            <a:schemeClr val="bg1"/>
          </a:solidFill>
          <a:latin typeface="Arial" charset="0"/>
          <a:cs typeface="Arial" charset="0"/>
        </a:defRPr>
      </a:lvl6pPr>
      <a:lvl7pPr marL="914400" algn="l" rtl="0" fontAlgn="base">
        <a:spcBef>
          <a:spcPct val="0"/>
        </a:spcBef>
        <a:spcAft>
          <a:spcPct val="0"/>
        </a:spcAft>
        <a:defRPr sz="3200" b="1">
          <a:solidFill>
            <a:schemeClr val="bg1"/>
          </a:solidFill>
          <a:latin typeface="Arial" charset="0"/>
          <a:cs typeface="Arial" charset="0"/>
        </a:defRPr>
      </a:lvl7pPr>
      <a:lvl8pPr marL="1371600" algn="l" rtl="0" fontAlgn="base">
        <a:spcBef>
          <a:spcPct val="0"/>
        </a:spcBef>
        <a:spcAft>
          <a:spcPct val="0"/>
        </a:spcAft>
        <a:defRPr sz="3200" b="1">
          <a:solidFill>
            <a:schemeClr val="bg1"/>
          </a:solidFill>
          <a:latin typeface="Arial" charset="0"/>
          <a:cs typeface="Arial" charset="0"/>
        </a:defRPr>
      </a:lvl8pPr>
      <a:lvl9pPr marL="1828800" algn="l" rtl="0" fontAlgn="base">
        <a:spcBef>
          <a:spcPct val="0"/>
        </a:spcBef>
        <a:spcAft>
          <a:spcPct val="0"/>
        </a:spcAft>
        <a:defRPr sz="3200" b="1">
          <a:solidFill>
            <a:schemeClr val="bg1"/>
          </a:solidFill>
          <a:latin typeface="Arial" charset="0"/>
          <a:cs typeface="Arial" charset="0"/>
        </a:defRPr>
      </a:lvl9pPr>
    </p:titleStyle>
    <p:bodyStyle>
      <a:lvl1pPr marL="342900" indent="-342900" algn="l" rtl="0" eaLnBrk="0" fontAlgn="base" hangingPunct="0">
        <a:spcBef>
          <a:spcPct val="20000"/>
        </a:spcBef>
        <a:spcAft>
          <a:spcPct val="0"/>
        </a:spcAft>
        <a:buSzPct val="120000"/>
        <a:buBlip>
          <a:blip r:embed="rId16"/>
        </a:buBlip>
        <a:defRPr sz="2400" kern="1200">
          <a:solidFill>
            <a:srgbClr val="00446A"/>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itchFamily="34" charset="0"/>
        <a:buChar char="–"/>
        <a:defRPr sz="2000" kern="1200">
          <a:solidFill>
            <a:srgbClr val="00446A"/>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itchFamily="34" charset="0"/>
        <a:buChar char="•"/>
        <a:defRPr kern="1200">
          <a:solidFill>
            <a:srgbClr val="00446A"/>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1600" kern="1200">
          <a:solidFill>
            <a:srgbClr val="00446A"/>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buChar char="»"/>
        <a:defRPr sz="1600" kern="1200">
          <a:solidFill>
            <a:srgbClr val="00446A"/>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62466" name="Picture 9" descr="SlideCorner.png"/>
          <p:cNvPicPr>
            <a:picLocks noChangeAspect="1"/>
          </p:cNvPicPr>
          <p:nvPr/>
        </p:nvPicPr>
        <p:blipFill>
          <a:blip r:embed="rId13" cstate="print"/>
          <a:srcRect/>
          <a:stretch>
            <a:fillRect/>
          </a:stretch>
        </p:blipFill>
        <p:spPr bwMode="auto">
          <a:xfrm>
            <a:off x="0" y="3170238"/>
            <a:ext cx="4894263" cy="3695700"/>
          </a:xfrm>
          <a:prstGeom prst="rect">
            <a:avLst/>
          </a:prstGeom>
          <a:noFill/>
          <a:ln w="9525">
            <a:noFill/>
            <a:miter lim="800000"/>
            <a:headEnd/>
            <a:tailEnd/>
          </a:ln>
        </p:spPr>
      </p:pic>
      <p:sp>
        <p:nvSpPr>
          <p:cNvPr id="11" name="Rectangle 10"/>
          <p:cNvSpPr/>
          <p:nvPr/>
        </p:nvSpPr>
        <p:spPr>
          <a:xfrm>
            <a:off x="0" y="0"/>
            <a:ext cx="9144000" cy="1400175"/>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dirty="0">
              <a:solidFill>
                <a:srgbClr val="00446A"/>
              </a:solidFill>
            </a:endParaRPr>
          </a:p>
        </p:txBody>
      </p:sp>
      <p:sp>
        <p:nvSpPr>
          <p:cNvPr id="13" name="Text Box 15"/>
          <p:cNvSpPr txBox="1">
            <a:spLocks noChangeArrowheads="1"/>
          </p:cNvSpPr>
          <p:nvPr>
            <p:custDataLst>
              <p:tags r:id="rId12"/>
            </p:custDataLst>
          </p:nvPr>
        </p:nvSpPr>
        <p:spPr bwMode="auto">
          <a:xfrm>
            <a:off x="458788" y="5962650"/>
            <a:ext cx="6767512" cy="717550"/>
          </a:xfrm>
          <a:prstGeom prst="rect">
            <a:avLst/>
          </a:prstGeom>
          <a:solidFill>
            <a:srgbClr val="000000">
              <a:alpha val="0"/>
            </a:srgbClr>
          </a:solidFill>
          <a:ln w="9525" algn="ctr">
            <a:noFill/>
            <a:miter lim="800000"/>
            <a:headEnd/>
            <a:tailEnd/>
          </a:ln>
          <a:effectLst/>
        </p:spPr>
        <p:txBody>
          <a:bodyPr lIns="0" tIns="0" rIns="0" bIns="0" anchor="b"/>
          <a:lstStyle/>
          <a:p>
            <a:pPr marL="168275" indent="-168275" fontAlgn="base">
              <a:spcAft>
                <a:spcPct val="0"/>
              </a:spcAft>
              <a:buFont typeface="Arial" charset="0"/>
              <a:buNone/>
              <a:defRPr/>
            </a:pPr>
            <a:endParaRPr lang="en-US" sz="1000" dirty="0">
              <a:solidFill>
                <a:srgbClr val="00446A"/>
              </a:solidFill>
              <a:ea typeface="MS PGothic" pitchFamily="34" charset="-128"/>
              <a:cs typeface="Arial" charset="0"/>
            </a:endParaRPr>
          </a:p>
        </p:txBody>
      </p:sp>
      <p:sp>
        <p:nvSpPr>
          <p:cNvPr id="5" name="Rectangle 4"/>
          <p:cNvSpPr/>
          <p:nvPr userDrawn="1"/>
        </p:nvSpPr>
        <p:spPr>
          <a:xfrm>
            <a:off x="0" y="0"/>
            <a:ext cx="9144000" cy="1403350"/>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it-IT">
              <a:solidFill>
                <a:srgbClr val="FFFFFF"/>
              </a:solidFill>
            </a:endParaRPr>
          </a:p>
        </p:txBody>
      </p:sp>
    </p:spTree>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Lst>
  <p:transition>
    <p:fade/>
  </p:transition>
  <p:timing>
    <p:tnLst>
      <p:par>
        <p:cTn id="1" dur="indefinite" restart="never" nodeType="tmRoot"/>
      </p:par>
    </p:tnLst>
  </p:timing>
  <p:txStyles>
    <p:titleStyle>
      <a:lvl1pPr algn="l" rtl="0" eaLnBrk="0" fontAlgn="base" hangingPunct="0">
        <a:spcBef>
          <a:spcPct val="0"/>
        </a:spcBef>
        <a:spcAft>
          <a:spcPct val="0"/>
        </a:spcAft>
        <a:defRPr sz="2800" b="1">
          <a:solidFill>
            <a:srgbClr val="00415A"/>
          </a:solidFill>
          <a:latin typeface="+mj-lt"/>
          <a:ea typeface="+mj-ea"/>
          <a:cs typeface="+mj-cs"/>
        </a:defRPr>
      </a:lvl1pPr>
      <a:lvl2pPr algn="l" rtl="0" eaLnBrk="0" fontAlgn="base" hangingPunct="0">
        <a:spcBef>
          <a:spcPct val="0"/>
        </a:spcBef>
        <a:spcAft>
          <a:spcPct val="0"/>
        </a:spcAft>
        <a:defRPr sz="2800" b="1">
          <a:solidFill>
            <a:srgbClr val="00415A"/>
          </a:solidFill>
          <a:latin typeface="Arial" charset="0"/>
        </a:defRPr>
      </a:lvl2pPr>
      <a:lvl3pPr algn="l" rtl="0" eaLnBrk="0" fontAlgn="base" hangingPunct="0">
        <a:spcBef>
          <a:spcPct val="0"/>
        </a:spcBef>
        <a:spcAft>
          <a:spcPct val="0"/>
        </a:spcAft>
        <a:defRPr sz="2800" b="1">
          <a:solidFill>
            <a:srgbClr val="00415A"/>
          </a:solidFill>
          <a:latin typeface="Arial" charset="0"/>
        </a:defRPr>
      </a:lvl3pPr>
      <a:lvl4pPr algn="l" rtl="0" eaLnBrk="0" fontAlgn="base" hangingPunct="0">
        <a:spcBef>
          <a:spcPct val="0"/>
        </a:spcBef>
        <a:spcAft>
          <a:spcPct val="0"/>
        </a:spcAft>
        <a:defRPr sz="2800" b="1">
          <a:solidFill>
            <a:srgbClr val="00415A"/>
          </a:solidFill>
          <a:latin typeface="Arial" charset="0"/>
        </a:defRPr>
      </a:lvl4pPr>
      <a:lvl5pPr algn="l" rtl="0" eaLnBrk="0" fontAlgn="base" hangingPunct="0">
        <a:spcBef>
          <a:spcPct val="0"/>
        </a:spcBef>
        <a:spcAft>
          <a:spcPct val="0"/>
        </a:spcAft>
        <a:defRPr sz="2800" b="1">
          <a:solidFill>
            <a:srgbClr val="00415A"/>
          </a:solidFill>
          <a:latin typeface="Arial" charset="0"/>
        </a:defRPr>
      </a:lvl5pPr>
      <a:lvl6pPr marL="457200" algn="l" rtl="0" fontAlgn="base">
        <a:spcBef>
          <a:spcPct val="0"/>
        </a:spcBef>
        <a:spcAft>
          <a:spcPct val="0"/>
        </a:spcAft>
        <a:defRPr sz="2200" b="1">
          <a:solidFill>
            <a:srgbClr val="004A64"/>
          </a:solidFill>
          <a:latin typeface="Arial" charset="0"/>
        </a:defRPr>
      </a:lvl6pPr>
      <a:lvl7pPr marL="914400" algn="l" rtl="0" fontAlgn="base">
        <a:spcBef>
          <a:spcPct val="0"/>
        </a:spcBef>
        <a:spcAft>
          <a:spcPct val="0"/>
        </a:spcAft>
        <a:defRPr sz="2200" b="1">
          <a:solidFill>
            <a:srgbClr val="004A64"/>
          </a:solidFill>
          <a:latin typeface="Arial" charset="0"/>
        </a:defRPr>
      </a:lvl7pPr>
      <a:lvl8pPr marL="1371600" algn="l" rtl="0" fontAlgn="base">
        <a:spcBef>
          <a:spcPct val="0"/>
        </a:spcBef>
        <a:spcAft>
          <a:spcPct val="0"/>
        </a:spcAft>
        <a:defRPr sz="2200" b="1">
          <a:solidFill>
            <a:srgbClr val="004A64"/>
          </a:solidFill>
          <a:latin typeface="Arial" charset="0"/>
        </a:defRPr>
      </a:lvl8pPr>
      <a:lvl9pPr marL="1828800" algn="l" rtl="0" fontAlgn="base">
        <a:spcBef>
          <a:spcPct val="0"/>
        </a:spcBef>
        <a:spcAft>
          <a:spcPct val="0"/>
        </a:spcAft>
        <a:defRPr sz="2200" b="1">
          <a:solidFill>
            <a:srgbClr val="004A64"/>
          </a:solidFill>
          <a:latin typeface="Arial" charset="0"/>
        </a:defRPr>
      </a:lvl9pPr>
    </p:titleStyle>
    <p:bodyStyle>
      <a:lvl1pPr marL="228600" indent="-228600" algn="l" rtl="0" eaLnBrk="0" fontAlgn="base" hangingPunct="0">
        <a:spcBef>
          <a:spcPts val="600"/>
        </a:spcBef>
        <a:spcAft>
          <a:spcPct val="0"/>
        </a:spcAft>
        <a:buClr>
          <a:schemeClr val="accent2"/>
        </a:buClr>
        <a:buChar char="•"/>
        <a:defRPr sz="2400">
          <a:solidFill>
            <a:schemeClr val="tx1"/>
          </a:solidFill>
          <a:latin typeface="+mn-lt"/>
          <a:ea typeface="+mn-ea"/>
          <a:cs typeface="+mn-cs"/>
        </a:defRPr>
      </a:lvl1pPr>
      <a:lvl2pPr marL="569913" indent="-223838" algn="l" rtl="0" eaLnBrk="0" fontAlgn="base" hangingPunct="0">
        <a:spcBef>
          <a:spcPts val="300"/>
        </a:spcBef>
        <a:spcAft>
          <a:spcPct val="0"/>
        </a:spcAft>
        <a:buClr>
          <a:schemeClr val="accent2"/>
        </a:buClr>
        <a:buFont typeface="Arial" pitchFamily="34" charset="0"/>
        <a:buChar char="–"/>
        <a:defRPr sz="2000">
          <a:solidFill>
            <a:schemeClr val="tx1"/>
          </a:solidFill>
          <a:latin typeface="+mn-lt"/>
        </a:defRPr>
      </a:lvl2pPr>
      <a:lvl3pPr marL="855663" indent="-169863" algn="l" rtl="0" eaLnBrk="0" fontAlgn="base" hangingPunct="0">
        <a:spcBef>
          <a:spcPts val="300"/>
        </a:spcBef>
        <a:spcAft>
          <a:spcPct val="0"/>
        </a:spcAft>
        <a:buClr>
          <a:schemeClr val="accent2"/>
        </a:buClr>
        <a:buChar char="•"/>
        <a:defRPr>
          <a:solidFill>
            <a:schemeClr val="tx1"/>
          </a:solidFill>
          <a:latin typeface="+mn-lt"/>
        </a:defRPr>
      </a:lvl3pPr>
      <a:lvl4pPr marL="1201738" indent="-168275" algn="l" rtl="0" eaLnBrk="0" fontAlgn="base" hangingPunct="0">
        <a:spcBef>
          <a:spcPts val="300"/>
        </a:spcBef>
        <a:spcAft>
          <a:spcPct val="0"/>
        </a:spcAft>
        <a:buClr>
          <a:schemeClr val="accent2"/>
        </a:buClr>
        <a:buChar char="–"/>
        <a:defRPr>
          <a:solidFill>
            <a:schemeClr val="tx1"/>
          </a:solidFill>
          <a:latin typeface="+mn-lt"/>
        </a:defRPr>
      </a:lvl4pPr>
      <a:lvl5pPr marL="1541463" indent="-169863" algn="l" rtl="0" eaLnBrk="0" fontAlgn="base" hangingPunct="0">
        <a:spcBef>
          <a:spcPts val="300"/>
        </a:spcBef>
        <a:spcAft>
          <a:spcPct val="0"/>
        </a:spcAft>
        <a:buClr>
          <a:schemeClr val="accent2"/>
        </a:buClr>
        <a:buChar char="»"/>
        <a:defRPr>
          <a:solidFill>
            <a:schemeClr val="tx1"/>
          </a:solidFill>
          <a:latin typeface="+mn-lt"/>
        </a:defRPr>
      </a:lvl5pPr>
      <a:lvl6pPr marL="1998663" indent="-169863" algn="l" rtl="0" fontAlgn="base">
        <a:spcBef>
          <a:spcPct val="20000"/>
        </a:spcBef>
        <a:spcAft>
          <a:spcPct val="0"/>
        </a:spcAft>
        <a:buChar char="»"/>
        <a:defRPr sz="1400">
          <a:solidFill>
            <a:srgbClr val="004A64"/>
          </a:solidFill>
          <a:latin typeface="+mn-lt"/>
        </a:defRPr>
      </a:lvl6pPr>
      <a:lvl7pPr marL="2455863" indent="-169863" algn="l" rtl="0" fontAlgn="base">
        <a:spcBef>
          <a:spcPct val="20000"/>
        </a:spcBef>
        <a:spcAft>
          <a:spcPct val="0"/>
        </a:spcAft>
        <a:buChar char="»"/>
        <a:defRPr sz="1400">
          <a:solidFill>
            <a:srgbClr val="004A64"/>
          </a:solidFill>
          <a:latin typeface="+mn-lt"/>
        </a:defRPr>
      </a:lvl7pPr>
      <a:lvl8pPr marL="2913063" indent="-169863" algn="l" rtl="0" fontAlgn="base">
        <a:spcBef>
          <a:spcPct val="20000"/>
        </a:spcBef>
        <a:spcAft>
          <a:spcPct val="0"/>
        </a:spcAft>
        <a:buChar char="»"/>
        <a:defRPr sz="1400">
          <a:solidFill>
            <a:srgbClr val="004A64"/>
          </a:solidFill>
          <a:latin typeface="+mn-lt"/>
        </a:defRPr>
      </a:lvl8pPr>
      <a:lvl9pPr marL="3370263" indent="-169863" algn="l" rtl="0" fontAlgn="base">
        <a:spcBef>
          <a:spcPct val="20000"/>
        </a:spcBef>
        <a:spcAft>
          <a:spcPct val="0"/>
        </a:spcAft>
        <a:buChar char="»"/>
        <a:defRPr sz="1400">
          <a:solidFill>
            <a:srgbClr val="004A64"/>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Layout" Target="../slideLayouts/slideLayout1.xml"/><Relationship Id="rId4" Type="http://schemas.openxmlformats.org/officeDocument/2006/relationships/image" Target="../media/image1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9.xml"/><Relationship Id="rId5" Type="http://schemas.openxmlformats.org/officeDocument/2006/relationships/image" Target="../media/image43.png"/><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8" Type="http://schemas.openxmlformats.org/officeDocument/2006/relationships/image" Target="../media/image53.tiff"/><Relationship Id="rId3" Type="http://schemas.openxmlformats.org/officeDocument/2006/relationships/image" Target="../media/image48.png"/><Relationship Id="rId7" Type="http://schemas.openxmlformats.org/officeDocument/2006/relationships/image" Target="../media/image52.tiff"/><Relationship Id="rId2" Type="http://schemas.openxmlformats.org/officeDocument/2006/relationships/image" Target="../media/image47.png"/><Relationship Id="rId1" Type="http://schemas.openxmlformats.org/officeDocument/2006/relationships/slideLayout" Target="../slideLayouts/slideLayout23.xml"/><Relationship Id="rId6" Type="http://schemas.openxmlformats.org/officeDocument/2006/relationships/image" Target="../media/image51.jpe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33.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5.png"/><Relationship Id="rId3" Type="http://schemas.openxmlformats.org/officeDocument/2006/relationships/image" Target="../media/image57.png"/><Relationship Id="rId7" Type="http://schemas.openxmlformats.org/officeDocument/2006/relationships/image" Target="../media/image60.png"/><Relationship Id="rId12" Type="http://schemas.openxmlformats.org/officeDocument/2006/relationships/image" Target="../media/image64.png"/><Relationship Id="rId2" Type="http://schemas.openxmlformats.org/officeDocument/2006/relationships/image" Target="../media/image56.png"/><Relationship Id="rId1" Type="http://schemas.openxmlformats.org/officeDocument/2006/relationships/slideLayout" Target="../slideLayouts/slideLayout23.xml"/><Relationship Id="rId6" Type="http://schemas.openxmlformats.org/officeDocument/2006/relationships/image" Target="../media/image59.png"/><Relationship Id="rId11" Type="http://schemas.microsoft.com/office/2007/relationships/hdphoto" Target="../media/hdphoto2.wdp"/><Relationship Id="rId5" Type="http://schemas.microsoft.com/office/2007/relationships/hdphoto" Target="../media/hdphoto1.wdp"/><Relationship Id="rId15" Type="http://schemas.openxmlformats.org/officeDocument/2006/relationships/image" Target="../media/image67.pn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62.png"/><Relationship Id="rId14" Type="http://schemas.openxmlformats.org/officeDocument/2006/relationships/image" Target="../media/image66.png"/></Relationships>
</file>

<file path=ppt/slides/_rels/slide34.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png"/><Relationship Id="rId1" Type="http://schemas.openxmlformats.org/officeDocument/2006/relationships/slideLayout" Target="../slideLayouts/slideLayout23.xml"/></Relationships>
</file>

<file path=ppt/slides/_rels/slide3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3.xml"/></Relationships>
</file>

<file path=ppt/slides/_rels/slide3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23.xml"/><Relationship Id="rId6" Type="http://schemas.openxmlformats.org/officeDocument/2006/relationships/image" Target="../media/image79.png"/><Relationship Id="rId5" Type="http://schemas.openxmlformats.org/officeDocument/2006/relationships/image" Target="../media/image78.jpeg"/><Relationship Id="rId4" Type="http://schemas.openxmlformats.org/officeDocument/2006/relationships/image" Target="../media/image69.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image" Target="../media/image13.png"/><Relationship Id="rId1" Type="http://schemas.openxmlformats.org/officeDocument/2006/relationships/slideLayout" Target="../slideLayouts/slideLayout18.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wmf"/><Relationship Id="rId1" Type="http://schemas.openxmlformats.org/officeDocument/2006/relationships/slideLayout" Target="../slideLayouts/slideLayout18.xml"/><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6.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110216" y="345082"/>
            <a:ext cx="4245760" cy="2003797"/>
          </a:xfrm>
        </p:spPr>
        <p:style>
          <a:lnRef idx="2">
            <a:schemeClr val="accent1">
              <a:shade val="50000"/>
            </a:schemeClr>
          </a:lnRef>
          <a:fillRef idx="1">
            <a:schemeClr val="accent1"/>
          </a:fillRef>
          <a:effectRef idx="0">
            <a:schemeClr val="accent1"/>
          </a:effectRef>
          <a:fontRef idx="minor">
            <a:schemeClr val="lt1"/>
          </a:fontRef>
        </p:style>
        <p:txBody>
          <a:bodyPr>
            <a:noAutofit/>
          </a:bodyPr>
          <a:lstStyle/>
          <a:p>
            <a:r>
              <a:rPr lang="it-IT" sz="3600" dirty="0" smtClean="0"/>
              <a:t>News in </a:t>
            </a:r>
            <a:r>
              <a:rPr lang="it-IT" sz="3600" dirty="0" err="1" smtClean="0"/>
              <a:t>molecular</a:t>
            </a:r>
            <a:r>
              <a:rPr lang="it-IT" sz="3600" dirty="0" smtClean="0"/>
              <a:t> </a:t>
            </a:r>
            <a:r>
              <a:rPr lang="it-IT" sz="3600" dirty="0" err="1" smtClean="0"/>
              <a:t>biology</a:t>
            </a:r>
            <a:r>
              <a:rPr lang="it-IT" sz="3600" dirty="0" smtClean="0"/>
              <a:t> of bone </a:t>
            </a:r>
            <a:r>
              <a:rPr lang="it-IT" sz="3600" dirty="0" err="1" smtClean="0"/>
              <a:t>metastases</a:t>
            </a:r>
            <a:endParaRPr lang="it-IT" sz="3600" dirty="0"/>
          </a:p>
        </p:txBody>
      </p:sp>
      <p:sp>
        <p:nvSpPr>
          <p:cNvPr id="3" name="Sottotitolo 2"/>
          <p:cNvSpPr>
            <a:spLocks noGrp="1"/>
          </p:cNvSpPr>
          <p:nvPr>
            <p:ph type="subTitle" idx="1"/>
          </p:nvPr>
        </p:nvSpPr>
        <p:spPr>
          <a:xfrm>
            <a:off x="0" y="2352358"/>
            <a:ext cx="4580350" cy="1752600"/>
          </a:xfrm>
        </p:spPr>
        <p:txBody>
          <a:bodyPr/>
          <a:lstStyle/>
          <a:p>
            <a:r>
              <a:rPr lang="it-IT" dirty="0" smtClean="0"/>
              <a:t>Daniele Santini</a:t>
            </a:r>
          </a:p>
          <a:p>
            <a:r>
              <a:rPr lang="it-IT" sz="1800" dirty="0" smtClean="0"/>
              <a:t>Università Campus </a:t>
            </a:r>
            <a:r>
              <a:rPr lang="it-IT" sz="1800" dirty="0" err="1" smtClean="0"/>
              <a:t>Bio</a:t>
            </a:r>
            <a:r>
              <a:rPr lang="it-IT" sz="1800" dirty="0" smtClean="0"/>
              <a:t>-Medico</a:t>
            </a:r>
          </a:p>
          <a:p>
            <a:r>
              <a:rPr lang="it-IT" sz="1800" dirty="0" smtClean="0"/>
              <a:t>Roma</a:t>
            </a:r>
            <a:endParaRPr lang="it-IT" sz="1800" dirty="0"/>
          </a:p>
        </p:txBody>
      </p:sp>
      <p:pic>
        <p:nvPicPr>
          <p:cNvPr id="5" name="Immagin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592" y="3645024"/>
            <a:ext cx="2352675" cy="1943100"/>
          </a:xfrm>
          <a:prstGeom prst="rect">
            <a:avLst/>
          </a:prstGeom>
        </p:spPr>
      </p:pic>
      <p:pic>
        <p:nvPicPr>
          <p:cNvPr id="8" name="Immagine 7"/>
          <p:cNvPicPr>
            <a:picLocks noChangeAspect="1"/>
          </p:cNvPicPr>
          <p:nvPr/>
        </p:nvPicPr>
        <p:blipFill>
          <a:blip r:embed="rId3"/>
          <a:stretch>
            <a:fillRect/>
          </a:stretch>
        </p:blipFill>
        <p:spPr>
          <a:xfrm>
            <a:off x="4932040" y="116632"/>
            <a:ext cx="3931905" cy="6678589"/>
          </a:xfrm>
          <a:prstGeom prst="rect">
            <a:avLst/>
          </a:prstGeom>
        </p:spPr>
      </p:pic>
      <p:pic>
        <p:nvPicPr>
          <p:cNvPr id="12" name="Immagine 11"/>
          <p:cNvPicPr>
            <a:picLocks noChangeAspect="1"/>
          </p:cNvPicPr>
          <p:nvPr/>
        </p:nvPicPr>
        <p:blipFill>
          <a:blip r:embed="rId4"/>
          <a:stretch>
            <a:fillRect/>
          </a:stretch>
        </p:blipFill>
        <p:spPr>
          <a:xfrm>
            <a:off x="133237" y="6040726"/>
            <a:ext cx="4622958" cy="751334"/>
          </a:xfrm>
          <a:prstGeom prst="rect">
            <a:avLst/>
          </a:prstGeom>
        </p:spPr>
      </p:pic>
    </p:spTree>
    <p:extLst>
      <p:ext uri="{BB962C8B-B14F-4D97-AF65-F5344CB8AC3E}">
        <p14:creationId xmlns:p14="http://schemas.microsoft.com/office/powerpoint/2010/main" val="126324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a:xfrm>
            <a:off x="467544" y="427104"/>
            <a:ext cx="8229600" cy="954107"/>
          </a:xfrm>
          <a:prstGeom prst="rect">
            <a:avLst/>
          </a:prstGeom>
        </p:spPr>
        <p:txBody>
          <a:bodyPr wrap="square">
            <a:spAutoFit/>
          </a:bodyPr>
          <a:lstStyle/>
          <a:p>
            <a:r>
              <a:rPr lang="it-IT" sz="2800" dirty="0" smtClean="0">
                <a:solidFill>
                  <a:srgbClr val="000000"/>
                </a:solidFill>
                <a:latin typeface="Arial" panose="020B0604020202020204" pitchFamily="34" charset="0"/>
                <a:cs typeface="Arial" panose="020B0604020202020204" pitchFamily="34" charset="0"/>
              </a:rPr>
              <a:t>2. </a:t>
            </a:r>
            <a:r>
              <a:rPr lang="it-IT" sz="2800" dirty="0" smtClean="0">
                <a:solidFill>
                  <a:srgbClr val="000000"/>
                </a:solidFill>
              </a:rPr>
              <a:t>Osteocytes </a:t>
            </a:r>
            <a:r>
              <a:rPr lang="it-IT" sz="2800" dirty="0">
                <a:solidFill>
                  <a:srgbClr val="000000"/>
                </a:solidFill>
              </a:rPr>
              <a:t>have an </a:t>
            </a:r>
            <a:r>
              <a:rPr lang="it-IT" sz="2800" dirty="0" err="1">
                <a:solidFill>
                  <a:srgbClr val="000000"/>
                </a:solidFill>
              </a:rPr>
              <a:t>important</a:t>
            </a:r>
            <a:r>
              <a:rPr lang="it-IT" sz="2800" dirty="0">
                <a:solidFill>
                  <a:srgbClr val="000000"/>
                </a:solidFill>
              </a:rPr>
              <a:t> </a:t>
            </a:r>
            <a:r>
              <a:rPr lang="it-IT" sz="2800" dirty="0" err="1">
                <a:solidFill>
                  <a:srgbClr val="000000"/>
                </a:solidFill>
              </a:rPr>
              <a:t>role</a:t>
            </a:r>
            <a:r>
              <a:rPr lang="it-IT" sz="2800" dirty="0">
                <a:solidFill>
                  <a:srgbClr val="000000"/>
                </a:solidFill>
              </a:rPr>
              <a:t> in bone turnover </a:t>
            </a:r>
            <a:r>
              <a:rPr lang="it-IT" sz="2800" dirty="0" err="1">
                <a:solidFill>
                  <a:srgbClr val="000000"/>
                </a:solidFill>
              </a:rPr>
              <a:t>regulation</a:t>
            </a:r>
            <a:r>
              <a:rPr lang="it-IT" sz="2800" dirty="0">
                <a:solidFill>
                  <a:srgbClr val="000000"/>
                </a:solidFill>
              </a:rPr>
              <a:t> and in the </a:t>
            </a:r>
            <a:r>
              <a:rPr lang="it-IT" sz="2800" dirty="0" err="1">
                <a:solidFill>
                  <a:srgbClr val="000000"/>
                </a:solidFill>
              </a:rPr>
              <a:t>metastatization</a:t>
            </a:r>
            <a:r>
              <a:rPr lang="it-IT" sz="2800" dirty="0">
                <a:solidFill>
                  <a:srgbClr val="000000"/>
                </a:solidFill>
              </a:rPr>
              <a:t> </a:t>
            </a:r>
            <a:r>
              <a:rPr lang="it-IT" sz="2800" dirty="0" err="1">
                <a:solidFill>
                  <a:srgbClr val="000000"/>
                </a:solidFill>
              </a:rPr>
              <a:t>process</a:t>
            </a:r>
            <a:r>
              <a:rPr lang="it-IT" sz="2800" dirty="0">
                <a:solidFill>
                  <a:srgbClr val="000000"/>
                </a:solidFill>
              </a:rPr>
              <a:t> </a:t>
            </a:r>
            <a:endParaRPr lang="it-IT" sz="28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80668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Grp="1" noChangeAspect="1" noChangeArrowheads="1"/>
          </p:cNvPicPr>
          <p:nvPr>
            <p:ph idx="1"/>
          </p:nvPr>
        </p:nvPicPr>
        <p:blipFill>
          <a:blip r:embed="rId2" cstate="print"/>
          <a:srcRect b="11038"/>
          <a:stretch>
            <a:fillRect/>
          </a:stretch>
        </p:blipFill>
        <p:spPr bwMode="auto">
          <a:xfrm>
            <a:off x="91448" y="1340768"/>
            <a:ext cx="7923699" cy="4752528"/>
          </a:xfrm>
          <a:prstGeom prst="rect">
            <a:avLst/>
          </a:prstGeom>
          <a:noFill/>
          <a:ln w="38100">
            <a:noFill/>
            <a:miter lim="800000"/>
            <a:headEnd/>
            <a:tailEnd/>
          </a:ln>
          <a:effectLst/>
        </p:spPr>
      </p:pic>
      <p:sp>
        <p:nvSpPr>
          <p:cNvPr id="5" name="Rettangolo 4"/>
          <p:cNvSpPr/>
          <p:nvPr/>
        </p:nvSpPr>
        <p:spPr>
          <a:xfrm>
            <a:off x="5493806" y="6519446"/>
            <a:ext cx="3382914" cy="338554"/>
          </a:xfrm>
          <a:prstGeom prst="rect">
            <a:avLst/>
          </a:prstGeom>
        </p:spPr>
        <p:txBody>
          <a:bodyPr wrap="none">
            <a:spAutoFit/>
          </a:bodyPr>
          <a:lstStyle/>
          <a:p>
            <a:pPr algn="ctr"/>
            <a:r>
              <a:rPr lang="it-IT" sz="1600" b="1" dirty="0" smtClean="0">
                <a:solidFill>
                  <a:srgbClr val="000000"/>
                </a:solidFill>
                <a:cs typeface="+mn-cs"/>
              </a:rPr>
              <a:t>Dallas SL </a:t>
            </a:r>
            <a:r>
              <a:rPr lang="it-IT" sz="1600" b="1" dirty="0" err="1" smtClean="0">
                <a:solidFill>
                  <a:srgbClr val="000000"/>
                </a:solidFill>
                <a:cs typeface="+mn-cs"/>
              </a:rPr>
              <a:t>et</a:t>
            </a:r>
            <a:r>
              <a:rPr lang="it-IT" sz="1600" b="1" dirty="0" smtClean="0">
                <a:solidFill>
                  <a:srgbClr val="000000"/>
                </a:solidFill>
                <a:cs typeface="+mn-cs"/>
              </a:rPr>
              <a:t> al. </a:t>
            </a:r>
            <a:r>
              <a:rPr lang="it-IT" sz="1600" b="1" dirty="0" err="1" smtClean="0">
                <a:solidFill>
                  <a:srgbClr val="000000"/>
                </a:solidFill>
                <a:cs typeface="+mn-cs"/>
              </a:rPr>
              <a:t>Endocr</a:t>
            </a:r>
            <a:r>
              <a:rPr lang="it-IT" sz="1600" b="1" dirty="0" smtClean="0">
                <a:solidFill>
                  <a:srgbClr val="000000"/>
                </a:solidFill>
                <a:cs typeface="+mn-cs"/>
              </a:rPr>
              <a:t> </a:t>
            </a:r>
            <a:r>
              <a:rPr lang="it-IT" sz="1600" b="1" dirty="0" err="1" smtClean="0">
                <a:solidFill>
                  <a:srgbClr val="000000"/>
                </a:solidFill>
                <a:cs typeface="+mn-cs"/>
              </a:rPr>
              <a:t>Rev</a:t>
            </a:r>
            <a:r>
              <a:rPr lang="it-IT" sz="1600" b="1" dirty="0" smtClean="0">
                <a:solidFill>
                  <a:srgbClr val="000000"/>
                </a:solidFill>
                <a:cs typeface="+mn-cs"/>
              </a:rPr>
              <a:t>, 2013</a:t>
            </a:r>
            <a:endParaRPr lang="it-IT" sz="1600" b="1" dirty="0">
              <a:solidFill>
                <a:srgbClr val="000000"/>
              </a:solidFill>
              <a:cs typeface="+mn-cs"/>
            </a:endParaRPr>
          </a:p>
        </p:txBody>
      </p:sp>
      <p:sp>
        <p:nvSpPr>
          <p:cNvPr id="6" name="Rettangolo 5"/>
          <p:cNvSpPr/>
          <p:nvPr/>
        </p:nvSpPr>
        <p:spPr>
          <a:xfrm>
            <a:off x="251520" y="176309"/>
            <a:ext cx="8625200" cy="523220"/>
          </a:xfrm>
          <a:prstGeom prst="rect">
            <a:avLst/>
          </a:prstGeom>
        </p:spPr>
        <p:txBody>
          <a:bodyPr wrap="square">
            <a:spAutoFit/>
          </a:bodyPr>
          <a:lstStyle/>
          <a:p>
            <a:pPr algn="ctr"/>
            <a:r>
              <a:rPr lang="it-IT" sz="2800" b="1" dirty="0" err="1" smtClean="0">
                <a:solidFill>
                  <a:srgbClr val="000000"/>
                </a:solidFill>
                <a:cs typeface="+mn-cs"/>
              </a:rPr>
              <a:t>Functions</a:t>
            </a:r>
            <a:r>
              <a:rPr lang="it-IT" sz="2800" b="1" dirty="0" smtClean="0">
                <a:solidFill>
                  <a:srgbClr val="000000"/>
                </a:solidFill>
                <a:cs typeface="+mn-cs"/>
              </a:rPr>
              <a:t> of osteocytes</a:t>
            </a:r>
            <a:endParaRPr lang="it-IT" sz="2800" b="1" dirty="0">
              <a:solidFill>
                <a:srgbClr val="000000"/>
              </a:solidFill>
              <a:cs typeface="+mn-cs"/>
            </a:endParaRPr>
          </a:p>
        </p:txBody>
      </p:sp>
      <p:sp>
        <p:nvSpPr>
          <p:cNvPr id="8" name="Rettangolo 7"/>
          <p:cNvSpPr/>
          <p:nvPr/>
        </p:nvSpPr>
        <p:spPr>
          <a:xfrm>
            <a:off x="4067947" y="1124744"/>
            <a:ext cx="4248472" cy="5112568"/>
          </a:xfrm>
          <a:prstGeom prst="rect">
            <a:avLst/>
          </a:prstGeom>
          <a:solidFill>
            <a:srgbClr val="A4A4FE">
              <a:alpha val="2705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000" dirty="0">
              <a:solidFill>
                <a:srgbClr val="FFFFFF"/>
              </a:solidFill>
            </a:endParaRPr>
          </a:p>
        </p:txBody>
      </p:sp>
      <p:sp>
        <p:nvSpPr>
          <p:cNvPr id="9" name="Figura a mano libera 8"/>
          <p:cNvSpPr/>
          <p:nvPr/>
        </p:nvSpPr>
        <p:spPr>
          <a:xfrm>
            <a:off x="2147668" y="4834603"/>
            <a:ext cx="3985846" cy="1008185"/>
          </a:xfrm>
          <a:custGeom>
            <a:avLst/>
            <a:gdLst>
              <a:gd name="connsiteX0" fmla="*/ 3985846 w 3985846"/>
              <a:gd name="connsiteY0" fmla="*/ 468923 h 1008185"/>
              <a:gd name="connsiteX1" fmla="*/ 1988234 w 3985846"/>
              <a:gd name="connsiteY1" fmla="*/ 947225 h 1008185"/>
              <a:gd name="connsiteX2" fmla="*/ 173501 w 3985846"/>
              <a:gd name="connsiteY2" fmla="*/ 103163 h 1008185"/>
              <a:gd name="connsiteX3" fmla="*/ 173501 w 3985846"/>
              <a:gd name="connsiteY3" fmla="*/ 103163 h 1008185"/>
              <a:gd name="connsiteX4" fmla="*/ 60960 w 3985846"/>
              <a:gd name="connsiteY4" fmla="*/ 60960 h 1008185"/>
              <a:gd name="connsiteX5" fmla="*/ 4689 w 3985846"/>
              <a:gd name="connsiteY5" fmla="*/ 18757 h 1008185"/>
              <a:gd name="connsiteX6" fmla="*/ 32824 w 3985846"/>
              <a:gd name="connsiteY6" fmla="*/ 173501 h 1008185"/>
              <a:gd name="connsiteX7" fmla="*/ 173501 w 3985846"/>
              <a:gd name="connsiteY7" fmla="*/ 18757 h 1008185"/>
              <a:gd name="connsiteX8" fmla="*/ 173501 w 3985846"/>
              <a:gd name="connsiteY8" fmla="*/ 18757 h 1008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5846" h="1008185">
                <a:moveTo>
                  <a:pt x="3985846" y="468923"/>
                </a:moveTo>
                <a:cubicBezTo>
                  <a:pt x="3304735" y="738554"/>
                  <a:pt x="2623625" y="1008185"/>
                  <a:pt x="1988234" y="947225"/>
                </a:cubicBezTo>
                <a:cubicBezTo>
                  <a:pt x="1352843" y="886265"/>
                  <a:pt x="173501" y="103163"/>
                  <a:pt x="173501" y="103163"/>
                </a:cubicBezTo>
                <a:lnTo>
                  <a:pt x="173501" y="103163"/>
                </a:lnTo>
                <a:cubicBezTo>
                  <a:pt x="154744" y="96129"/>
                  <a:pt x="89095" y="75028"/>
                  <a:pt x="60960" y="60960"/>
                </a:cubicBezTo>
                <a:cubicBezTo>
                  <a:pt x="32825" y="46892"/>
                  <a:pt x="9378" y="0"/>
                  <a:pt x="4689" y="18757"/>
                </a:cubicBezTo>
                <a:cubicBezTo>
                  <a:pt x="0" y="37514"/>
                  <a:pt x="4689" y="173501"/>
                  <a:pt x="32824" y="173501"/>
                </a:cubicBezTo>
                <a:cubicBezTo>
                  <a:pt x="60959" y="173501"/>
                  <a:pt x="173501" y="18757"/>
                  <a:pt x="173501" y="18757"/>
                </a:cubicBezTo>
                <a:lnTo>
                  <a:pt x="173501" y="18757"/>
                </a:lnTo>
              </a:path>
            </a:pathLst>
          </a:custGeom>
          <a:ln w="381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sz="2000">
              <a:solidFill>
                <a:prstClr val="black"/>
              </a:solidFill>
            </a:endParaRPr>
          </a:p>
        </p:txBody>
      </p:sp>
      <p:sp>
        <p:nvSpPr>
          <p:cNvPr id="12" name="CasellaDiTesto 11"/>
          <p:cNvSpPr txBox="1"/>
          <p:nvPr/>
        </p:nvSpPr>
        <p:spPr>
          <a:xfrm>
            <a:off x="83068" y="6596396"/>
            <a:ext cx="3130985" cy="307777"/>
          </a:xfrm>
          <a:prstGeom prst="rect">
            <a:avLst/>
          </a:prstGeom>
          <a:noFill/>
        </p:spPr>
        <p:txBody>
          <a:bodyPr wrap="none" rtlCol="0">
            <a:spAutoFit/>
          </a:bodyPr>
          <a:lstStyle/>
          <a:p>
            <a:pPr algn="ctr"/>
            <a:r>
              <a:rPr lang="it-IT" sz="1400" dirty="0" err="1" smtClean="0">
                <a:solidFill>
                  <a:prstClr val="black"/>
                </a:solidFill>
                <a:cs typeface="+mn-cs"/>
              </a:rPr>
              <a:t>Kowgawa</a:t>
            </a:r>
            <a:r>
              <a:rPr lang="it-IT" sz="1400" dirty="0" smtClean="0">
                <a:solidFill>
                  <a:prstClr val="black"/>
                </a:solidFill>
                <a:cs typeface="+mn-cs"/>
              </a:rPr>
              <a:t> M  J </a:t>
            </a:r>
            <a:r>
              <a:rPr lang="it-IT" sz="1400" dirty="0" err="1" smtClean="0">
                <a:solidFill>
                  <a:prstClr val="black"/>
                </a:solidFill>
                <a:cs typeface="+mn-cs"/>
              </a:rPr>
              <a:t>Bone</a:t>
            </a:r>
            <a:r>
              <a:rPr lang="it-IT" sz="1400" dirty="0" smtClean="0">
                <a:solidFill>
                  <a:prstClr val="black"/>
                </a:solidFill>
                <a:cs typeface="+mn-cs"/>
              </a:rPr>
              <a:t> </a:t>
            </a:r>
            <a:r>
              <a:rPr lang="it-IT" sz="1400" dirty="0" err="1" smtClean="0">
                <a:solidFill>
                  <a:prstClr val="black"/>
                </a:solidFill>
                <a:cs typeface="+mn-cs"/>
              </a:rPr>
              <a:t>Miner</a:t>
            </a:r>
            <a:r>
              <a:rPr lang="it-IT" sz="1400" dirty="0" smtClean="0">
                <a:solidFill>
                  <a:prstClr val="black"/>
                </a:solidFill>
                <a:cs typeface="+mn-cs"/>
              </a:rPr>
              <a:t> </a:t>
            </a:r>
            <a:r>
              <a:rPr lang="it-IT" sz="1400" dirty="0" err="1" smtClean="0">
                <a:solidFill>
                  <a:prstClr val="black"/>
                </a:solidFill>
                <a:cs typeface="+mn-cs"/>
              </a:rPr>
              <a:t>Res</a:t>
            </a:r>
            <a:r>
              <a:rPr lang="it-IT" sz="1400" dirty="0" smtClean="0">
                <a:solidFill>
                  <a:prstClr val="black"/>
                </a:solidFill>
                <a:cs typeface="+mn-cs"/>
              </a:rPr>
              <a:t> 2013</a:t>
            </a:r>
            <a:endParaRPr lang="it-IT" sz="1400" dirty="0">
              <a:solidFill>
                <a:prstClr val="black"/>
              </a:solidFill>
              <a:cs typeface="+mn-cs"/>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a:xfrm>
            <a:off x="107504" y="0"/>
            <a:ext cx="8784976" cy="1143000"/>
          </a:xfrm>
        </p:spPr>
        <p:txBody>
          <a:bodyPr>
            <a:noAutofit/>
          </a:bodyPr>
          <a:lstStyle/>
          <a:p>
            <a:r>
              <a:rPr lang="it-IT" sz="3200" dirty="0" err="1" smtClean="0"/>
              <a:t>Osteocytic</a:t>
            </a:r>
            <a:r>
              <a:rPr lang="it-IT" sz="3200" dirty="0" smtClean="0"/>
              <a:t> </a:t>
            </a:r>
            <a:r>
              <a:rPr lang="it-IT" sz="3200" dirty="0" err="1" smtClean="0"/>
              <a:t>Connexin</a:t>
            </a:r>
            <a:r>
              <a:rPr lang="it-IT" sz="3200" dirty="0" smtClean="0"/>
              <a:t> </a:t>
            </a:r>
            <a:r>
              <a:rPr lang="it-IT" sz="3200" dirty="0" err="1" smtClean="0"/>
              <a:t>hemichannel</a:t>
            </a:r>
            <a:r>
              <a:rPr lang="it-IT" sz="3200" dirty="0" smtClean="0"/>
              <a:t> </a:t>
            </a:r>
            <a:r>
              <a:rPr lang="it-IT" sz="3200" dirty="0" err="1" smtClean="0"/>
              <a:t>suppress</a:t>
            </a:r>
            <a:r>
              <a:rPr lang="it-IT" sz="3200" dirty="0" smtClean="0"/>
              <a:t> </a:t>
            </a:r>
            <a:r>
              <a:rPr lang="it-IT" sz="3200" dirty="0" err="1" smtClean="0"/>
              <a:t>breast</a:t>
            </a:r>
            <a:r>
              <a:rPr lang="it-IT" sz="3200" dirty="0" smtClean="0"/>
              <a:t> </a:t>
            </a:r>
            <a:r>
              <a:rPr lang="it-IT" sz="3200" dirty="0" err="1" smtClean="0"/>
              <a:t>cancer</a:t>
            </a:r>
            <a:r>
              <a:rPr lang="it-IT" sz="3200" dirty="0" smtClean="0"/>
              <a:t> </a:t>
            </a:r>
            <a:r>
              <a:rPr lang="it-IT" sz="3200" dirty="0" err="1" smtClean="0"/>
              <a:t>growth</a:t>
            </a:r>
            <a:r>
              <a:rPr lang="it-IT" sz="3200" dirty="0" smtClean="0"/>
              <a:t> and bone </a:t>
            </a:r>
            <a:r>
              <a:rPr lang="it-IT" sz="3200" dirty="0" err="1" smtClean="0"/>
              <a:t>metastases</a:t>
            </a:r>
            <a:endParaRPr lang="it-IT" sz="3200" dirty="0"/>
          </a:p>
        </p:txBody>
      </p:sp>
      <p:pic>
        <p:nvPicPr>
          <p:cNvPr id="5" name="Immagine 4"/>
          <p:cNvPicPr>
            <a:picLocks noChangeAspect="1"/>
          </p:cNvPicPr>
          <p:nvPr/>
        </p:nvPicPr>
        <p:blipFill>
          <a:blip r:embed="rId2"/>
          <a:stretch>
            <a:fillRect/>
          </a:stretch>
        </p:blipFill>
        <p:spPr>
          <a:xfrm>
            <a:off x="0" y="1340768"/>
            <a:ext cx="7347755" cy="3007917"/>
          </a:xfrm>
          <a:prstGeom prst="rect">
            <a:avLst/>
          </a:prstGeom>
        </p:spPr>
      </p:pic>
      <p:pic>
        <p:nvPicPr>
          <p:cNvPr id="6" name="Immagine 5"/>
          <p:cNvPicPr>
            <a:picLocks noChangeAspect="1"/>
          </p:cNvPicPr>
          <p:nvPr/>
        </p:nvPicPr>
        <p:blipFill>
          <a:blip r:embed="rId3"/>
          <a:stretch>
            <a:fillRect/>
          </a:stretch>
        </p:blipFill>
        <p:spPr>
          <a:xfrm>
            <a:off x="3131840" y="4331096"/>
            <a:ext cx="5256594" cy="2317748"/>
          </a:xfrm>
          <a:prstGeom prst="rect">
            <a:avLst/>
          </a:prstGeom>
        </p:spPr>
      </p:pic>
      <p:sp>
        <p:nvSpPr>
          <p:cNvPr id="7" name="CasellaDiTesto 6"/>
          <p:cNvSpPr txBox="1"/>
          <p:nvPr/>
        </p:nvSpPr>
        <p:spPr>
          <a:xfrm>
            <a:off x="5846710" y="6505803"/>
            <a:ext cx="3045770" cy="369332"/>
          </a:xfrm>
          <a:prstGeom prst="rect">
            <a:avLst/>
          </a:prstGeom>
          <a:noFill/>
        </p:spPr>
        <p:txBody>
          <a:bodyPr wrap="none" rtlCol="0">
            <a:spAutoFit/>
          </a:bodyPr>
          <a:lstStyle/>
          <a:p>
            <a:r>
              <a:rPr lang="it-IT" dirty="0" smtClean="0"/>
              <a:t>Zhou JZ et al, Oncogene, 2016 </a:t>
            </a:r>
            <a:endParaRPr lang="it-IT" dirty="0"/>
          </a:p>
        </p:txBody>
      </p:sp>
    </p:spTree>
    <p:extLst>
      <p:ext uri="{BB962C8B-B14F-4D97-AF65-F5344CB8AC3E}">
        <p14:creationId xmlns:p14="http://schemas.microsoft.com/office/powerpoint/2010/main" val="1755825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0" y="274638"/>
            <a:ext cx="9144000" cy="1143000"/>
          </a:xfrm>
        </p:spPr>
        <p:txBody>
          <a:bodyPr>
            <a:noAutofit/>
          </a:bodyPr>
          <a:lstStyle/>
          <a:p>
            <a:r>
              <a:rPr lang="it-IT" sz="2800" dirty="0" smtClean="0">
                <a:latin typeface="Arial" panose="020B0604020202020204" pitchFamily="34" charset="0"/>
                <a:cs typeface="Arial" panose="020B0604020202020204" pitchFamily="34" charset="0"/>
              </a:rPr>
              <a:t>3. </a:t>
            </a:r>
            <a:r>
              <a:rPr lang="it-IT" sz="2800" dirty="0" err="1" smtClean="0">
                <a:latin typeface="Arial" panose="020B0604020202020204" pitchFamily="34" charset="0"/>
                <a:cs typeface="Arial" panose="020B0604020202020204" pitchFamily="34" charset="0"/>
              </a:rPr>
              <a:t>Osteobasts</a:t>
            </a:r>
            <a:r>
              <a:rPr lang="it-IT" sz="2800" dirty="0" smtClean="0">
                <a:latin typeface="Arial" panose="020B0604020202020204" pitchFamily="34" charset="0"/>
                <a:cs typeface="Arial" panose="020B0604020202020204" pitchFamily="34" charset="0"/>
              </a:rPr>
              <a:t> have an </a:t>
            </a:r>
            <a:r>
              <a:rPr lang="it-IT" sz="2800" dirty="0" err="1" smtClean="0">
                <a:latin typeface="Arial" panose="020B0604020202020204" pitchFamily="34" charset="0"/>
                <a:cs typeface="Arial" panose="020B0604020202020204" pitchFamily="34" charset="0"/>
              </a:rPr>
              <a:t>important</a:t>
            </a:r>
            <a:r>
              <a:rPr lang="it-IT" sz="2800" dirty="0" smtClean="0">
                <a:latin typeface="Arial" panose="020B0604020202020204" pitchFamily="34" charset="0"/>
                <a:cs typeface="Arial" panose="020B0604020202020204" pitchFamily="34" charset="0"/>
              </a:rPr>
              <a:t> </a:t>
            </a:r>
            <a:r>
              <a:rPr lang="it-IT" sz="2800" dirty="0" err="1" smtClean="0">
                <a:latin typeface="Arial" panose="020B0604020202020204" pitchFamily="34" charset="0"/>
                <a:cs typeface="Arial" panose="020B0604020202020204" pitchFamily="34" charset="0"/>
              </a:rPr>
              <a:t>role</a:t>
            </a:r>
            <a:r>
              <a:rPr lang="it-IT" sz="2800" dirty="0" smtClean="0">
                <a:latin typeface="Arial" panose="020B0604020202020204" pitchFamily="34" charset="0"/>
                <a:cs typeface="Arial" panose="020B0604020202020204" pitchFamily="34" charset="0"/>
              </a:rPr>
              <a:t> in the bone </a:t>
            </a:r>
            <a:r>
              <a:rPr lang="it-IT" sz="2800" dirty="0" err="1" smtClean="0">
                <a:latin typeface="Arial" panose="020B0604020202020204" pitchFamily="34" charset="0"/>
                <a:cs typeface="Arial" panose="020B0604020202020204" pitchFamily="34" charset="0"/>
              </a:rPr>
              <a:t>homing</a:t>
            </a:r>
            <a:r>
              <a:rPr lang="it-IT" sz="2800" dirty="0" smtClean="0">
                <a:latin typeface="Arial" panose="020B0604020202020204" pitchFamily="34" charset="0"/>
                <a:cs typeface="Arial" panose="020B0604020202020204" pitchFamily="34" charset="0"/>
              </a:rPr>
              <a:t> of </a:t>
            </a:r>
            <a:r>
              <a:rPr lang="it-IT" sz="2800" dirty="0" err="1" smtClean="0">
                <a:latin typeface="Arial" panose="020B0604020202020204" pitchFamily="34" charset="0"/>
                <a:cs typeface="Arial" panose="020B0604020202020204" pitchFamily="34" charset="0"/>
              </a:rPr>
              <a:t>cancer</a:t>
            </a:r>
            <a:r>
              <a:rPr lang="it-IT" sz="2800" dirty="0" smtClean="0">
                <a:latin typeface="Arial" panose="020B0604020202020204" pitchFamily="34" charset="0"/>
                <a:cs typeface="Arial" panose="020B0604020202020204" pitchFamily="34" charset="0"/>
              </a:rPr>
              <a:t> </a:t>
            </a:r>
            <a:r>
              <a:rPr lang="it-IT" sz="2800" dirty="0" err="1" smtClean="0">
                <a:latin typeface="Arial" panose="020B0604020202020204" pitchFamily="34" charset="0"/>
                <a:cs typeface="Arial" panose="020B0604020202020204" pitchFamily="34" charset="0"/>
              </a:rPr>
              <a:t>cells</a:t>
            </a:r>
            <a:endParaRPr lang="it-IT"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5796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2"/>
          <p:cNvSpPr>
            <a:spLocks noChangeArrowheads="1"/>
          </p:cNvSpPr>
          <p:nvPr/>
        </p:nvSpPr>
        <p:spPr bwMode="auto">
          <a:xfrm>
            <a:off x="347688" y="5157788"/>
            <a:ext cx="8383587" cy="1295400"/>
          </a:xfrm>
          <a:prstGeom prst="rect">
            <a:avLst/>
          </a:prstGeom>
          <a:solidFill>
            <a:srgbClr val="DDDDDD"/>
          </a:solidFill>
          <a:ln w="9525">
            <a:solidFill>
              <a:schemeClr val="tx1"/>
            </a:solidFill>
            <a:miter lim="800000"/>
            <a:headEnd/>
            <a:tailEnd/>
          </a:ln>
        </p:spPr>
        <p:txBody>
          <a:bodyPr wrap="none" lIns="91404" tIns="45702" rIns="91404" bIns="45702" anchor="ctr"/>
          <a:lstStyle/>
          <a:p>
            <a:pPr algn="ctr" eaLnBrk="0" hangingPunct="0"/>
            <a:endParaRPr lang="it-IT" sz="2400" b="1" smtClean="0">
              <a:solidFill>
                <a:srgbClr val="FFFFFF"/>
              </a:solidFill>
              <a:cs typeface="Arial"/>
            </a:endParaRPr>
          </a:p>
        </p:txBody>
      </p:sp>
      <p:sp>
        <p:nvSpPr>
          <p:cNvPr id="187395" name="Text Box 3"/>
          <p:cNvSpPr txBox="1">
            <a:spLocks noChangeArrowheads="1"/>
          </p:cNvSpPr>
          <p:nvPr/>
        </p:nvSpPr>
        <p:spPr bwMode="auto">
          <a:xfrm>
            <a:off x="649289" y="5992814"/>
            <a:ext cx="671734" cy="338518"/>
          </a:xfrm>
          <a:prstGeom prst="rect">
            <a:avLst/>
          </a:prstGeom>
          <a:noFill/>
          <a:ln w="9525">
            <a:noFill/>
            <a:miter lim="800000"/>
            <a:headEnd/>
            <a:tailEnd/>
          </a:ln>
        </p:spPr>
        <p:txBody>
          <a:bodyPr wrap="none" lIns="91404" tIns="45702" rIns="91404" bIns="45702">
            <a:spAutoFit/>
          </a:bodyPr>
          <a:lstStyle/>
          <a:p>
            <a:pPr eaLnBrk="0" hangingPunct="0"/>
            <a:r>
              <a:rPr lang="it-IT" sz="1600" i="1" smtClean="0">
                <a:solidFill>
                  <a:srgbClr val="000000"/>
                </a:solidFill>
                <a:cs typeface="Arial"/>
              </a:rPr>
              <a:t>Bone</a:t>
            </a:r>
          </a:p>
        </p:txBody>
      </p:sp>
      <p:sp>
        <p:nvSpPr>
          <p:cNvPr id="187396" name="Freeform 4"/>
          <p:cNvSpPr>
            <a:spLocks/>
          </p:cNvSpPr>
          <p:nvPr/>
        </p:nvSpPr>
        <p:spPr bwMode="auto">
          <a:xfrm>
            <a:off x="2724150" y="4410075"/>
            <a:ext cx="3294063" cy="1462088"/>
          </a:xfrm>
          <a:custGeom>
            <a:avLst/>
            <a:gdLst>
              <a:gd name="T0" fmla="*/ 0 w 2335"/>
              <a:gd name="T1" fmla="*/ 2147483647 h 921"/>
              <a:gd name="T2" fmla="*/ 2147483647 w 2335"/>
              <a:gd name="T3" fmla="*/ 2147483647 h 921"/>
              <a:gd name="T4" fmla="*/ 2147483647 w 2335"/>
              <a:gd name="T5" fmla="*/ 2147483647 h 921"/>
              <a:gd name="T6" fmla="*/ 2147483647 w 2335"/>
              <a:gd name="T7" fmla="*/ 2147483647 h 921"/>
              <a:gd name="T8" fmla="*/ 2147483647 w 2335"/>
              <a:gd name="T9" fmla="*/ 2147483647 h 921"/>
              <a:gd name="T10" fmla="*/ 2147483647 w 2335"/>
              <a:gd name="T11" fmla="*/ 2147483647 h 921"/>
              <a:gd name="T12" fmla="*/ 2147483647 w 2335"/>
              <a:gd name="T13" fmla="*/ 2147483647 h 921"/>
              <a:gd name="T14" fmla="*/ 2147483647 w 2335"/>
              <a:gd name="T15" fmla="*/ 2147483647 h 921"/>
              <a:gd name="T16" fmla="*/ 2147483647 w 2335"/>
              <a:gd name="T17" fmla="*/ 2147483647 h 921"/>
              <a:gd name="T18" fmla="*/ 2147483647 w 2335"/>
              <a:gd name="T19" fmla="*/ 2147483647 h 921"/>
              <a:gd name="T20" fmla="*/ 2147483647 w 2335"/>
              <a:gd name="T21" fmla="*/ 2147483647 h 921"/>
              <a:gd name="T22" fmla="*/ 2147483647 w 2335"/>
              <a:gd name="T23" fmla="*/ 2147483647 h 921"/>
              <a:gd name="T24" fmla="*/ 2147483647 w 2335"/>
              <a:gd name="T25" fmla="*/ 2147483647 h 921"/>
              <a:gd name="T26" fmla="*/ 2147483647 w 2335"/>
              <a:gd name="T27" fmla="*/ 2147483647 h 921"/>
              <a:gd name="T28" fmla="*/ 2147483647 w 2335"/>
              <a:gd name="T29" fmla="*/ 2147483647 h 921"/>
              <a:gd name="T30" fmla="*/ 2147483647 w 2335"/>
              <a:gd name="T31" fmla="*/ 2147483647 h 921"/>
              <a:gd name="T32" fmla="*/ 2147483647 w 2335"/>
              <a:gd name="T33" fmla="*/ 2147483647 h 921"/>
              <a:gd name="T34" fmla="*/ 0 w 2335"/>
              <a:gd name="T35" fmla="*/ 2147483647 h 9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35"/>
              <a:gd name="T55" fmla="*/ 0 h 921"/>
              <a:gd name="T56" fmla="*/ 2335 w 2335"/>
              <a:gd name="T57" fmla="*/ 921 h 9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35" h="921">
                <a:moveTo>
                  <a:pt x="0" y="476"/>
                </a:moveTo>
                <a:cubicBezTo>
                  <a:pt x="83" y="517"/>
                  <a:pt x="174" y="526"/>
                  <a:pt x="253" y="577"/>
                </a:cubicBezTo>
                <a:cubicBezTo>
                  <a:pt x="273" y="658"/>
                  <a:pt x="253" y="717"/>
                  <a:pt x="344" y="739"/>
                </a:cubicBezTo>
                <a:cubicBezTo>
                  <a:pt x="383" y="765"/>
                  <a:pt x="409" y="770"/>
                  <a:pt x="455" y="779"/>
                </a:cubicBezTo>
                <a:cubicBezTo>
                  <a:pt x="550" y="921"/>
                  <a:pt x="651" y="854"/>
                  <a:pt x="859" y="860"/>
                </a:cubicBezTo>
                <a:cubicBezTo>
                  <a:pt x="1045" y="875"/>
                  <a:pt x="927" y="865"/>
                  <a:pt x="1031" y="900"/>
                </a:cubicBezTo>
                <a:cubicBezTo>
                  <a:pt x="1150" y="894"/>
                  <a:pt x="1286" y="899"/>
                  <a:pt x="1405" y="870"/>
                </a:cubicBezTo>
                <a:cubicBezTo>
                  <a:pt x="1427" y="855"/>
                  <a:pt x="1453" y="845"/>
                  <a:pt x="1475" y="830"/>
                </a:cubicBezTo>
                <a:cubicBezTo>
                  <a:pt x="1483" y="824"/>
                  <a:pt x="1487" y="813"/>
                  <a:pt x="1496" y="809"/>
                </a:cubicBezTo>
                <a:cubicBezTo>
                  <a:pt x="1521" y="799"/>
                  <a:pt x="1667" y="789"/>
                  <a:pt x="1667" y="789"/>
                </a:cubicBezTo>
                <a:cubicBezTo>
                  <a:pt x="1698" y="769"/>
                  <a:pt x="1701" y="773"/>
                  <a:pt x="1718" y="739"/>
                </a:cubicBezTo>
                <a:cubicBezTo>
                  <a:pt x="1723" y="729"/>
                  <a:pt x="1721" y="717"/>
                  <a:pt x="1728" y="708"/>
                </a:cubicBezTo>
                <a:cubicBezTo>
                  <a:pt x="1757" y="671"/>
                  <a:pt x="1827" y="666"/>
                  <a:pt x="1870" y="658"/>
                </a:cubicBezTo>
                <a:cubicBezTo>
                  <a:pt x="1904" y="551"/>
                  <a:pt x="1851" y="707"/>
                  <a:pt x="1900" y="597"/>
                </a:cubicBezTo>
                <a:cubicBezTo>
                  <a:pt x="1909" y="578"/>
                  <a:pt x="1900" y="544"/>
                  <a:pt x="1920" y="537"/>
                </a:cubicBezTo>
                <a:cubicBezTo>
                  <a:pt x="1963" y="521"/>
                  <a:pt x="1940" y="529"/>
                  <a:pt x="1991" y="516"/>
                </a:cubicBezTo>
                <a:cubicBezTo>
                  <a:pt x="2335" y="0"/>
                  <a:pt x="751" y="449"/>
                  <a:pt x="131" y="446"/>
                </a:cubicBezTo>
                <a:cubicBezTo>
                  <a:pt x="18" y="457"/>
                  <a:pt x="58" y="437"/>
                  <a:pt x="0" y="476"/>
                </a:cubicBezTo>
                <a:close/>
              </a:path>
            </a:pathLst>
          </a:custGeom>
          <a:solidFill>
            <a:schemeClr val="bg1"/>
          </a:solidFill>
          <a:ln w="9525">
            <a:noFill/>
            <a:round/>
            <a:headEnd/>
            <a:tailEnd/>
          </a:ln>
        </p:spPr>
        <p:txBody>
          <a:bodyPr/>
          <a:lstStyle/>
          <a:p>
            <a:endParaRPr lang="it-IT" smtClean="0">
              <a:solidFill>
                <a:srgbClr val="000000"/>
              </a:solidFill>
              <a:cs typeface="Arial"/>
            </a:endParaRPr>
          </a:p>
        </p:txBody>
      </p:sp>
      <p:grpSp>
        <p:nvGrpSpPr>
          <p:cNvPr id="2" name="Group 5"/>
          <p:cNvGrpSpPr>
            <a:grpSpLocks/>
          </p:cNvGrpSpPr>
          <p:nvPr/>
        </p:nvGrpSpPr>
        <p:grpSpPr bwMode="auto">
          <a:xfrm>
            <a:off x="3163913" y="5084811"/>
            <a:ext cx="1889125" cy="682625"/>
            <a:chOff x="2242" y="3203"/>
            <a:chExt cx="1339" cy="430"/>
          </a:xfrm>
        </p:grpSpPr>
        <p:grpSp>
          <p:nvGrpSpPr>
            <p:cNvPr id="3" name="Group 6"/>
            <p:cNvGrpSpPr>
              <a:grpSpLocks/>
            </p:cNvGrpSpPr>
            <p:nvPr/>
          </p:nvGrpSpPr>
          <p:grpSpPr bwMode="auto">
            <a:xfrm rot="-1539004">
              <a:off x="3149" y="3249"/>
              <a:ext cx="432" cy="384"/>
              <a:chOff x="868" y="1240"/>
              <a:chExt cx="713" cy="869"/>
            </a:xfrm>
          </p:grpSpPr>
          <p:sp>
            <p:nvSpPr>
              <p:cNvPr id="187509" name="Freeform 7"/>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smtClean="0">
                  <a:solidFill>
                    <a:srgbClr val="000000"/>
                  </a:solidFill>
                  <a:cs typeface="Arial"/>
                </a:endParaRPr>
              </a:p>
            </p:txBody>
          </p:sp>
          <p:sp>
            <p:nvSpPr>
              <p:cNvPr id="187510" name="Freeform 8"/>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smtClean="0">
                  <a:solidFill>
                    <a:srgbClr val="000000"/>
                  </a:solidFill>
                  <a:cs typeface="Arial"/>
                </a:endParaRPr>
              </a:p>
            </p:txBody>
          </p:sp>
          <p:sp>
            <p:nvSpPr>
              <p:cNvPr id="187511" name="Freeform 9"/>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smtClean="0">
                  <a:solidFill>
                    <a:srgbClr val="000000"/>
                  </a:solidFill>
                  <a:cs typeface="Arial"/>
                </a:endParaRPr>
              </a:p>
            </p:txBody>
          </p:sp>
          <p:sp>
            <p:nvSpPr>
              <p:cNvPr id="187512" name="Freeform 10"/>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smtClean="0">
                  <a:solidFill>
                    <a:srgbClr val="000000"/>
                  </a:solidFill>
                  <a:cs typeface="Arial"/>
                </a:endParaRPr>
              </a:p>
            </p:txBody>
          </p:sp>
        </p:grpSp>
        <p:grpSp>
          <p:nvGrpSpPr>
            <p:cNvPr id="4" name="Group 11"/>
            <p:cNvGrpSpPr>
              <a:grpSpLocks/>
            </p:cNvGrpSpPr>
            <p:nvPr/>
          </p:nvGrpSpPr>
          <p:grpSpPr bwMode="auto">
            <a:xfrm rot="2120282">
              <a:off x="2242" y="3203"/>
              <a:ext cx="432" cy="384"/>
              <a:chOff x="868" y="1240"/>
              <a:chExt cx="713" cy="869"/>
            </a:xfrm>
          </p:grpSpPr>
          <p:sp>
            <p:nvSpPr>
              <p:cNvPr id="187505" name="Freeform 12"/>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smtClean="0">
                  <a:solidFill>
                    <a:srgbClr val="000000"/>
                  </a:solidFill>
                  <a:cs typeface="Arial"/>
                </a:endParaRPr>
              </a:p>
            </p:txBody>
          </p:sp>
          <p:sp>
            <p:nvSpPr>
              <p:cNvPr id="187506" name="Freeform 13"/>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smtClean="0">
                  <a:solidFill>
                    <a:srgbClr val="000000"/>
                  </a:solidFill>
                  <a:cs typeface="Arial"/>
                </a:endParaRPr>
              </a:p>
            </p:txBody>
          </p:sp>
          <p:sp>
            <p:nvSpPr>
              <p:cNvPr id="187507" name="Freeform 14"/>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smtClean="0">
                  <a:solidFill>
                    <a:srgbClr val="000000"/>
                  </a:solidFill>
                  <a:cs typeface="Arial"/>
                </a:endParaRPr>
              </a:p>
            </p:txBody>
          </p:sp>
          <p:sp>
            <p:nvSpPr>
              <p:cNvPr id="187508" name="Freeform 15"/>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smtClean="0">
                  <a:solidFill>
                    <a:srgbClr val="000000"/>
                  </a:solidFill>
                  <a:cs typeface="Arial"/>
                </a:endParaRPr>
              </a:p>
            </p:txBody>
          </p:sp>
        </p:grpSp>
      </p:grpSp>
      <p:grpSp>
        <p:nvGrpSpPr>
          <p:cNvPr id="5" name="Group 16"/>
          <p:cNvGrpSpPr>
            <a:grpSpLocks/>
          </p:cNvGrpSpPr>
          <p:nvPr/>
        </p:nvGrpSpPr>
        <p:grpSpPr bwMode="auto">
          <a:xfrm rot="-12360">
            <a:off x="2076450" y="4581573"/>
            <a:ext cx="674688" cy="600075"/>
            <a:chOff x="6877" y="4218"/>
            <a:chExt cx="406" cy="378"/>
          </a:xfrm>
        </p:grpSpPr>
        <p:sp>
          <p:nvSpPr>
            <p:cNvPr id="187501" name="Freeform 17"/>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smtClean="0">
                <a:solidFill>
                  <a:srgbClr val="000000"/>
                </a:solidFill>
                <a:cs typeface="Arial"/>
              </a:endParaRPr>
            </a:p>
          </p:txBody>
        </p:sp>
        <p:sp>
          <p:nvSpPr>
            <p:cNvPr id="187502" name="Oval 18"/>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endParaRPr lang="it-IT" sz="1200" b="1" smtClean="0">
                <a:solidFill>
                  <a:srgbClr val="000000"/>
                </a:solidFill>
                <a:latin typeface="Times New Roman" pitchFamily="18" charset="0"/>
                <a:cs typeface="Arial"/>
              </a:endParaRPr>
            </a:p>
          </p:txBody>
        </p:sp>
      </p:grpSp>
      <p:grpSp>
        <p:nvGrpSpPr>
          <p:cNvPr id="6" name="Group 19"/>
          <p:cNvGrpSpPr>
            <a:grpSpLocks/>
          </p:cNvGrpSpPr>
          <p:nvPr/>
        </p:nvGrpSpPr>
        <p:grpSpPr bwMode="auto">
          <a:xfrm rot="-12360">
            <a:off x="1563712" y="4581573"/>
            <a:ext cx="676275" cy="600075"/>
            <a:chOff x="6877" y="4218"/>
            <a:chExt cx="406" cy="378"/>
          </a:xfrm>
        </p:grpSpPr>
        <p:sp>
          <p:nvSpPr>
            <p:cNvPr id="187499" name="Freeform 20"/>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smtClean="0">
                <a:solidFill>
                  <a:srgbClr val="000000"/>
                </a:solidFill>
                <a:cs typeface="Arial"/>
              </a:endParaRPr>
            </a:p>
          </p:txBody>
        </p:sp>
        <p:sp>
          <p:nvSpPr>
            <p:cNvPr id="187500" name="Oval 21"/>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endParaRPr lang="it-IT" sz="1200" b="1" smtClean="0">
                <a:solidFill>
                  <a:srgbClr val="000000"/>
                </a:solidFill>
                <a:latin typeface="Times New Roman" pitchFamily="18" charset="0"/>
                <a:cs typeface="Arial"/>
              </a:endParaRPr>
            </a:p>
          </p:txBody>
        </p:sp>
      </p:grpSp>
      <p:grpSp>
        <p:nvGrpSpPr>
          <p:cNvPr id="7" name="Group 22"/>
          <p:cNvGrpSpPr>
            <a:grpSpLocks/>
          </p:cNvGrpSpPr>
          <p:nvPr/>
        </p:nvGrpSpPr>
        <p:grpSpPr bwMode="auto">
          <a:xfrm rot="-12360">
            <a:off x="5405462" y="4581573"/>
            <a:ext cx="674687" cy="600075"/>
            <a:chOff x="6877" y="4218"/>
            <a:chExt cx="406" cy="378"/>
          </a:xfrm>
        </p:grpSpPr>
        <p:sp>
          <p:nvSpPr>
            <p:cNvPr id="187497" name="Freeform 23"/>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smtClean="0">
                <a:solidFill>
                  <a:srgbClr val="000000"/>
                </a:solidFill>
                <a:cs typeface="Arial"/>
              </a:endParaRPr>
            </a:p>
          </p:txBody>
        </p:sp>
        <p:sp>
          <p:nvSpPr>
            <p:cNvPr id="187498" name="Oval 24"/>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endParaRPr lang="it-IT" sz="1200" b="1" smtClean="0">
                <a:solidFill>
                  <a:srgbClr val="000000"/>
                </a:solidFill>
                <a:latin typeface="Times New Roman" pitchFamily="18" charset="0"/>
                <a:cs typeface="Arial"/>
              </a:endParaRPr>
            </a:p>
          </p:txBody>
        </p:sp>
      </p:grpSp>
      <p:grpSp>
        <p:nvGrpSpPr>
          <p:cNvPr id="8" name="Group 25"/>
          <p:cNvGrpSpPr>
            <a:grpSpLocks/>
          </p:cNvGrpSpPr>
          <p:nvPr/>
        </p:nvGrpSpPr>
        <p:grpSpPr bwMode="auto">
          <a:xfrm rot="-12360">
            <a:off x="5916637" y="4581573"/>
            <a:ext cx="676275" cy="600075"/>
            <a:chOff x="6877" y="4218"/>
            <a:chExt cx="406" cy="378"/>
          </a:xfrm>
        </p:grpSpPr>
        <p:sp>
          <p:nvSpPr>
            <p:cNvPr id="187495" name="Freeform 26"/>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smtClean="0">
                <a:solidFill>
                  <a:srgbClr val="000000"/>
                </a:solidFill>
                <a:cs typeface="Arial"/>
              </a:endParaRPr>
            </a:p>
          </p:txBody>
        </p:sp>
        <p:sp>
          <p:nvSpPr>
            <p:cNvPr id="187496" name="Oval 27"/>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endParaRPr lang="it-IT" sz="1200" b="1" smtClean="0">
                <a:solidFill>
                  <a:srgbClr val="000000"/>
                </a:solidFill>
                <a:latin typeface="Times New Roman" pitchFamily="18" charset="0"/>
                <a:cs typeface="Arial"/>
              </a:endParaRPr>
            </a:p>
          </p:txBody>
        </p:sp>
      </p:grpSp>
      <p:sp>
        <p:nvSpPr>
          <p:cNvPr id="187402" name="Freeform 28"/>
          <p:cNvSpPr>
            <a:spLocks/>
          </p:cNvSpPr>
          <p:nvPr/>
        </p:nvSpPr>
        <p:spPr bwMode="auto">
          <a:xfrm>
            <a:off x="6556375" y="4930823"/>
            <a:ext cx="1174750" cy="250825"/>
          </a:xfrm>
          <a:custGeom>
            <a:avLst/>
            <a:gdLst>
              <a:gd name="T0" fmla="*/ 0 w 832"/>
              <a:gd name="T1" fmla="*/ 2147483647 h 158"/>
              <a:gd name="T2" fmla="*/ 2147483647 w 832"/>
              <a:gd name="T3" fmla="*/ 2147483647 h 158"/>
              <a:gd name="T4" fmla="*/ 2147483647 w 832"/>
              <a:gd name="T5" fmla="*/ 2147483647 h 158"/>
              <a:gd name="T6" fmla="*/ 2147483647 w 832"/>
              <a:gd name="T7" fmla="*/ 2147483647 h 158"/>
              <a:gd name="T8" fmla="*/ 2147483647 w 832"/>
              <a:gd name="T9" fmla="*/ 2147483647 h 158"/>
              <a:gd name="T10" fmla="*/ 0 60000 65536"/>
              <a:gd name="T11" fmla="*/ 0 60000 65536"/>
              <a:gd name="T12" fmla="*/ 0 60000 65536"/>
              <a:gd name="T13" fmla="*/ 0 60000 65536"/>
              <a:gd name="T14" fmla="*/ 0 60000 65536"/>
              <a:gd name="T15" fmla="*/ 0 w 832"/>
              <a:gd name="T16" fmla="*/ 0 h 158"/>
              <a:gd name="T17" fmla="*/ 832 w 832"/>
              <a:gd name="T18" fmla="*/ 158 h 158"/>
            </a:gdLst>
            <a:ahLst/>
            <a:cxnLst>
              <a:cxn ang="T10">
                <a:pos x="T0" y="T1"/>
              </a:cxn>
              <a:cxn ang="T11">
                <a:pos x="T2" y="T3"/>
              </a:cxn>
              <a:cxn ang="T12">
                <a:pos x="T4" y="T5"/>
              </a:cxn>
              <a:cxn ang="T13">
                <a:pos x="T6" y="T7"/>
              </a:cxn>
              <a:cxn ang="T14">
                <a:pos x="T8" y="T9"/>
              </a:cxn>
            </a:cxnLst>
            <a:rect l="T15" t="T16" r="T17" b="T18"/>
            <a:pathLst>
              <a:path w="832" h="158">
                <a:moveTo>
                  <a:pt x="0" y="97"/>
                </a:moveTo>
                <a:cubicBezTo>
                  <a:pt x="79" y="55"/>
                  <a:pt x="159" y="14"/>
                  <a:pt x="272" y="7"/>
                </a:cubicBezTo>
                <a:cubicBezTo>
                  <a:pt x="385" y="0"/>
                  <a:pt x="605" y="29"/>
                  <a:pt x="681" y="52"/>
                </a:cubicBezTo>
                <a:cubicBezTo>
                  <a:pt x="757" y="75"/>
                  <a:pt x="832" y="128"/>
                  <a:pt x="726" y="143"/>
                </a:cubicBezTo>
                <a:cubicBezTo>
                  <a:pt x="620" y="158"/>
                  <a:pt x="333" y="150"/>
                  <a:pt x="46" y="143"/>
                </a:cubicBezTo>
              </a:path>
            </a:pathLst>
          </a:custGeom>
          <a:gradFill rotWithShape="1">
            <a:gsLst>
              <a:gs pos="0">
                <a:srgbClr val="FF66CC"/>
              </a:gs>
              <a:gs pos="100000">
                <a:srgbClr val="762F5E"/>
              </a:gs>
            </a:gsLst>
            <a:lin ang="5400000" scaled="1"/>
          </a:gradFill>
          <a:ln w="9525">
            <a:solidFill>
              <a:schemeClr val="tx1"/>
            </a:solidFill>
            <a:round/>
            <a:headEnd/>
            <a:tailEnd/>
          </a:ln>
        </p:spPr>
        <p:txBody>
          <a:bodyPr/>
          <a:lstStyle/>
          <a:p>
            <a:endParaRPr lang="it-IT" smtClean="0">
              <a:solidFill>
                <a:srgbClr val="000000"/>
              </a:solidFill>
              <a:cs typeface="Arial"/>
            </a:endParaRPr>
          </a:p>
        </p:txBody>
      </p:sp>
      <p:sp>
        <p:nvSpPr>
          <p:cNvPr id="187403" name="Freeform 29"/>
          <p:cNvSpPr>
            <a:spLocks/>
          </p:cNvSpPr>
          <p:nvPr/>
        </p:nvSpPr>
        <p:spPr bwMode="auto">
          <a:xfrm>
            <a:off x="7643813" y="4941936"/>
            <a:ext cx="1174750" cy="250825"/>
          </a:xfrm>
          <a:custGeom>
            <a:avLst/>
            <a:gdLst>
              <a:gd name="T0" fmla="*/ 0 w 832"/>
              <a:gd name="T1" fmla="*/ 2147483647 h 158"/>
              <a:gd name="T2" fmla="*/ 2147483647 w 832"/>
              <a:gd name="T3" fmla="*/ 2147483647 h 158"/>
              <a:gd name="T4" fmla="*/ 2147483647 w 832"/>
              <a:gd name="T5" fmla="*/ 2147483647 h 158"/>
              <a:gd name="T6" fmla="*/ 2147483647 w 832"/>
              <a:gd name="T7" fmla="*/ 2147483647 h 158"/>
              <a:gd name="T8" fmla="*/ 2147483647 w 832"/>
              <a:gd name="T9" fmla="*/ 2147483647 h 158"/>
              <a:gd name="T10" fmla="*/ 0 60000 65536"/>
              <a:gd name="T11" fmla="*/ 0 60000 65536"/>
              <a:gd name="T12" fmla="*/ 0 60000 65536"/>
              <a:gd name="T13" fmla="*/ 0 60000 65536"/>
              <a:gd name="T14" fmla="*/ 0 60000 65536"/>
              <a:gd name="T15" fmla="*/ 0 w 832"/>
              <a:gd name="T16" fmla="*/ 0 h 158"/>
              <a:gd name="T17" fmla="*/ 832 w 832"/>
              <a:gd name="T18" fmla="*/ 158 h 158"/>
            </a:gdLst>
            <a:ahLst/>
            <a:cxnLst>
              <a:cxn ang="T10">
                <a:pos x="T0" y="T1"/>
              </a:cxn>
              <a:cxn ang="T11">
                <a:pos x="T2" y="T3"/>
              </a:cxn>
              <a:cxn ang="T12">
                <a:pos x="T4" y="T5"/>
              </a:cxn>
              <a:cxn ang="T13">
                <a:pos x="T6" y="T7"/>
              </a:cxn>
              <a:cxn ang="T14">
                <a:pos x="T8" y="T9"/>
              </a:cxn>
            </a:cxnLst>
            <a:rect l="T15" t="T16" r="T17" b="T18"/>
            <a:pathLst>
              <a:path w="832" h="158">
                <a:moveTo>
                  <a:pt x="0" y="97"/>
                </a:moveTo>
                <a:cubicBezTo>
                  <a:pt x="79" y="55"/>
                  <a:pt x="159" y="14"/>
                  <a:pt x="272" y="7"/>
                </a:cubicBezTo>
                <a:cubicBezTo>
                  <a:pt x="385" y="0"/>
                  <a:pt x="605" y="29"/>
                  <a:pt x="681" y="52"/>
                </a:cubicBezTo>
                <a:cubicBezTo>
                  <a:pt x="757" y="75"/>
                  <a:pt x="832" y="128"/>
                  <a:pt x="726" y="143"/>
                </a:cubicBezTo>
                <a:cubicBezTo>
                  <a:pt x="620" y="158"/>
                  <a:pt x="333" y="150"/>
                  <a:pt x="46" y="143"/>
                </a:cubicBezTo>
              </a:path>
            </a:pathLst>
          </a:custGeom>
          <a:gradFill rotWithShape="1">
            <a:gsLst>
              <a:gs pos="0">
                <a:srgbClr val="FF66CC"/>
              </a:gs>
              <a:gs pos="100000">
                <a:srgbClr val="762F5E"/>
              </a:gs>
            </a:gsLst>
            <a:lin ang="5400000" scaled="1"/>
          </a:gradFill>
          <a:ln w="9525">
            <a:solidFill>
              <a:schemeClr val="tx1"/>
            </a:solidFill>
            <a:round/>
            <a:headEnd/>
            <a:tailEnd/>
          </a:ln>
        </p:spPr>
        <p:txBody>
          <a:bodyPr/>
          <a:lstStyle/>
          <a:p>
            <a:endParaRPr lang="it-IT" smtClean="0">
              <a:solidFill>
                <a:srgbClr val="000000"/>
              </a:solidFill>
              <a:cs typeface="Arial"/>
            </a:endParaRPr>
          </a:p>
        </p:txBody>
      </p:sp>
      <p:sp>
        <p:nvSpPr>
          <p:cNvPr id="187404" name="Freeform 30"/>
          <p:cNvSpPr>
            <a:spLocks/>
          </p:cNvSpPr>
          <p:nvPr/>
        </p:nvSpPr>
        <p:spPr bwMode="auto">
          <a:xfrm>
            <a:off x="603250" y="4941936"/>
            <a:ext cx="1174750" cy="250825"/>
          </a:xfrm>
          <a:custGeom>
            <a:avLst/>
            <a:gdLst>
              <a:gd name="T0" fmla="*/ 0 w 832"/>
              <a:gd name="T1" fmla="*/ 2147483647 h 158"/>
              <a:gd name="T2" fmla="*/ 2147483647 w 832"/>
              <a:gd name="T3" fmla="*/ 2147483647 h 158"/>
              <a:gd name="T4" fmla="*/ 2147483647 w 832"/>
              <a:gd name="T5" fmla="*/ 2147483647 h 158"/>
              <a:gd name="T6" fmla="*/ 2147483647 w 832"/>
              <a:gd name="T7" fmla="*/ 2147483647 h 158"/>
              <a:gd name="T8" fmla="*/ 2147483647 w 832"/>
              <a:gd name="T9" fmla="*/ 2147483647 h 158"/>
              <a:gd name="T10" fmla="*/ 0 60000 65536"/>
              <a:gd name="T11" fmla="*/ 0 60000 65536"/>
              <a:gd name="T12" fmla="*/ 0 60000 65536"/>
              <a:gd name="T13" fmla="*/ 0 60000 65536"/>
              <a:gd name="T14" fmla="*/ 0 60000 65536"/>
              <a:gd name="T15" fmla="*/ 0 w 832"/>
              <a:gd name="T16" fmla="*/ 0 h 158"/>
              <a:gd name="T17" fmla="*/ 832 w 832"/>
              <a:gd name="T18" fmla="*/ 158 h 158"/>
            </a:gdLst>
            <a:ahLst/>
            <a:cxnLst>
              <a:cxn ang="T10">
                <a:pos x="T0" y="T1"/>
              </a:cxn>
              <a:cxn ang="T11">
                <a:pos x="T2" y="T3"/>
              </a:cxn>
              <a:cxn ang="T12">
                <a:pos x="T4" y="T5"/>
              </a:cxn>
              <a:cxn ang="T13">
                <a:pos x="T6" y="T7"/>
              </a:cxn>
              <a:cxn ang="T14">
                <a:pos x="T8" y="T9"/>
              </a:cxn>
            </a:cxnLst>
            <a:rect l="T15" t="T16" r="T17" b="T18"/>
            <a:pathLst>
              <a:path w="832" h="158">
                <a:moveTo>
                  <a:pt x="0" y="97"/>
                </a:moveTo>
                <a:cubicBezTo>
                  <a:pt x="79" y="55"/>
                  <a:pt x="159" y="14"/>
                  <a:pt x="272" y="7"/>
                </a:cubicBezTo>
                <a:cubicBezTo>
                  <a:pt x="385" y="0"/>
                  <a:pt x="605" y="29"/>
                  <a:pt x="681" y="52"/>
                </a:cubicBezTo>
                <a:cubicBezTo>
                  <a:pt x="757" y="75"/>
                  <a:pt x="832" y="128"/>
                  <a:pt x="726" y="143"/>
                </a:cubicBezTo>
                <a:cubicBezTo>
                  <a:pt x="620" y="158"/>
                  <a:pt x="333" y="150"/>
                  <a:pt x="46" y="143"/>
                </a:cubicBezTo>
              </a:path>
            </a:pathLst>
          </a:custGeom>
          <a:gradFill rotWithShape="1">
            <a:gsLst>
              <a:gs pos="0">
                <a:srgbClr val="FF66CC"/>
              </a:gs>
              <a:gs pos="100000">
                <a:srgbClr val="762F5E"/>
              </a:gs>
            </a:gsLst>
            <a:lin ang="5400000" scaled="1"/>
          </a:gradFill>
          <a:ln w="9525">
            <a:solidFill>
              <a:schemeClr val="tx1"/>
            </a:solidFill>
            <a:round/>
            <a:headEnd/>
            <a:tailEnd/>
          </a:ln>
        </p:spPr>
        <p:txBody>
          <a:bodyPr/>
          <a:lstStyle/>
          <a:p>
            <a:endParaRPr lang="it-IT" smtClean="0">
              <a:solidFill>
                <a:srgbClr val="000000"/>
              </a:solidFill>
              <a:cs typeface="Arial"/>
            </a:endParaRPr>
          </a:p>
        </p:txBody>
      </p:sp>
      <p:sp>
        <p:nvSpPr>
          <p:cNvPr id="187405" name="Oval 31"/>
          <p:cNvSpPr>
            <a:spLocks noChangeArrowheads="1"/>
          </p:cNvSpPr>
          <p:nvPr/>
        </p:nvSpPr>
        <p:spPr bwMode="auto">
          <a:xfrm>
            <a:off x="1050925" y="5084811"/>
            <a:ext cx="128588" cy="73025"/>
          </a:xfrm>
          <a:prstGeom prst="ellipse">
            <a:avLst/>
          </a:prstGeom>
          <a:solidFill>
            <a:srgbClr val="CC9900"/>
          </a:solidFill>
          <a:ln w="9525">
            <a:solidFill>
              <a:schemeClr val="tx1"/>
            </a:solidFill>
            <a:round/>
            <a:headEnd/>
            <a:tailEnd/>
          </a:ln>
        </p:spPr>
        <p:txBody>
          <a:bodyPr wrap="none" anchor="ctr"/>
          <a:lstStyle/>
          <a:p>
            <a:endParaRPr lang="it-IT" sz="1200" b="1" smtClean="0">
              <a:solidFill>
                <a:srgbClr val="000000"/>
              </a:solidFill>
              <a:latin typeface="Times New Roman" pitchFamily="18" charset="0"/>
              <a:cs typeface="Arial"/>
            </a:endParaRPr>
          </a:p>
        </p:txBody>
      </p:sp>
      <p:sp>
        <p:nvSpPr>
          <p:cNvPr id="187406" name="Oval 32"/>
          <p:cNvSpPr>
            <a:spLocks noChangeArrowheads="1"/>
          </p:cNvSpPr>
          <p:nvPr/>
        </p:nvSpPr>
        <p:spPr bwMode="auto">
          <a:xfrm>
            <a:off x="7131050" y="5011786"/>
            <a:ext cx="128588" cy="73025"/>
          </a:xfrm>
          <a:prstGeom prst="ellipse">
            <a:avLst/>
          </a:prstGeom>
          <a:solidFill>
            <a:srgbClr val="CC9900"/>
          </a:solidFill>
          <a:ln w="9525">
            <a:solidFill>
              <a:schemeClr val="tx1"/>
            </a:solidFill>
            <a:round/>
            <a:headEnd/>
            <a:tailEnd/>
          </a:ln>
        </p:spPr>
        <p:txBody>
          <a:bodyPr wrap="none" anchor="ctr"/>
          <a:lstStyle/>
          <a:p>
            <a:endParaRPr lang="it-IT" sz="1200" b="1" smtClean="0">
              <a:solidFill>
                <a:srgbClr val="000000"/>
              </a:solidFill>
              <a:latin typeface="Times New Roman" pitchFamily="18" charset="0"/>
              <a:cs typeface="Arial"/>
            </a:endParaRPr>
          </a:p>
        </p:txBody>
      </p:sp>
      <p:sp>
        <p:nvSpPr>
          <p:cNvPr id="187407" name="Oval 33"/>
          <p:cNvSpPr>
            <a:spLocks noChangeArrowheads="1"/>
          </p:cNvSpPr>
          <p:nvPr/>
        </p:nvSpPr>
        <p:spPr bwMode="auto">
          <a:xfrm>
            <a:off x="8028012" y="5013373"/>
            <a:ext cx="128587" cy="73025"/>
          </a:xfrm>
          <a:prstGeom prst="ellipse">
            <a:avLst/>
          </a:prstGeom>
          <a:solidFill>
            <a:srgbClr val="CC9900"/>
          </a:solidFill>
          <a:ln w="9525">
            <a:solidFill>
              <a:schemeClr val="tx1"/>
            </a:solidFill>
            <a:round/>
            <a:headEnd/>
            <a:tailEnd/>
          </a:ln>
        </p:spPr>
        <p:txBody>
          <a:bodyPr wrap="none" anchor="ctr"/>
          <a:lstStyle/>
          <a:p>
            <a:endParaRPr lang="it-IT" sz="1200" b="1" smtClean="0">
              <a:solidFill>
                <a:srgbClr val="000000"/>
              </a:solidFill>
              <a:latin typeface="Times New Roman" pitchFamily="18" charset="0"/>
              <a:cs typeface="Arial"/>
            </a:endParaRPr>
          </a:p>
        </p:txBody>
      </p:sp>
      <p:sp>
        <p:nvSpPr>
          <p:cNvPr id="187408" name="Text Box 34"/>
          <p:cNvSpPr txBox="1">
            <a:spLocks noChangeArrowheads="1"/>
          </p:cNvSpPr>
          <p:nvPr/>
        </p:nvSpPr>
        <p:spPr bwMode="auto">
          <a:xfrm>
            <a:off x="8156574" y="4529139"/>
            <a:ext cx="1109093" cy="338518"/>
          </a:xfrm>
          <a:prstGeom prst="rect">
            <a:avLst/>
          </a:prstGeom>
          <a:noFill/>
          <a:ln w="9525">
            <a:noFill/>
            <a:miter lim="800000"/>
            <a:headEnd/>
            <a:tailEnd/>
          </a:ln>
        </p:spPr>
        <p:txBody>
          <a:bodyPr wrap="none" lIns="91404" tIns="45702" rIns="91404" bIns="45702">
            <a:spAutoFit/>
          </a:bodyPr>
          <a:lstStyle/>
          <a:p>
            <a:pPr eaLnBrk="0" hangingPunct="0"/>
            <a:r>
              <a:rPr lang="it-IT" sz="1600" i="1" smtClean="0">
                <a:solidFill>
                  <a:srgbClr val="000000"/>
                </a:solidFill>
                <a:cs typeface="Arial"/>
              </a:rPr>
              <a:t>Lining cell</a:t>
            </a:r>
          </a:p>
        </p:txBody>
      </p:sp>
      <p:sp>
        <p:nvSpPr>
          <p:cNvPr id="187409" name="Text Box 35"/>
          <p:cNvSpPr txBox="1">
            <a:spLocks noChangeArrowheads="1"/>
          </p:cNvSpPr>
          <p:nvPr/>
        </p:nvSpPr>
        <p:spPr bwMode="auto">
          <a:xfrm>
            <a:off x="6364287" y="4173539"/>
            <a:ext cx="2048844" cy="338518"/>
          </a:xfrm>
          <a:prstGeom prst="rect">
            <a:avLst/>
          </a:prstGeom>
          <a:noFill/>
          <a:ln w="9525">
            <a:noFill/>
            <a:miter lim="800000"/>
            <a:headEnd/>
            <a:tailEnd/>
          </a:ln>
        </p:spPr>
        <p:txBody>
          <a:bodyPr wrap="none" lIns="91404" tIns="45702" rIns="91404" bIns="45702">
            <a:spAutoFit/>
          </a:bodyPr>
          <a:lstStyle/>
          <a:p>
            <a:pPr eaLnBrk="0" hangingPunct="0"/>
            <a:r>
              <a:rPr lang="it-IT" sz="1600" i="1" smtClean="0">
                <a:solidFill>
                  <a:srgbClr val="000000"/>
                </a:solidFill>
                <a:cs typeface="Arial"/>
              </a:rPr>
              <a:t>Activated osteoblast</a:t>
            </a:r>
          </a:p>
        </p:txBody>
      </p:sp>
      <p:sp>
        <p:nvSpPr>
          <p:cNvPr id="187410" name="Text Box 36"/>
          <p:cNvSpPr txBox="1">
            <a:spLocks noChangeArrowheads="1"/>
          </p:cNvSpPr>
          <p:nvPr/>
        </p:nvSpPr>
        <p:spPr bwMode="auto">
          <a:xfrm>
            <a:off x="4810149" y="5632450"/>
            <a:ext cx="1162746" cy="338518"/>
          </a:xfrm>
          <a:prstGeom prst="rect">
            <a:avLst/>
          </a:prstGeom>
          <a:noFill/>
          <a:ln w="9525">
            <a:noFill/>
            <a:miter lim="800000"/>
            <a:headEnd/>
            <a:tailEnd/>
          </a:ln>
        </p:spPr>
        <p:txBody>
          <a:bodyPr wrap="none" lIns="91404" tIns="45702" rIns="91404" bIns="45702">
            <a:spAutoFit/>
          </a:bodyPr>
          <a:lstStyle/>
          <a:p>
            <a:pPr eaLnBrk="0" hangingPunct="0"/>
            <a:r>
              <a:rPr lang="it-IT" sz="1600" i="1" smtClean="0">
                <a:solidFill>
                  <a:srgbClr val="000000"/>
                </a:solidFill>
                <a:cs typeface="Arial"/>
              </a:rPr>
              <a:t>Osteoclas</a:t>
            </a:r>
            <a:r>
              <a:rPr lang="it-IT" sz="1400" i="1" smtClean="0">
                <a:solidFill>
                  <a:srgbClr val="000000"/>
                </a:solidFill>
                <a:cs typeface="Arial"/>
              </a:rPr>
              <a:t>t</a:t>
            </a:r>
          </a:p>
        </p:txBody>
      </p:sp>
      <p:sp>
        <p:nvSpPr>
          <p:cNvPr id="187411" name="Rectangle 37"/>
          <p:cNvSpPr>
            <a:spLocks noChangeArrowheads="1"/>
          </p:cNvSpPr>
          <p:nvPr/>
        </p:nvSpPr>
        <p:spPr bwMode="auto">
          <a:xfrm rot="5400000">
            <a:off x="3413125" y="-1252537"/>
            <a:ext cx="1422400" cy="4737100"/>
          </a:xfrm>
          <a:prstGeom prst="rect">
            <a:avLst/>
          </a:prstGeom>
          <a:solidFill>
            <a:srgbClr val="FFCCFF"/>
          </a:solidFill>
          <a:ln w="9525">
            <a:noFill/>
            <a:miter lim="800000"/>
            <a:headEnd/>
            <a:tailEnd/>
          </a:ln>
        </p:spPr>
        <p:txBody>
          <a:bodyPr wrap="none" lIns="91404" tIns="45702" rIns="91404" bIns="45702" anchor="ctr"/>
          <a:lstStyle/>
          <a:p>
            <a:pPr algn="ctr" eaLnBrk="0" hangingPunct="0"/>
            <a:endParaRPr lang="it-IT" sz="2400" b="1" smtClean="0">
              <a:solidFill>
                <a:srgbClr val="FFFFFF"/>
              </a:solidFill>
              <a:latin typeface="Times New Roman" pitchFamily="18" charset="0"/>
              <a:cs typeface="Arial"/>
            </a:endParaRPr>
          </a:p>
        </p:txBody>
      </p:sp>
      <p:grpSp>
        <p:nvGrpSpPr>
          <p:cNvPr id="9" name="Group 38"/>
          <p:cNvGrpSpPr>
            <a:grpSpLocks/>
          </p:cNvGrpSpPr>
          <p:nvPr/>
        </p:nvGrpSpPr>
        <p:grpSpPr bwMode="auto">
          <a:xfrm rot="5859817">
            <a:off x="4647407" y="1151733"/>
            <a:ext cx="304800" cy="1255713"/>
            <a:chOff x="2000" y="2855"/>
            <a:chExt cx="236" cy="929"/>
          </a:xfrm>
          <a:solidFill>
            <a:schemeClr val="bg2">
              <a:lumMod val="40000"/>
              <a:lumOff val="60000"/>
            </a:schemeClr>
          </a:solidFill>
        </p:grpSpPr>
        <p:sp>
          <p:nvSpPr>
            <p:cNvPr id="187493" name="Freeform 39"/>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94" name="Freeform 40"/>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0" name="Group 41"/>
          <p:cNvGrpSpPr>
            <a:grpSpLocks/>
          </p:cNvGrpSpPr>
          <p:nvPr/>
        </p:nvGrpSpPr>
        <p:grpSpPr bwMode="auto">
          <a:xfrm rot="5859817">
            <a:off x="5654676" y="1212852"/>
            <a:ext cx="304800" cy="1254125"/>
            <a:chOff x="2000" y="2855"/>
            <a:chExt cx="236" cy="929"/>
          </a:xfrm>
          <a:solidFill>
            <a:schemeClr val="bg2">
              <a:lumMod val="40000"/>
              <a:lumOff val="60000"/>
            </a:schemeClr>
          </a:solidFill>
        </p:grpSpPr>
        <p:sp>
          <p:nvSpPr>
            <p:cNvPr id="187491" name="Freeform 42"/>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92" name="Freeform 43"/>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1" name="Group 44"/>
          <p:cNvGrpSpPr>
            <a:grpSpLocks/>
          </p:cNvGrpSpPr>
          <p:nvPr/>
        </p:nvGrpSpPr>
        <p:grpSpPr bwMode="auto">
          <a:xfrm rot="5859817">
            <a:off x="3749676" y="1152527"/>
            <a:ext cx="304800" cy="1254125"/>
            <a:chOff x="2000" y="2855"/>
            <a:chExt cx="236" cy="929"/>
          </a:xfrm>
          <a:solidFill>
            <a:schemeClr val="bg2">
              <a:lumMod val="40000"/>
              <a:lumOff val="60000"/>
            </a:schemeClr>
          </a:solidFill>
        </p:grpSpPr>
        <p:sp>
          <p:nvSpPr>
            <p:cNvPr id="187489" name="Freeform 45"/>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90" name="Freeform 46"/>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2" name="Group 47"/>
          <p:cNvGrpSpPr>
            <a:grpSpLocks/>
          </p:cNvGrpSpPr>
          <p:nvPr/>
        </p:nvGrpSpPr>
        <p:grpSpPr bwMode="auto">
          <a:xfrm rot="5859817">
            <a:off x="2855119" y="1151732"/>
            <a:ext cx="304800" cy="1255712"/>
            <a:chOff x="2000" y="2855"/>
            <a:chExt cx="236" cy="929"/>
          </a:xfrm>
          <a:solidFill>
            <a:schemeClr val="bg2">
              <a:lumMod val="40000"/>
              <a:lumOff val="60000"/>
            </a:schemeClr>
          </a:solidFill>
        </p:grpSpPr>
        <p:sp>
          <p:nvSpPr>
            <p:cNvPr id="187487" name="Freeform 48"/>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88" name="Freeform 49"/>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3" name="Group 50"/>
          <p:cNvGrpSpPr>
            <a:grpSpLocks/>
          </p:cNvGrpSpPr>
          <p:nvPr/>
        </p:nvGrpSpPr>
        <p:grpSpPr bwMode="auto">
          <a:xfrm rot="5859817">
            <a:off x="4814888" y="-207963"/>
            <a:ext cx="304800" cy="1254125"/>
            <a:chOff x="2000" y="2855"/>
            <a:chExt cx="236" cy="929"/>
          </a:xfrm>
          <a:solidFill>
            <a:schemeClr val="bg2">
              <a:lumMod val="40000"/>
              <a:lumOff val="60000"/>
            </a:schemeClr>
          </a:solidFill>
        </p:grpSpPr>
        <p:sp>
          <p:nvSpPr>
            <p:cNvPr id="187485" name="Freeform 51"/>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86" name="Freeform 52"/>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4" name="Group 53"/>
          <p:cNvGrpSpPr>
            <a:grpSpLocks/>
          </p:cNvGrpSpPr>
          <p:nvPr/>
        </p:nvGrpSpPr>
        <p:grpSpPr bwMode="auto">
          <a:xfrm rot="5859817">
            <a:off x="5711032" y="-210344"/>
            <a:ext cx="304800" cy="1252537"/>
            <a:chOff x="2000" y="2855"/>
            <a:chExt cx="236" cy="929"/>
          </a:xfrm>
          <a:solidFill>
            <a:schemeClr val="bg2">
              <a:lumMod val="40000"/>
              <a:lumOff val="60000"/>
            </a:schemeClr>
          </a:solidFill>
        </p:grpSpPr>
        <p:sp>
          <p:nvSpPr>
            <p:cNvPr id="187483" name="Freeform 54"/>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84" name="Freeform 55"/>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5" name="Group 56"/>
          <p:cNvGrpSpPr>
            <a:grpSpLocks/>
          </p:cNvGrpSpPr>
          <p:nvPr/>
        </p:nvGrpSpPr>
        <p:grpSpPr bwMode="auto">
          <a:xfrm rot="5859817">
            <a:off x="3920332" y="-208757"/>
            <a:ext cx="304800" cy="1255713"/>
            <a:chOff x="2000" y="2855"/>
            <a:chExt cx="236" cy="929"/>
          </a:xfrm>
          <a:solidFill>
            <a:schemeClr val="bg2">
              <a:lumMod val="40000"/>
              <a:lumOff val="60000"/>
            </a:schemeClr>
          </a:solidFill>
        </p:grpSpPr>
        <p:sp>
          <p:nvSpPr>
            <p:cNvPr id="187481" name="Freeform 57"/>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82" name="Freeform 58"/>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6" name="Group 59"/>
          <p:cNvGrpSpPr>
            <a:grpSpLocks/>
          </p:cNvGrpSpPr>
          <p:nvPr/>
        </p:nvGrpSpPr>
        <p:grpSpPr bwMode="auto">
          <a:xfrm rot="5859817">
            <a:off x="3021807" y="-208757"/>
            <a:ext cx="304800" cy="1255713"/>
            <a:chOff x="2000" y="2855"/>
            <a:chExt cx="236" cy="929"/>
          </a:xfrm>
          <a:solidFill>
            <a:schemeClr val="bg2">
              <a:lumMod val="40000"/>
              <a:lumOff val="60000"/>
            </a:schemeClr>
          </a:solidFill>
        </p:grpSpPr>
        <p:sp>
          <p:nvSpPr>
            <p:cNvPr id="187479" name="Freeform 60"/>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80" name="Freeform 61"/>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7" name="Group 62"/>
          <p:cNvGrpSpPr>
            <a:grpSpLocks/>
          </p:cNvGrpSpPr>
          <p:nvPr/>
        </p:nvGrpSpPr>
        <p:grpSpPr bwMode="auto">
          <a:xfrm rot="5859817">
            <a:off x="2235994" y="-208756"/>
            <a:ext cx="304800" cy="1255712"/>
            <a:chOff x="2000" y="2855"/>
            <a:chExt cx="236" cy="929"/>
          </a:xfrm>
          <a:solidFill>
            <a:schemeClr val="bg2">
              <a:lumMod val="40000"/>
              <a:lumOff val="60000"/>
            </a:schemeClr>
          </a:solidFill>
        </p:grpSpPr>
        <p:sp>
          <p:nvSpPr>
            <p:cNvPr id="187477" name="Freeform 63"/>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78" name="Freeform 64"/>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8" name="Group 65"/>
          <p:cNvGrpSpPr>
            <a:grpSpLocks/>
          </p:cNvGrpSpPr>
          <p:nvPr/>
        </p:nvGrpSpPr>
        <p:grpSpPr bwMode="auto">
          <a:xfrm rot="5859817">
            <a:off x="2124076" y="1214441"/>
            <a:ext cx="304800" cy="1254125"/>
            <a:chOff x="2000" y="2855"/>
            <a:chExt cx="236" cy="929"/>
          </a:xfrm>
          <a:solidFill>
            <a:schemeClr val="bg2">
              <a:lumMod val="40000"/>
              <a:lumOff val="60000"/>
            </a:schemeClr>
          </a:solidFill>
        </p:grpSpPr>
        <p:sp>
          <p:nvSpPr>
            <p:cNvPr id="187475" name="Freeform 66"/>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sp>
          <p:nvSpPr>
            <p:cNvPr id="187476" name="Freeform 67"/>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endParaRPr lang="it-IT" smtClean="0">
                <a:solidFill>
                  <a:srgbClr val="000000"/>
                </a:solidFill>
                <a:cs typeface="Arial"/>
              </a:endParaRPr>
            </a:p>
          </p:txBody>
        </p:sp>
      </p:grpSp>
      <p:grpSp>
        <p:nvGrpSpPr>
          <p:cNvPr id="19" name="Group 68"/>
          <p:cNvGrpSpPr>
            <a:grpSpLocks/>
          </p:cNvGrpSpPr>
          <p:nvPr/>
        </p:nvGrpSpPr>
        <p:grpSpPr bwMode="auto">
          <a:xfrm>
            <a:off x="1500188" y="549323"/>
            <a:ext cx="1985091" cy="3959225"/>
            <a:chOff x="1063" y="346"/>
            <a:chExt cx="1406" cy="2494"/>
          </a:xfrm>
        </p:grpSpPr>
        <p:sp>
          <p:nvSpPr>
            <p:cNvPr id="187470" name="Text Box 69"/>
            <p:cNvSpPr txBox="1">
              <a:spLocks noChangeArrowheads="1"/>
            </p:cNvSpPr>
            <p:nvPr/>
          </p:nvSpPr>
          <p:spPr bwMode="auto">
            <a:xfrm>
              <a:off x="1470" y="346"/>
              <a:ext cx="999" cy="582"/>
            </a:xfrm>
            <a:prstGeom prst="rect">
              <a:avLst/>
            </a:prstGeom>
            <a:noFill/>
            <a:ln w="9525">
              <a:noFill/>
              <a:miter lim="800000"/>
              <a:headEnd/>
              <a:tailEnd/>
            </a:ln>
          </p:spPr>
          <p:txBody>
            <a:bodyPr wrap="none" lIns="91404" tIns="45702" rIns="91404" bIns="45702">
              <a:spAutoFit/>
            </a:bodyPr>
            <a:lstStyle/>
            <a:p>
              <a:pPr eaLnBrk="0" hangingPunct="0"/>
              <a:r>
                <a:rPr lang="it-IT" b="1" smtClean="0">
                  <a:solidFill>
                    <a:srgbClr val="000000"/>
                  </a:solidFill>
                  <a:cs typeface="Arial"/>
                </a:rPr>
                <a:t>VCAM-1</a:t>
              </a:r>
            </a:p>
            <a:p>
              <a:pPr eaLnBrk="0" hangingPunct="0"/>
              <a:r>
                <a:rPr lang="it-IT" b="1" smtClean="0">
                  <a:solidFill>
                    <a:srgbClr val="000000"/>
                  </a:solidFill>
                  <a:cs typeface="Arial"/>
                </a:rPr>
                <a:t>E-selectin</a:t>
              </a:r>
            </a:p>
            <a:p>
              <a:pPr eaLnBrk="0" hangingPunct="0"/>
              <a:r>
                <a:rPr lang="it-IT" b="1" smtClean="0">
                  <a:solidFill>
                    <a:srgbClr val="000000"/>
                  </a:solidFill>
                  <a:cs typeface="Arial"/>
                </a:rPr>
                <a:t>N-cadherin</a:t>
              </a:r>
            </a:p>
          </p:txBody>
        </p:sp>
        <p:sp>
          <p:nvSpPr>
            <p:cNvPr id="187471" name="Line 70"/>
            <p:cNvSpPr>
              <a:spLocks noChangeShapeType="1"/>
            </p:cNvSpPr>
            <p:nvPr/>
          </p:nvSpPr>
          <p:spPr bwMode="auto">
            <a:xfrm flipV="1">
              <a:off x="1562" y="935"/>
              <a:ext cx="136" cy="182"/>
            </a:xfrm>
            <a:prstGeom prst="line">
              <a:avLst/>
            </a:prstGeom>
            <a:noFill/>
            <a:ln w="19050">
              <a:solidFill>
                <a:schemeClr val="tx1"/>
              </a:solidFill>
              <a:round/>
              <a:headEnd/>
              <a:tailEnd type="arrow" w="med" len="med"/>
            </a:ln>
          </p:spPr>
          <p:txBody>
            <a:bodyPr/>
            <a:lstStyle/>
            <a:p>
              <a:endParaRPr lang="it-IT" smtClean="0">
                <a:solidFill>
                  <a:srgbClr val="000000"/>
                </a:solidFill>
                <a:cs typeface="Arial"/>
              </a:endParaRPr>
            </a:p>
          </p:txBody>
        </p:sp>
        <p:sp>
          <p:nvSpPr>
            <p:cNvPr id="187472" name="Freeform 71"/>
            <p:cNvSpPr>
              <a:spLocks/>
            </p:cNvSpPr>
            <p:nvPr/>
          </p:nvSpPr>
          <p:spPr bwMode="auto">
            <a:xfrm flipH="1">
              <a:off x="1290" y="2341"/>
              <a:ext cx="45" cy="499"/>
            </a:xfrm>
            <a:custGeom>
              <a:avLst/>
              <a:gdLst>
                <a:gd name="T0" fmla="*/ 0 w 1"/>
                <a:gd name="T1" fmla="*/ 42 h 680"/>
                <a:gd name="T2" fmla="*/ 0 w 1"/>
                <a:gd name="T3" fmla="*/ 0 h 680"/>
                <a:gd name="T4" fmla="*/ 0 60000 65536"/>
                <a:gd name="T5" fmla="*/ 0 60000 65536"/>
                <a:gd name="T6" fmla="*/ 0 w 1"/>
                <a:gd name="T7" fmla="*/ 0 h 680"/>
                <a:gd name="T8" fmla="*/ 1 w 1"/>
                <a:gd name="T9" fmla="*/ 680 h 680"/>
              </a:gdLst>
              <a:ahLst/>
              <a:cxnLst>
                <a:cxn ang="T4">
                  <a:pos x="T0" y="T1"/>
                </a:cxn>
                <a:cxn ang="T5">
                  <a:pos x="T2" y="T3"/>
                </a:cxn>
              </a:cxnLst>
              <a:rect l="T6" t="T7" r="T8" b="T9"/>
              <a:pathLst>
                <a:path w="1" h="680">
                  <a:moveTo>
                    <a:pt x="0" y="680"/>
                  </a:moveTo>
                  <a:cubicBezTo>
                    <a:pt x="0" y="396"/>
                    <a:pt x="0" y="113"/>
                    <a:pt x="0" y="0"/>
                  </a:cubicBezTo>
                </a:path>
              </a:pathLst>
            </a:custGeom>
            <a:noFill/>
            <a:ln w="19050">
              <a:solidFill>
                <a:schemeClr val="tx1"/>
              </a:solidFill>
              <a:round/>
              <a:headEnd/>
              <a:tailEnd/>
            </a:ln>
          </p:spPr>
          <p:txBody>
            <a:bodyPr/>
            <a:lstStyle/>
            <a:p>
              <a:endParaRPr lang="it-IT" smtClean="0">
                <a:solidFill>
                  <a:srgbClr val="000000"/>
                </a:solidFill>
                <a:cs typeface="Arial"/>
              </a:endParaRPr>
            </a:p>
          </p:txBody>
        </p:sp>
        <p:sp>
          <p:nvSpPr>
            <p:cNvPr id="187473" name="Rectangle 72"/>
            <p:cNvSpPr>
              <a:spLocks noChangeArrowheads="1"/>
            </p:cNvSpPr>
            <p:nvPr/>
          </p:nvSpPr>
          <p:spPr bwMode="auto">
            <a:xfrm>
              <a:off x="1063" y="1570"/>
              <a:ext cx="552" cy="834"/>
            </a:xfrm>
            <a:prstGeom prst="rect">
              <a:avLst/>
            </a:prstGeom>
            <a:noFill/>
            <a:ln w="9525">
              <a:noFill/>
              <a:miter lim="800000"/>
              <a:headEnd/>
              <a:tailEnd/>
            </a:ln>
          </p:spPr>
          <p:txBody>
            <a:bodyPr wrap="none" lIns="91404" tIns="45702" rIns="91404" bIns="45702">
              <a:spAutoFit/>
            </a:bodyPr>
            <a:lstStyle/>
            <a:p>
              <a:pPr eaLnBrk="0" hangingPunct="0"/>
              <a:r>
                <a:rPr lang="it-IT" sz="2000" b="1" smtClean="0">
                  <a:solidFill>
                    <a:srgbClr val="000000"/>
                  </a:solidFill>
                  <a:cs typeface="Arial"/>
                </a:rPr>
                <a:t>IL-1</a:t>
              </a:r>
            </a:p>
            <a:p>
              <a:pPr eaLnBrk="0" hangingPunct="0"/>
              <a:r>
                <a:rPr lang="it-IT" sz="2000" b="1" smtClean="0">
                  <a:solidFill>
                    <a:srgbClr val="000000"/>
                  </a:solidFill>
                  <a:cs typeface="Arial"/>
                </a:rPr>
                <a:t>IL-6</a:t>
              </a:r>
            </a:p>
            <a:p>
              <a:pPr eaLnBrk="0" hangingPunct="0"/>
              <a:r>
                <a:rPr lang="it-IT" sz="2000" b="1" smtClean="0">
                  <a:solidFill>
                    <a:srgbClr val="000000"/>
                  </a:solidFill>
                  <a:cs typeface="Arial"/>
                </a:rPr>
                <a:t>IL-11</a:t>
              </a:r>
            </a:p>
            <a:p>
              <a:pPr eaLnBrk="0" hangingPunct="0"/>
              <a:r>
                <a:rPr lang="it-IT" sz="2000" b="1" smtClean="0">
                  <a:solidFill>
                    <a:srgbClr val="000000"/>
                  </a:solidFill>
                  <a:cs typeface="Arial"/>
                </a:rPr>
                <a:t>PGE</a:t>
              </a:r>
            </a:p>
          </p:txBody>
        </p:sp>
        <p:sp>
          <p:nvSpPr>
            <p:cNvPr id="187474" name="Line 73"/>
            <p:cNvSpPr>
              <a:spLocks noChangeShapeType="1"/>
            </p:cNvSpPr>
            <p:nvPr/>
          </p:nvSpPr>
          <p:spPr bwMode="auto">
            <a:xfrm flipV="1">
              <a:off x="1335" y="1298"/>
              <a:ext cx="136" cy="271"/>
            </a:xfrm>
            <a:prstGeom prst="line">
              <a:avLst/>
            </a:prstGeom>
            <a:noFill/>
            <a:ln w="19050">
              <a:solidFill>
                <a:schemeClr val="tx1"/>
              </a:solidFill>
              <a:round/>
              <a:headEnd/>
              <a:tailEnd type="arrow" w="med" len="med"/>
            </a:ln>
          </p:spPr>
          <p:txBody>
            <a:bodyPr/>
            <a:lstStyle/>
            <a:p>
              <a:endParaRPr lang="it-IT" smtClean="0">
                <a:solidFill>
                  <a:srgbClr val="000000"/>
                </a:solidFill>
                <a:cs typeface="Arial"/>
              </a:endParaRPr>
            </a:p>
          </p:txBody>
        </p:sp>
      </p:grpSp>
      <p:sp>
        <p:nvSpPr>
          <p:cNvPr id="187423" name="Text Box 74"/>
          <p:cNvSpPr txBox="1">
            <a:spLocks noChangeArrowheads="1"/>
          </p:cNvSpPr>
          <p:nvPr/>
        </p:nvSpPr>
        <p:spPr bwMode="auto">
          <a:xfrm>
            <a:off x="476274" y="0"/>
            <a:ext cx="1574091" cy="338518"/>
          </a:xfrm>
          <a:prstGeom prst="rect">
            <a:avLst/>
          </a:prstGeom>
          <a:noFill/>
          <a:ln w="9525">
            <a:noFill/>
            <a:miter lim="800000"/>
            <a:headEnd/>
            <a:tailEnd/>
          </a:ln>
        </p:spPr>
        <p:txBody>
          <a:bodyPr wrap="none" lIns="91404" tIns="45702" rIns="91404" bIns="45702">
            <a:spAutoFit/>
          </a:bodyPr>
          <a:lstStyle/>
          <a:p>
            <a:pPr eaLnBrk="0" hangingPunct="0"/>
            <a:r>
              <a:rPr lang="it-IT" sz="1600" i="1" smtClean="0">
                <a:solidFill>
                  <a:srgbClr val="000000"/>
                </a:solidFill>
                <a:cs typeface="Arial"/>
              </a:rPr>
              <a:t>Endothelial </a:t>
            </a:r>
            <a:r>
              <a:rPr lang="it-IT" sz="1600" i="1" smtClean="0">
                <a:solidFill>
                  <a:srgbClr val="000000"/>
                </a:solidFill>
                <a:latin typeface="Times New Roman" pitchFamily="18" charset="0"/>
                <a:cs typeface="Arial"/>
              </a:rPr>
              <a:t>cell</a:t>
            </a:r>
          </a:p>
        </p:txBody>
      </p:sp>
      <p:sp>
        <p:nvSpPr>
          <p:cNvPr id="187424" name="Text Box 75"/>
          <p:cNvSpPr txBox="1">
            <a:spLocks noChangeArrowheads="1"/>
          </p:cNvSpPr>
          <p:nvPr/>
        </p:nvSpPr>
        <p:spPr bwMode="auto">
          <a:xfrm>
            <a:off x="0" y="908097"/>
            <a:ext cx="1780575" cy="615517"/>
          </a:xfrm>
          <a:prstGeom prst="rect">
            <a:avLst/>
          </a:prstGeom>
          <a:noFill/>
          <a:ln w="9525">
            <a:noFill/>
            <a:miter lim="800000"/>
            <a:headEnd/>
            <a:tailEnd/>
          </a:ln>
        </p:spPr>
        <p:txBody>
          <a:bodyPr wrap="none" lIns="91404" tIns="45702" rIns="91404" bIns="45702">
            <a:spAutoFit/>
          </a:bodyPr>
          <a:lstStyle/>
          <a:p>
            <a:pPr eaLnBrk="0" hangingPunct="0"/>
            <a:r>
              <a:rPr lang="it-IT" sz="1600" i="1" smtClean="0">
                <a:solidFill>
                  <a:srgbClr val="000000"/>
                </a:solidFill>
                <a:cs typeface="Arial"/>
              </a:rPr>
              <a:t>Sinusoid in  bone</a:t>
            </a:r>
          </a:p>
          <a:p>
            <a:pPr eaLnBrk="0" hangingPunct="0"/>
            <a:r>
              <a:rPr lang="it-IT" sz="1600" i="1" smtClean="0">
                <a:solidFill>
                  <a:srgbClr val="000000"/>
                </a:solidFill>
                <a:cs typeface="Arial"/>
              </a:rPr>
              <a:t>metaphysis</a:t>
            </a:r>
            <a:r>
              <a:rPr lang="it-IT" i="1" smtClean="0">
                <a:solidFill>
                  <a:srgbClr val="000000"/>
                </a:solidFill>
                <a:cs typeface="Arial"/>
              </a:rPr>
              <a:t> </a:t>
            </a:r>
          </a:p>
        </p:txBody>
      </p:sp>
      <p:grpSp>
        <p:nvGrpSpPr>
          <p:cNvPr id="20" name="Group 76"/>
          <p:cNvGrpSpPr>
            <a:grpSpLocks/>
          </p:cNvGrpSpPr>
          <p:nvPr/>
        </p:nvGrpSpPr>
        <p:grpSpPr bwMode="auto">
          <a:xfrm>
            <a:off x="3969839" y="2159774"/>
            <a:ext cx="693738" cy="735013"/>
            <a:chOff x="2786" y="1344"/>
            <a:chExt cx="491" cy="463"/>
          </a:xfrm>
        </p:grpSpPr>
        <p:sp>
          <p:nvSpPr>
            <p:cNvPr id="187468" name="Freeform 77"/>
            <p:cNvSpPr>
              <a:spLocks/>
            </p:cNvSpPr>
            <p:nvPr/>
          </p:nvSpPr>
          <p:spPr bwMode="auto">
            <a:xfrm>
              <a:off x="2786" y="134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1">
              <a:gsLst>
                <a:gs pos="0">
                  <a:srgbClr val="0099FF"/>
                </a:gs>
                <a:gs pos="100000">
                  <a:srgbClr val="004776"/>
                </a:gs>
              </a:gsLst>
              <a:path path="rect">
                <a:fillToRect l="50000" t="50000" r="50000" b="50000"/>
              </a:path>
            </a:gradFill>
            <a:ln w="9525">
              <a:solidFill>
                <a:schemeClr val="bg1"/>
              </a:solidFill>
              <a:round/>
              <a:headEnd/>
              <a:tailEnd/>
            </a:ln>
          </p:spPr>
          <p:txBody>
            <a:bodyPr wrap="none" anchor="ctr"/>
            <a:lstStyle/>
            <a:p>
              <a:endParaRPr lang="it-IT" smtClean="0">
                <a:solidFill>
                  <a:srgbClr val="000000"/>
                </a:solidFill>
                <a:cs typeface="Arial"/>
              </a:endParaRPr>
            </a:p>
          </p:txBody>
        </p:sp>
        <p:sp>
          <p:nvSpPr>
            <p:cNvPr id="187469" name="Oval 78"/>
            <p:cNvSpPr>
              <a:spLocks noChangeArrowheads="1"/>
            </p:cNvSpPr>
            <p:nvPr/>
          </p:nvSpPr>
          <p:spPr bwMode="auto">
            <a:xfrm>
              <a:off x="2978" y="148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b="1" smtClean="0">
                <a:solidFill>
                  <a:srgbClr val="000000"/>
                </a:solidFill>
                <a:latin typeface="Times New Roman" pitchFamily="18" charset="0"/>
                <a:cs typeface="Arial"/>
              </a:endParaRPr>
            </a:p>
          </p:txBody>
        </p:sp>
      </p:grpSp>
      <p:grpSp>
        <p:nvGrpSpPr>
          <p:cNvPr id="21" name="Group 79"/>
          <p:cNvGrpSpPr>
            <a:grpSpLocks/>
          </p:cNvGrpSpPr>
          <p:nvPr/>
        </p:nvGrpSpPr>
        <p:grpSpPr bwMode="auto">
          <a:xfrm>
            <a:off x="2246313" y="2060575"/>
            <a:ext cx="1174750" cy="2376488"/>
            <a:chOff x="1592" y="1298"/>
            <a:chExt cx="832" cy="1497"/>
          </a:xfrm>
        </p:grpSpPr>
        <p:sp>
          <p:nvSpPr>
            <p:cNvPr id="187465" name="Text Box 80"/>
            <p:cNvSpPr txBox="1">
              <a:spLocks noChangeArrowheads="1"/>
            </p:cNvSpPr>
            <p:nvPr/>
          </p:nvSpPr>
          <p:spPr bwMode="auto">
            <a:xfrm>
              <a:off x="1607" y="1525"/>
              <a:ext cx="772" cy="291"/>
            </a:xfrm>
            <a:prstGeom prst="rect">
              <a:avLst/>
            </a:prstGeom>
            <a:noFill/>
            <a:ln w="9525">
              <a:noFill/>
              <a:miter lim="800000"/>
              <a:headEnd/>
              <a:tailEnd/>
            </a:ln>
          </p:spPr>
          <p:txBody>
            <a:bodyPr wrap="none" lIns="91404" tIns="45702" rIns="91404" bIns="45702">
              <a:spAutoFit/>
            </a:bodyPr>
            <a:lstStyle/>
            <a:p>
              <a:pPr eaLnBrk="0" hangingPunct="0"/>
              <a:r>
                <a:rPr lang="it-IT" sz="2400" b="1" smtClean="0">
                  <a:solidFill>
                    <a:srgbClr val="000000"/>
                  </a:solidFill>
                  <a:cs typeface="Arial"/>
                </a:rPr>
                <a:t>SDF-1</a:t>
              </a:r>
            </a:p>
          </p:txBody>
        </p:sp>
        <p:sp>
          <p:nvSpPr>
            <p:cNvPr id="187466" name="Freeform 81"/>
            <p:cNvSpPr>
              <a:spLocks/>
            </p:cNvSpPr>
            <p:nvPr/>
          </p:nvSpPr>
          <p:spPr bwMode="auto">
            <a:xfrm>
              <a:off x="1592" y="1842"/>
              <a:ext cx="197" cy="953"/>
            </a:xfrm>
            <a:custGeom>
              <a:avLst/>
              <a:gdLst>
                <a:gd name="T0" fmla="*/ 106 w 197"/>
                <a:gd name="T1" fmla="*/ 953 h 953"/>
                <a:gd name="T2" fmla="*/ 15 w 197"/>
                <a:gd name="T3" fmla="*/ 363 h 953"/>
                <a:gd name="T4" fmla="*/ 197 w 197"/>
                <a:gd name="T5" fmla="*/ 0 h 953"/>
                <a:gd name="T6" fmla="*/ 0 60000 65536"/>
                <a:gd name="T7" fmla="*/ 0 60000 65536"/>
                <a:gd name="T8" fmla="*/ 0 60000 65536"/>
                <a:gd name="T9" fmla="*/ 0 w 197"/>
                <a:gd name="T10" fmla="*/ 0 h 953"/>
                <a:gd name="T11" fmla="*/ 197 w 197"/>
                <a:gd name="T12" fmla="*/ 953 h 953"/>
              </a:gdLst>
              <a:ahLst/>
              <a:cxnLst>
                <a:cxn ang="T6">
                  <a:pos x="T0" y="T1"/>
                </a:cxn>
                <a:cxn ang="T7">
                  <a:pos x="T2" y="T3"/>
                </a:cxn>
                <a:cxn ang="T8">
                  <a:pos x="T4" y="T5"/>
                </a:cxn>
              </a:cxnLst>
              <a:rect l="T9" t="T10" r="T11" b="T12"/>
              <a:pathLst>
                <a:path w="197" h="953">
                  <a:moveTo>
                    <a:pt x="106" y="953"/>
                  </a:moveTo>
                  <a:cubicBezTo>
                    <a:pt x="53" y="737"/>
                    <a:pt x="0" y="522"/>
                    <a:pt x="15" y="363"/>
                  </a:cubicBezTo>
                  <a:cubicBezTo>
                    <a:pt x="30" y="204"/>
                    <a:pt x="113" y="102"/>
                    <a:pt x="197" y="0"/>
                  </a:cubicBezTo>
                </a:path>
              </a:pathLst>
            </a:custGeom>
            <a:noFill/>
            <a:ln w="19050">
              <a:solidFill>
                <a:schemeClr val="tx1"/>
              </a:solidFill>
              <a:round/>
              <a:headEnd/>
              <a:tailEnd type="arrow" w="med" len="med"/>
            </a:ln>
          </p:spPr>
          <p:txBody>
            <a:bodyPr/>
            <a:lstStyle/>
            <a:p>
              <a:endParaRPr lang="it-IT" smtClean="0">
                <a:solidFill>
                  <a:srgbClr val="000000"/>
                </a:solidFill>
                <a:cs typeface="Arial"/>
              </a:endParaRPr>
            </a:p>
          </p:txBody>
        </p:sp>
        <p:sp>
          <p:nvSpPr>
            <p:cNvPr id="187467" name="Line 82"/>
            <p:cNvSpPr>
              <a:spLocks noChangeShapeType="1"/>
            </p:cNvSpPr>
            <p:nvPr/>
          </p:nvSpPr>
          <p:spPr bwMode="auto">
            <a:xfrm flipV="1">
              <a:off x="2106" y="1298"/>
              <a:ext cx="318" cy="272"/>
            </a:xfrm>
            <a:prstGeom prst="line">
              <a:avLst/>
            </a:prstGeom>
            <a:noFill/>
            <a:ln w="9525">
              <a:solidFill>
                <a:schemeClr val="tx1"/>
              </a:solidFill>
              <a:round/>
              <a:headEnd/>
              <a:tailEnd type="triangle" w="med" len="med"/>
            </a:ln>
          </p:spPr>
          <p:txBody>
            <a:bodyPr/>
            <a:lstStyle/>
            <a:p>
              <a:endParaRPr lang="it-IT" smtClean="0">
                <a:solidFill>
                  <a:srgbClr val="000000"/>
                </a:solidFill>
                <a:cs typeface="Arial"/>
              </a:endParaRPr>
            </a:p>
          </p:txBody>
        </p:sp>
      </p:grpSp>
      <p:grpSp>
        <p:nvGrpSpPr>
          <p:cNvPr id="22" name="Group 83"/>
          <p:cNvGrpSpPr>
            <a:grpSpLocks/>
          </p:cNvGrpSpPr>
          <p:nvPr/>
        </p:nvGrpSpPr>
        <p:grpSpPr bwMode="auto">
          <a:xfrm>
            <a:off x="2459061" y="2205039"/>
            <a:ext cx="1858226" cy="2663825"/>
            <a:chOff x="1743" y="1389"/>
            <a:chExt cx="1319" cy="1678"/>
          </a:xfrm>
        </p:grpSpPr>
        <p:grpSp>
          <p:nvGrpSpPr>
            <p:cNvPr id="23" name="Group 84"/>
            <p:cNvGrpSpPr>
              <a:grpSpLocks/>
            </p:cNvGrpSpPr>
            <p:nvPr/>
          </p:nvGrpSpPr>
          <p:grpSpPr bwMode="auto">
            <a:xfrm>
              <a:off x="1743" y="1842"/>
              <a:ext cx="1319" cy="1225"/>
              <a:chOff x="1743" y="1842"/>
              <a:chExt cx="1319" cy="1225"/>
            </a:xfrm>
          </p:grpSpPr>
          <p:sp>
            <p:nvSpPr>
              <p:cNvPr id="187462" name="Text Box 85"/>
              <p:cNvSpPr txBox="1">
                <a:spLocks noChangeArrowheads="1"/>
              </p:cNvSpPr>
              <p:nvPr/>
            </p:nvSpPr>
            <p:spPr bwMode="auto">
              <a:xfrm>
                <a:off x="2152" y="1842"/>
                <a:ext cx="910" cy="291"/>
              </a:xfrm>
              <a:prstGeom prst="rect">
                <a:avLst/>
              </a:prstGeom>
              <a:noFill/>
              <a:ln w="38100">
                <a:solidFill>
                  <a:srgbClr val="FF0000"/>
                </a:solidFill>
                <a:miter lim="800000"/>
                <a:headEnd/>
                <a:tailEnd/>
              </a:ln>
            </p:spPr>
            <p:txBody>
              <a:bodyPr wrap="none" lIns="91404" tIns="45702" rIns="91404" bIns="45702">
                <a:spAutoFit/>
              </a:bodyPr>
              <a:lstStyle/>
              <a:p>
                <a:pPr eaLnBrk="0" hangingPunct="0"/>
                <a:r>
                  <a:rPr lang="it-IT" sz="2400" b="1" smtClean="0">
                    <a:solidFill>
                      <a:srgbClr val="FF0000"/>
                    </a:solidFill>
                    <a:cs typeface="Arial"/>
                  </a:rPr>
                  <a:t>RANKL</a:t>
                </a:r>
              </a:p>
            </p:txBody>
          </p:sp>
          <p:sp>
            <p:nvSpPr>
              <p:cNvPr id="187463" name="Freeform 86"/>
              <p:cNvSpPr>
                <a:spLocks/>
              </p:cNvSpPr>
              <p:nvPr/>
            </p:nvSpPr>
            <p:spPr bwMode="auto">
              <a:xfrm>
                <a:off x="1743" y="1979"/>
                <a:ext cx="408" cy="861"/>
              </a:xfrm>
              <a:custGeom>
                <a:avLst/>
                <a:gdLst>
                  <a:gd name="T0" fmla="*/ 440 w 317"/>
                  <a:gd name="T1" fmla="*/ 861 h 861"/>
                  <a:gd name="T2" fmla="*/ 440 w 317"/>
                  <a:gd name="T3" fmla="*/ 272 h 861"/>
                  <a:gd name="T4" fmla="*/ 3075 w 317"/>
                  <a:gd name="T5" fmla="*/ 0 h 861"/>
                  <a:gd name="T6" fmla="*/ 0 60000 65536"/>
                  <a:gd name="T7" fmla="*/ 0 60000 65536"/>
                  <a:gd name="T8" fmla="*/ 0 60000 65536"/>
                  <a:gd name="T9" fmla="*/ 0 w 317"/>
                  <a:gd name="T10" fmla="*/ 0 h 861"/>
                  <a:gd name="T11" fmla="*/ 317 w 317"/>
                  <a:gd name="T12" fmla="*/ 861 h 861"/>
                </a:gdLst>
                <a:ahLst/>
                <a:cxnLst>
                  <a:cxn ang="T6">
                    <a:pos x="T0" y="T1"/>
                  </a:cxn>
                  <a:cxn ang="T7">
                    <a:pos x="T2" y="T3"/>
                  </a:cxn>
                  <a:cxn ang="T8">
                    <a:pos x="T4" y="T5"/>
                  </a:cxn>
                </a:cxnLst>
                <a:rect l="T9" t="T10" r="T11" b="T12"/>
                <a:pathLst>
                  <a:path w="317" h="861">
                    <a:moveTo>
                      <a:pt x="45" y="861"/>
                    </a:moveTo>
                    <a:cubicBezTo>
                      <a:pt x="22" y="638"/>
                      <a:pt x="0" y="415"/>
                      <a:pt x="45" y="272"/>
                    </a:cubicBezTo>
                    <a:cubicBezTo>
                      <a:pt x="90" y="129"/>
                      <a:pt x="203" y="64"/>
                      <a:pt x="317" y="0"/>
                    </a:cubicBezTo>
                  </a:path>
                </a:pathLst>
              </a:custGeom>
              <a:noFill/>
              <a:ln w="38100">
                <a:solidFill>
                  <a:srgbClr val="FF0000"/>
                </a:solidFill>
                <a:round/>
                <a:headEnd/>
                <a:tailEnd type="arrow" w="med" len="med"/>
              </a:ln>
            </p:spPr>
            <p:txBody>
              <a:bodyPr/>
              <a:lstStyle/>
              <a:p>
                <a:endParaRPr lang="it-IT" smtClean="0">
                  <a:solidFill>
                    <a:srgbClr val="000000"/>
                  </a:solidFill>
                  <a:cs typeface="Arial"/>
                </a:endParaRPr>
              </a:p>
            </p:txBody>
          </p:sp>
          <p:sp>
            <p:nvSpPr>
              <p:cNvPr id="187464" name="Line 87"/>
              <p:cNvSpPr>
                <a:spLocks noChangeShapeType="1"/>
              </p:cNvSpPr>
              <p:nvPr/>
            </p:nvSpPr>
            <p:spPr bwMode="auto">
              <a:xfrm>
                <a:off x="2560" y="2160"/>
                <a:ext cx="45" cy="907"/>
              </a:xfrm>
              <a:prstGeom prst="line">
                <a:avLst/>
              </a:prstGeom>
              <a:noFill/>
              <a:ln w="38100">
                <a:solidFill>
                  <a:srgbClr val="FF0000"/>
                </a:solidFill>
                <a:round/>
                <a:headEnd/>
                <a:tailEnd type="triangle" w="med" len="med"/>
              </a:ln>
            </p:spPr>
            <p:txBody>
              <a:bodyPr/>
              <a:lstStyle/>
              <a:p>
                <a:endParaRPr lang="it-IT" smtClean="0">
                  <a:solidFill>
                    <a:srgbClr val="000000"/>
                  </a:solidFill>
                  <a:cs typeface="Arial"/>
                </a:endParaRPr>
              </a:p>
            </p:txBody>
          </p:sp>
        </p:grpSp>
        <p:sp>
          <p:nvSpPr>
            <p:cNvPr id="187461" name="Line 88"/>
            <p:cNvSpPr>
              <a:spLocks noChangeShapeType="1"/>
            </p:cNvSpPr>
            <p:nvPr/>
          </p:nvSpPr>
          <p:spPr bwMode="auto">
            <a:xfrm flipV="1">
              <a:off x="2560" y="1389"/>
              <a:ext cx="45" cy="408"/>
            </a:xfrm>
            <a:prstGeom prst="line">
              <a:avLst/>
            </a:prstGeom>
            <a:noFill/>
            <a:ln w="38100">
              <a:solidFill>
                <a:srgbClr val="FF0000"/>
              </a:solidFill>
              <a:round/>
              <a:headEnd/>
              <a:tailEnd type="triangle" w="med" len="med"/>
            </a:ln>
          </p:spPr>
          <p:txBody>
            <a:bodyPr/>
            <a:lstStyle/>
            <a:p>
              <a:endParaRPr lang="it-IT" smtClean="0">
                <a:solidFill>
                  <a:srgbClr val="000000"/>
                </a:solidFill>
                <a:cs typeface="Arial"/>
              </a:endParaRPr>
            </a:p>
          </p:txBody>
        </p:sp>
      </p:grpSp>
      <p:sp>
        <p:nvSpPr>
          <p:cNvPr id="187429" name="Rectangle 92"/>
          <p:cNvSpPr>
            <a:spLocks noChangeArrowheads="1"/>
          </p:cNvSpPr>
          <p:nvPr/>
        </p:nvSpPr>
        <p:spPr bwMode="auto">
          <a:xfrm>
            <a:off x="5652120" y="0"/>
            <a:ext cx="2244453" cy="276963"/>
          </a:xfrm>
          <a:prstGeom prst="rect">
            <a:avLst/>
          </a:prstGeom>
          <a:noFill/>
          <a:ln w="9525">
            <a:noFill/>
            <a:miter lim="800000"/>
            <a:headEnd/>
            <a:tailEnd/>
          </a:ln>
        </p:spPr>
        <p:txBody>
          <a:bodyPr wrap="none" lIns="91404" tIns="45702" rIns="91404" bIns="45702">
            <a:spAutoFit/>
          </a:bodyPr>
          <a:lstStyle/>
          <a:p>
            <a:pPr eaLnBrk="0" hangingPunct="0"/>
            <a:r>
              <a:rPr lang="it-IT" sz="1200" i="1" dirty="0" smtClean="0">
                <a:solidFill>
                  <a:srgbClr val="000000"/>
                </a:solidFill>
                <a:cs typeface="Arial"/>
              </a:rPr>
              <a:t>OSTEOCLAST PRECURSOR</a:t>
            </a:r>
          </a:p>
        </p:txBody>
      </p:sp>
      <p:sp>
        <p:nvSpPr>
          <p:cNvPr id="187430" name="Line 93"/>
          <p:cNvSpPr>
            <a:spLocks noChangeShapeType="1"/>
          </p:cNvSpPr>
          <p:nvPr/>
        </p:nvSpPr>
        <p:spPr bwMode="auto">
          <a:xfrm>
            <a:off x="6427788" y="1196975"/>
            <a:ext cx="576262" cy="0"/>
          </a:xfrm>
          <a:prstGeom prst="line">
            <a:avLst/>
          </a:prstGeom>
          <a:noFill/>
          <a:ln w="12700">
            <a:solidFill>
              <a:schemeClr val="tx1"/>
            </a:solidFill>
            <a:round/>
            <a:headEnd/>
            <a:tailEnd type="triangle" w="med" len="med"/>
          </a:ln>
        </p:spPr>
        <p:txBody>
          <a:bodyPr/>
          <a:lstStyle/>
          <a:p>
            <a:endParaRPr lang="it-IT" smtClean="0">
              <a:solidFill>
                <a:srgbClr val="000000"/>
              </a:solidFill>
              <a:cs typeface="Arial"/>
            </a:endParaRPr>
          </a:p>
        </p:txBody>
      </p:sp>
      <p:grpSp>
        <p:nvGrpSpPr>
          <p:cNvPr id="24" name="Group 100"/>
          <p:cNvGrpSpPr>
            <a:grpSpLocks/>
          </p:cNvGrpSpPr>
          <p:nvPr/>
        </p:nvGrpSpPr>
        <p:grpSpPr bwMode="auto">
          <a:xfrm>
            <a:off x="138113" y="3232150"/>
            <a:ext cx="1425575" cy="1492250"/>
            <a:chOff x="98" y="2036"/>
            <a:chExt cx="1010" cy="940"/>
          </a:xfrm>
        </p:grpSpPr>
        <p:sp>
          <p:nvSpPr>
            <p:cNvPr id="187451" name="Text Box 101"/>
            <p:cNvSpPr txBox="1">
              <a:spLocks noChangeArrowheads="1"/>
            </p:cNvSpPr>
            <p:nvPr/>
          </p:nvSpPr>
          <p:spPr bwMode="auto">
            <a:xfrm>
              <a:off x="98" y="2036"/>
              <a:ext cx="560" cy="756"/>
            </a:xfrm>
            <a:prstGeom prst="rect">
              <a:avLst/>
            </a:prstGeom>
            <a:noFill/>
            <a:ln w="9525">
              <a:solidFill>
                <a:schemeClr val="tx1"/>
              </a:solidFill>
              <a:miter lim="800000"/>
              <a:headEnd/>
              <a:tailEnd/>
            </a:ln>
          </p:spPr>
          <p:txBody>
            <a:bodyPr wrap="none" lIns="91404" tIns="45702" rIns="91404" bIns="45702">
              <a:spAutoFit/>
            </a:bodyPr>
            <a:lstStyle/>
            <a:p>
              <a:pPr eaLnBrk="0" hangingPunct="0"/>
              <a:r>
                <a:rPr lang="it-IT" b="1" smtClean="0">
                  <a:solidFill>
                    <a:srgbClr val="000000"/>
                  </a:solidFill>
                  <a:cs typeface="Arial"/>
                </a:rPr>
                <a:t>PTH</a:t>
              </a:r>
            </a:p>
            <a:p>
              <a:pPr eaLnBrk="0" hangingPunct="0"/>
              <a:r>
                <a:rPr lang="it-IT" b="1" smtClean="0">
                  <a:solidFill>
                    <a:srgbClr val="000000"/>
                  </a:solidFill>
                  <a:cs typeface="Arial"/>
                </a:rPr>
                <a:t>TNF</a:t>
              </a:r>
              <a:r>
                <a:rPr lang="it-IT" b="1" smtClean="0">
                  <a:solidFill>
                    <a:srgbClr val="000000"/>
                  </a:solidFill>
                  <a:latin typeface="Symbol" pitchFamily="18" charset="2"/>
                  <a:cs typeface="Arial"/>
                </a:rPr>
                <a:t>a</a:t>
              </a:r>
            </a:p>
            <a:p>
              <a:pPr eaLnBrk="0" hangingPunct="0"/>
              <a:r>
                <a:rPr lang="it-IT" b="1" smtClean="0">
                  <a:solidFill>
                    <a:srgbClr val="000000"/>
                  </a:solidFill>
                  <a:latin typeface="Symbol" pitchFamily="18" charset="2"/>
                  <a:cs typeface="Arial"/>
                </a:rPr>
                <a:t>I</a:t>
              </a:r>
              <a:r>
                <a:rPr lang="it-IT" b="1" smtClean="0">
                  <a:solidFill>
                    <a:srgbClr val="000000"/>
                  </a:solidFill>
                  <a:cs typeface="Arial"/>
                </a:rPr>
                <a:t>L-6</a:t>
              </a:r>
              <a:endParaRPr lang="it-IT" b="1" smtClean="0">
                <a:solidFill>
                  <a:srgbClr val="000000"/>
                </a:solidFill>
                <a:latin typeface="Symbol" pitchFamily="18" charset="2"/>
                <a:cs typeface="Arial"/>
              </a:endParaRPr>
            </a:p>
            <a:p>
              <a:pPr eaLnBrk="0" hangingPunct="0"/>
              <a:endParaRPr lang="it-IT" b="1" smtClean="0">
                <a:solidFill>
                  <a:srgbClr val="000000"/>
                </a:solidFill>
                <a:cs typeface="Arial"/>
              </a:endParaRPr>
            </a:p>
          </p:txBody>
        </p:sp>
        <p:sp>
          <p:nvSpPr>
            <p:cNvPr id="187452" name="Freeform 102"/>
            <p:cNvSpPr>
              <a:spLocks/>
            </p:cNvSpPr>
            <p:nvPr/>
          </p:nvSpPr>
          <p:spPr bwMode="auto">
            <a:xfrm>
              <a:off x="609" y="2296"/>
              <a:ext cx="499" cy="680"/>
            </a:xfrm>
            <a:custGeom>
              <a:avLst/>
              <a:gdLst>
                <a:gd name="T0" fmla="*/ 0 w 499"/>
                <a:gd name="T1" fmla="*/ 1 h 681"/>
                <a:gd name="T2" fmla="*/ 272 w 499"/>
                <a:gd name="T3" fmla="*/ 91 h 681"/>
                <a:gd name="T4" fmla="*/ 318 w 499"/>
                <a:gd name="T5" fmla="*/ 536 h 681"/>
                <a:gd name="T6" fmla="*/ 499 w 499"/>
                <a:gd name="T7" fmla="*/ 672 h 681"/>
                <a:gd name="T8" fmla="*/ 0 60000 65536"/>
                <a:gd name="T9" fmla="*/ 0 60000 65536"/>
                <a:gd name="T10" fmla="*/ 0 60000 65536"/>
                <a:gd name="T11" fmla="*/ 0 60000 65536"/>
                <a:gd name="T12" fmla="*/ 0 w 499"/>
                <a:gd name="T13" fmla="*/ 0 h 681"/>
                <a:gd name="T14" fmla="*/ 499 w 499"/>
                <a:gd name="T15" fmla="*/ 681 h 681"/>
              </a:gdLst>
              <a:ahLst/>
              <a:cxnLst>
                <a:cxn ang="T8">
                  <a:pos x="T0" y="T1"/>
                </a:cxn>
                <a:cxn ang="T9">
                  <a:pos x="T2" y="T3"/>
                </a:cxn>
                <a:cxn ang="T10">
                  <a:pos x="T4" y="T5"/>
                </a:cxn>
                <a:cxn ang="T11">
                  <a:pos x="T6" y="T7"/>
                </a:cxn>
              </a:cxnLst>
              <a:rect l="T12" t="T13" r="T14" b="T15"/>
              <a:pathLst>
                <a:path w="499" h="681">
                  <a:moveTo>
                    <a:pt x="0" y="1"/>
                  </a:moveTo>
                  <a:cubicBezTo>
                    <a:pt x="109" y="0"/>
                    <a:pt x="219" y="0"/>
                    <a:pt x="272" y="91"/>
                  </a:cubicBezTo>
                  <a:cubicBezTo>
                    <a:pt x="325" y="182"/>
                    <a:pt x="280" y="447"/>
                    <a:pt x="318" y="545"/>
                  </a:cubicBezTo>
                  <a:cubicBezTo>
                    <a:pt x="356" y="643"/>
                    <a:pt x="427" y="662"/>
                    <a:pt x="499" y="681"/>
                  </a:cubicBezTo>
                </a:path>
              </a:pathLst>
            </a:custGeom>
            <a:noFill/>
            <a:ln w="19050">
              <a:solidFill>
                <a:schemeClr val="tx1"/>
              </a:solidFill>
              <a:round/>
              <a:headEnd/>
              <a:tailEnd type="triangle" w="med" len="med"/>
            </a:ln>
          </p:spPr>
          <p:txBody>
            <a:bodyPr/>
            <a:lstStyle/>
            <a:p>
              <a:endParaRPr lang="it-IT" smtClean="0">
                <a:solidFill>
                  <a:srgbClr val="000000"/>
                </a:solidFill>
                <a:cs typeface="Arial"/>
              </a:endParaRPr>
            </a:p>
          </p:txBody>
        </p:sp>
      </p:grpSp>
      <p:grpSp>
        <p:nvGrpSpPr>
          <p:cNvPr id="25" name="Group 103"/>
          <p:cNvGrpSpPr>
            <a:grpSpLocks/>
          </p:cNvGrpSpPr>
          <p:nvPr/>
        </p:nvGrpSpPr>
        <p:grpSpPr bwMode="auto">
          <a:xfrm>
            <a:off x="3132162" y="404813"/>
            <a:ext cx="5415491" cy="2741612"/>
            <a:chOff x="2015" y="255"/>
            <a:chExt cx="3838" cy="1727"/>
          </a:xfrm>
        </p:grpSpPr>
        <p:grpSp>
          <p:nvGrpSpPr>
            <p:cNvPr id="26" name="Group 104"/>
            <p:cNvGrpSpPr>
              <a:grpSpLocks/>
            </p:cNvGrpSpPr>
            <p:nvPr/>
          </p:nvGrpSpPr>
          <p:grpSpPr bwMode="auto">
            <a:xfrm>
              <a:off x="2015" y="255"/>
              <a:ext cx="3838" cy="1727"/>
              <a:chOff x="2287" y="255"/>
              <a:chExt cx="3838" cy="1727"/>
            </a:xfrm>
          </p:grpSpPr>
          <p:sp>
            <p:nvSpPr>
              <p:cNvPr id="187438" name="Freeform 105"/>
              <p:cNvSpPr>
                <a:spLocks/>
              </p:cNvSpPr>
              <p:nvPr/>
            </p:nvSpPr>
            <p:spPr bwMode="auto">
              <a:xfrm>
                <a:off x="4102" y="482"/>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1">
                <a:gsLst>
                  <a:gs pos="0">
                    <a:srgbClr val="0099FF"/>
                  </a:gs>
                  <a:gs pos="100000">
                    <a:srgbClr val="004776"/>
                  </a:gs>
                </a:gsLst>
                <a:path path="rect">
                  <a:fillToRect l="50000" t="50000" r="50000" b="50000"/>
                </a:path>
              </a:gradFill>
              <a:ln w="9525">
                <a:solidFill>
                  <a:schemeClr val="bg1"/>
                </a:solidFill>
                <a:round/>
                <a:headEnd/>
                <a:tailEnd/>
              </a:ln>
            </p:spPr>
            <p:txBody>
              <a:bodyPr wrap="none" anchor="ctr"/>
              <a:lstStyle/>
              <a:p>
                <a:endParaRPr lang="it-IT" smtClean="0">
                  <a:solidFill>
                    <a:srgbClr val="000000"/>
                  </a:solidFill>
                  <a:cs typeface="Arial"/>
                </a:endParaRPr>
              </a:p>
            </p:txBody>
          </p:sp>
          <p:sp>
            <p:nvSpPr>
              <p:cNvPr id="187439" name="Freeform 106"/>
              <p:cNvSpPr>
                <a:spLocks/>
              </p:cNvSpPr>
              <p:nvPr/>
            </p:nvSpPr>
            <p:spPr bwMode="auto">
              <a:xfrm>
                <a:off x="3149" y="482"/>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1">
                <a:gsLst>
                  <a:gs pos="0">
                    <a:srgbClr val="0099FF"/>
                  </a:gs>
                  <a:gs pos="100000">
                    <a:srgbClr val="004776"/>
                  </a:gs>
                </a:gsLst>
                <a:path path="rect">
                  <a:fillToRect l="50000" t="50000" r="50000" b="50000"/>
                </a:path>
              </a:gradFill>
              <a:ln w="9525">
                <a:solidFill>
                  <a:schemeClr val="bg1"/>
                </a:solidFill>
                <a:round/>
                <a:headEnd/>
                <a:tailEnd/>
              </a:ln>
            </p:spPr>
            <p:txBody>
              <a:bodyPr wrap="none" anchor="ctr"/>
              <a:lstStyle/>
              <a:p>
                <a:endParaRPr lang="it-IT" smtClean="0">
                  <a:solidFill>
                    <a:srgbClr val="000000"/>
                  </a:solidFill>
                  <a:cs typeface="Arial"/>
                </a:endParaRPr>
              </a:p>
            </p:txBody>
          </p:sp>
          <p:grpSp>
            <p:nvGrpSpPr>
              <p:cNvPr id="27" name="Group 107"/>
              <p:cNvGrpSpPr>
                <a:grpSpLocks/>
              </p:cNvGrpSpPr>
              <p:nvPr/>
            </p:nvGrpSpPr>
            <p:grpSpPr bwMode="auto">
              <a:xfrm>
                <a:off x="2450" y="832"/>
                <a:ext cx="306" cy="534"/>
                <a:chOff x="2450" y="832"/>
                <a:chExt cx="306" cy="534"/>
              </a:xfrm>
            </p:grpSpPr>
            <p:sp>
              <p:nvSpPr>
                <p:cNvPr id="187449" name="Freeform 108"/>
                <p:cNvSpPr>
                  <a:spLocks/>
                </p:cNvSpPr>
                <p:nvPr/>
              </p:nvSpPr>
              <p:spPr bwMode="auto">
                <a:xfrm>
                  <a:off x="2450" y="832"/>
                  <a:ext cx="306" cy="534"/>
                </a:xfrm>
                <a:custGeom>
                  <a:avLst/>
                  <a:gdLst>
                    <a:gd name="T0" fmla="*/ 6 w 306"/>
                    <a:gd name="T1" fmla="*/ 7 h 534"/>
                    <a:gd name="T2" fmla="*/ 16 w 306"/>
                    <a:gd name="T3" fmla="*/ 269 h 534"/>
                    <a:gd name="T4" fmla="*/ 56 w 306"/>
                    <a:gd name="T5" fmla="*/ 280 h 534"/>
                    <a:gd name="T6" fmla="*/ 66 w 306"/>
                    <a:gd name="T7" fmla="*/ 330 h 534"/>
                    <a:gd name="T8" fmla="*/ 66 w 306"/>
                    <a:gd name="T9" fmla="*/ 401 h 534"/>
                    <a:gd name="T10" fmla="*/ 127 w 306"/>
                    <a:gd name="T11" fmla="*/ 421 h 534"/>
                    <a:gd name="T12" fmla="*/ 157 w 306"/>
                    <a:gd name="T13" fmla="*/ 441 h 534"/>
                    <a:gd name="T14" fmla="*/ 278 w 306"/>
                    <a:gd name="T15" fmla="*/ 502 h 534"/>
                    <a:gd name="T16" fmla="*/ 200 w 306"/>
                    <a:gd name="T17" fmla="*/ 375 h 534"/>
                    <a:gd name="T18" fmla="*/ 155 w 306"/>
                    <a:gd name="T19" fmla="*/ 330 h 534"/>
                    <a:gd name="T20" fmla="*/ 200 w 306"/>
                    <a:gd name="T21" fmla="*/ 285 h 534"/>
                    <a:gd name="T22" fmla="*/ 291 w 306"/>
                    <a:gd name="T23" fmla="*/ 239 h 534"/>
                    <a:gd name="T24" fmla="*/ 200 w 306"/>
                    <a:gd name="T25" fmla="*/ 13 h 534"/>
                    <a:gd name="T26" fmla="*/ 6 w 306"/>
                    <a:gd name="T27" fmla="*/ 7 h 5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6"/>
                    <a:gd name="T43" fmla="*/ 0 h 534"/>
                    <a:gd name="T44" fmla="*/ 306 w 306"/>
                    <a:gd name="T45" fmla="*/ 534 h 5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6" h="534">
                      <a:moveTo>
                        <a:pt x="6" y="7"/>
                      </a:moveTo>
                      <a:cubicBezTo>
                        <a:pt x="9" y="94"/>
                        <a:pt x="0" y="183"/>
                        <a:pt x="16" y="269"/>
                      </a:cubicBezTo>
                      <a:cubicBezTo>
                        <a:pt x="18" y="283"/>
                        <a:pt x="47" y="269"/>
                        <a:pt x="56" y="280"/>
                      </a:cubicBezTo>
                      <a:cubicBezTo>
                        <a:pt x="67" y="293"/>
                        <a:pt x="63" y="313"/>
                        <a:pt x="66" y="330"/>
                      </a:cubicBezTo>
                      <a:cubicBezTo>
                        <a:pt x="59" y="350"/>
                        <a:pt x="43" y="381"/>
                        <a:pt x="66" y="401"/>
                      </a:cubicBezTo>
                      <a:cubicBezTo>
                        <a:pt x="82" y="415"/>
                        <a:pt x="107" y="414"/>
                        <a:pt x="127" y="421"/>
                      </a:cubicBezTo>
                      <a:cubicBezTo>
                        <a:pt x="138" y="425"/>
                        <a:pt x="147" y="434"/>
                        <a:pt x="157" y="441"/>
                      </a:cubicBezTo>
                      <a:cubicBezTo>
                        <a:pt x="187" y="534"/>
                        <a:pt x="156" y="502"/>
                        <a:pt x="278" y="502"/>
                      </a:cubicBezTo>
                      <a:cubicBezTo>
                        <a:pt x="306" y="426"/>
                        <a:pt x="300" y="475"/>
                        <a:pt x="200" y="375"/>
                      </a:cubicBezTo>
                      <a:cubicBezTo>
                        <a:pt x="185" y="360"/>
                        <a:pt x="155" y="330"/>
                        <a:pt x="155" y="330"/>
                      </a:cubicBezTo>
                      <a:cubicBezTo>
                        <a:pt x="170" y="315"/>
                        <a:pt x="182" y="297"/>
                        <a:pt x="200" y="285"/>
                      </a:cubicBezTo>
                      <a:cubicBezTo>
                        <a:pt x="228" y="266"/>
                        <a:pt x="284" y="272"/>
                        <a:pt x="291" y="239"/>
                      </a:cubicBezTo>
                      <a:cubicBezTo>
                        <a:pt x="297" y="208"/>
                        <a:pt x="262" y="26"/>
                        <a:pt x="200" y="13"/>
                      </a:cubicBezTo>
                      <a:cubicBezTo>
                        <a:pt x="137" y="0"/>
                        <a:pt x="71" y="9"/>
                        <a:pt x="6" y="7"/>
                      </a:cubicBezTo>
                      <a:close/>
                    </a:path>
                  </a:pathLst>
                </a:custGeom>
                <a:gradFill rotWithShape="1">
                  <a:gsLst>
                    <a:gs pos="0">
                      <a:srgbClr val="0099FF"/>
                    </a:gs>
                    <a:gs pos="100000">
                      <a:srgbClr val="004776"/>
                    </a:gs>
                  </a:gsLst>
                  <a:path path="rect">
                    <a:fillToRect l="50000" t="50000" r="50000" b="50000"/>
                  </a:path>
                </a:gradFill>
                <a:ln w="9525">
                  <a:solidFill>
                    <a:schemeClr val="tx1"/>
                  </a:solidFill>
                  <a:round/>
                  <a:headEnd/>
                  <a:tailEnd/>
                </a:ln>
              </p:spPr>
              <p:txBody>
                <a:bodyPr/>
                <a:lstStyle/>
                <a:p>
                  <a:endParaRPr lang="it-IT" smtClean="0">
                    <a:solidFill>
                      <a:srgbClr val="000000"/>
                    </a:solidFill>
                    <a:cs typeface="Arial"/>
                  </a:endParaRPr>
                </a:p>
              </p:txBody>
            </p:sp>
            <p:sp>
              <p:nvSpPr>
                <p:cNvPr id="187450" name="Oval 109"/>
                <p:cNvSpPr>
                  <a:spLocks noChangeArrowheads="1"/>
                </p:cNvSpPr>
                <p:nvPr/>
              </p:nvSpPr>
              <p:spPr bwMode="auto">
                <a:xfrm>
                  <a:off x="2605" y="981"/>
                  <a:ext cx="45" cy="90"/>
                </a:xfrm>
                <a:prstGeom prst="ellipse">
                  <a:avLst/>
                </a:prstGeom>
                <a:solidFill>
                  <a:schemeClr val="tx1"/>
                </a:solidFill>
                <a:ln w="9525">
                  <a:solidFill>
                    <a:schemeClr val="tx1"/>
                  </a:solidFill>
                  <a:round/>
                  <a:headEnd/>
                  <a:tailEnd/>
                </a:ln>
              </p:spPr>
              <p:txBody>
                <a:bodyPr wrap="none" lIns="91404" tIns="45702" rIns="91404" bIns="45702" anchor="ctr"/>
                <a:lstStyle/>
                <a:p>
                  <a:pPr algn="ctr" eaLnBrk="0" hangingPunct="0"/>
                  <a:endParaRPr lang="it-IT" sz="2400" b="1" smtClean="0">
                    <a:solidFill>
                      <a:srgbClr val="000000"/>
                    </a:solidFill>
                    <a:latin typeface="Times New Roman" pitchFamily="18" charset="0"/>
                    <a:cs typeface="Arial"/>
                  </a:endParaRPr>
                </a:p>
              </p:txBody>
            </p:sp>
          </p:grpSp>
          <p:sp>
            <p:nvSpPr>
              <p:cNvPr id="187441" name="Freeform 110"/>
              <p:cNvSpPr>
                <a:spLocks/>
              </p:cNvSpPr>
              <p:nvPr/>
            </p:nvSpPr>
            <p:spPr bwMode="auto">
              <a:xfrm flipH="1">
                <a:off x="2287" y="527"/>
                <a:ext cx="273" cy="242"/>
              </a:xfrm>
              <a:custGeom>
                <a:avLst/>
                <a:gdLst>
                  <a:gd name="T0" fmla="*/ 29 w 362"/>
                  <a:gd name="T1" fmla="*/ 25179 h 106"/>
                  <a:gd name="T2" fmla="*/ 11 w 362"/>
                  <a:gd name="T3" fmla="*/ 25179 h 106"/>
                  <a:gd name="T4" fmla="*/ 0 w 362"/>
                  <a:gd name="T5" fmla="*/ 178434 h 106"/>
                  <a:gd name="T6" fmla="*/ 0 60000 65536"/>
                  <a:gd name="T7" fmla="*/ 0 60000 65536"/>
                  <a:gd name="T8" fmla="*/ 0 60000 65536"/>
                  <a:gd name="T9" fmla="*/ 0 w 362"/>
                  <a:gd name="T10" fmla="*/ 0 h 106"/>
                  <a:gd name="T11" fmla="*/ 362 w 362"/>
                  <a:gd name="T12" fmla="*/ 106 h 106"/>
                </a:gdLst>
                <a:ahLst/>
                <a:cxnLst>
                  <a:cxn ang="T6">
                    <a:pos x="T0" y="T1"/>
                  </a:cxn>
                  <a:cxn ang="T7">
                    <a:pos x="T2" y="T3"/>
                  </a:cxn>
                  <a:cxn ang="T8">
                    <a:pos x="T4" y="T5"/>
                  </a:cxn>
                </a:cxnLst>
                <a:rect l="T9" t="T10" r="T11" b="T12"/>
                <a:pathLst>
                  <a:path w="362" h="106">
                    <a:moveTo>
                      <a:pt x="362" y="15"/>
                    </a:moveTo>
                    <a:cubicBezTo>
                      <a:pt x="279" y="7"/>
                      <a:pt x="196" y="0"/>
                      <a:pt x="136" y="15"/>
                    </a:cubicBezTo>
                    <a:cubicBezTo>
                      <a:pt x="76" y="30"/>
                      <a:pt x="38" y="68"/>
                      <a:pt x="0" y="106"/>
                    </a:cubicBezTo>
                  </a:path>
                </a:pathLst>
              </a:custGeom>
              <a:noFill/>
              <a:ln w="28575">
                <a:solidFill>
                  <a:schemeClr val="tx1"/>
                </a:solidFill>
                <a:round/>
                <a:headEnd/>
                <a:tailEnd type="arrow" w="med" len="med"/>
              </a:ln>
            </p:spPr>
            <p:txBody>
              <a:bodyPr/>
              <a:lstStyle/>
              <a:p>
                <a:endParaRPr lang="it-IT" smtClean="0">
                  <a:solidFill>
                    <a:srgbClr val="000000"/>
                  </a:solidFill>
                  <a:cs typeface="Arial"/>
                </a:endParaRPr>
              </a:p>
            </p:txBody>
          </p:sp>
          <p:grpSp>
            <p:nvGrpSpPr>
              <p:cNvPr id="28" name="Group 111"/>
              <p:cNvGrpSpPr>
                <a:grpSpLocks/>
              </p:cNvGrpSpPr>
              <p:nvPr/>
            </p:nvGrpSpPr>
            <p:grpSpPr bwMode="auto">
              <a:xfrm>
                <a:off x="5054" y="255"/>
                <a:ext cx="1071" cy="1727"/>
                <a:chOff x="5054" y="255"/>
                <a:chExt cx="1071" cy="1727"/>
              </a:xfrm>
            </p:grpSpPr>
            <p:sp>
              <p:nvSpPr>
                <p:cNvPr id="187443" name="Rectangle 112"/>
                <p:cNvSpPr>
                  <a:spLocks noChangeArrowheads="1"/>
                </p:cNvSpPr>
                <p:nvPr/>
              </p:nvSpPr>
              <p:spPr bwMode="auto">
                <a:xfrm>
                  <a:off x="5054" y="618"/>
                  <a:ext cx="958" cy="1361"/>
                </a:xfrm>
                <a:prstGeom prst="rect">
                  <a:avLst/>
                </a:prstGeom>
                <a:solidFill>
                  <a:schemeClr val="bg2">
                    <a:lumMod val="20000"/>
                    <a:lumOff val="80000"/>
                  </a:schemeClr>
                </a:solidFill>
                <a:ln w="9525">
                  <a:solidFill>
                    <a:schemeClr val="tx1"/>
                  </a:solidFill>
                  <a:miter lim="800000"/>
                  <a:headEnd/>
                  <a:tailEnd/>
                </a:ln>
              </p:spPr>
              <p:txBody>
                <a:bodyPr wrap="none" anchor="ctr"/>
                <a:lstStyle/>
                <a:p>
                  <a:endParaRPr lang="it-IT" sz="1200" b="1" smtClean="0">
                    <a:solidFill>
                      <a:srgbClr val="000000"/>
                    </a:solidFill>
                    <a:latin typeface="Times New Roman" pitchFamily="18" charset="0"/>
                    <a:cs typeface="Arial"/>
                  </a:endParaRPr>
                </a:p>
              </p:txBody>
            </p:sp>
            <p:sp>
              <p:nvSpPr>
                <p:cNvPr id="187444" name="Text Box 113"/>
                <p:cNvSpPr txBox="1">
                  <a:spLocks noChangeArrowheads="1"/>
                </p:cNvSpPr>
                <p:nvPr/>
              </p:nvSpPr>
              <p:spPr bwMode="auto">
                <a:xfrm>
                  <a:off x="5145" y="255"/>
                  <a:ext cx="793" cy="368"/>
                </a:xfrm>
                <a:prstGeom prst="rect">
                  <a:avLst/>
                </a:prstGeom>
                <a:noFill/>
                <a:ln w="9525">
                  <a:noFill/>
                  <a:miter lim="800000"/>
                  <a:headEnd/>
                  <a:tailEnd/>
                </a:ln>
              </p:spPr>
              <p:txBody>
                <a:bodyPr wrap="none" lIns="91404" tIns="45702" rIns="91404" bIns="45702">
                  <a:spAutoFit/>
                </a:bodyPr>
                <a:lstStyle/>
                <a:p>
                  <a:pPr eaLnBrk="0" hangingPunct="0"/>
                  <a:r>
                    <a:rPr lang="it-IT" sz="1600" i="1" dirty="0" smtClean="0">
                      <a:solidFill>
                        <a:srgbClr val="000000"/>
                      </a:solidFill>
                      <a:cs typeface="Arial"/>
                    </a:rPr>
                    <a:t>OCL</a:t>
                  </a:r>
                </a:p>
                <a:p>
                  <a:pPr eaLnBrk="0" hangingPunct="0"/>
                  <a:r>
                    <a:rPr lang="it-IT" sz="1600" i="1" dirty="0" err="1" smtClean="0">
                      <a:solidFill>
                        <a:srgbClr val="000000"/>
                      </a:solidFill>
                      <a:cs typeface="Arial"/>
                    </a:rPr>
                    <a:t>Receptors</a:t>
                  </a:r>
                  <a:endParaRPr lang="it-IT" sz="1600" i="1" dirty="0" smtClean="0">
                    <a:solidFill>
                      <a:srgbClr val="000000"/>
                    </a:solidFill>
                    <a:cs typeface="Arial"/>
                  </a:endParaRPr>
                </a:p>
              </p:txBody>
            </p:sp>
            <p:sp>
              <p:nvSpPr>
                <p:cNvPr id="187445" name="Text Box 114"/>
                <p:cNvSpPr txBox="1">
                  <a:spLocks noChangeArrowheads="1"/>
                </p:cNvSpPr>
                <p:nvPr/>
              </p:nvSpPr>
              <p:spPr bwMode="auto">
                <a:xfrm>
                  <a:off x="5069" y="802"/>
                  <a:ext cx="557" cy="213"/>
                </a:xfrm>
                <a:prstGeom prst="rect">
                  <a:avLst/>
                </a:prstGeom>
                <a:noFill/>
                <a:ln w="9525">
                  <a:noFill/>
                  <a:miter lim="800000"/>
                  <a:headEnd/>
                  <a:tailEnd/>
                </a:ln>
              </p:spPr>
              <p:txBody>
                <a:bodyPr wrap="none" lIns="91404" tIns="45702" rIns="91404" bIns="45702">
                  <a:spAutoFit/>
                </a:bodyPr>
                <a:lstStyle/>
                <a:p>
                  <a:pPr eaLnBrk="0" hangingPunct="0"/>
                  <a:r>
                    <a:rPr lang="it-IT" sz="1600" b="1" dirty="0" smtClean="0">
                      <a:solidFill>
                        <a:srgbClr val="000000"/>
                      </a:solidFill>
                      <a:cs typeface="Arial"/>
                    </a:rPr>
                    <a:t>RANK</a:t>
                  </a:r>
                </a:p>
              </p:txBody>
            </p:sp>
            <p:sp>
              <p:nvSpPr>
                <p:cNvPr id="187446" name="Text Box 115"/>
                <p:cNvSpPr txBox="1">
                  <a:spLocks noChangeArrowheads="1"/>
                </p:cNvSpPr>
                <p:nvPr/>
              </p:nvSpPr>
              <p:spPr bwMode="auto">
                <a:xfrm>
                  <a:off x="5111" y="620"/>
                  <a:ext cx="630" cy="213"/>
                </a:xfrm>
                <a:prstGeom prst="rect">
                  <a:avLst/>
                </a:prstGeom>
                <a:noFill/>
                <a:ln w="9525">
                  <a:noFill/>
                  <a:miter lim="800000"/>
                  <a:headEnd/>
                  <a:tailEnd/>
                </a:ln>
              </p:spPr>
              <p:txBody>
                <a:bodyPr wrap="none" lIns="91404" tIns="45702" rIns="91404" bIns="45702">
                  <a:spAutoFit/>
                </a:bodyPr>
                <a:lstStyle/>
                <a:p>
                  <a:pPr eaLnBrk="0" hangingPunct="0"/>
                  <a:r>
                    <a:rPr lang="it-IT" sz="1600" smtClean="0">
                      <a:solidFill>
                        <a:srgbClr val="000000"/>
                      </a:solidFill>
                      <a:cs typeface="Arial"/>
                    </a:rPr>
                    <a:t>CXCR4</a:t>
                  </a:r>
                </a:p>
              </p:txBody>
            </p:sp>
            <p:sp>
              <p:nvSpPr>
                <p:cNvPr id="187447" name="Text Box 116"/>
                <p:cNvSpPr txBox="1">
                  <a:spLocks noChangeArrowheads="1"/>
                </p:cNvSpPr>
                <p:nvPr/>
              </p:nvSpPr>
              <p:spPr bwMode="auto">
                <a:xfrm>
                  <a:off x="5054" y="981"/>
                  <a:ext cx="1071" cy="233"/>
                </a:xfrm>
                <a:prstGeom prst="rect">
                  <a:avLst/>
                </a:prstGeom>
                <a:noFill/>
                <a:ln w="9525">
                  <a:noFill/>
                  <a:miter lim="800000"/>
                  <a:headEnd/>
                  <a:tailEnd/>
                </a:ln>
              </p:spPr>
              <p:txBody>
                <a:bodyPr wrap="none" lIns="91404" tIns="45702" rIns="91404" bIns="45702">
                  <a:spAutoFit/>
                </a:bodyPr>
                <a:lstStyle/>
                <a:p>
                  <a:pPr eaLnBrk="0" hangingPunct="0"/>
                  <a:r>
                    <a:rPr lang="it-IT" smtClean="0">
                      <a:solidFill>
                        <a:srgbClr val="000000"/>
                      </a:solidFill>
                      <a:cs typeface="Arial"/>
                    </a:rPr>
                    <a:t>BMP-R </a:t>
                  </a:r>
                  <a:r>
                    <a:rPr lang="it-IT" sz="1400" smtClean="0">
                      <a:solidFill>
                        <a:srgbClr val="000000"/>
                      </a:solidFill>
                      <a:cs typeface="Arial"/>
                    </a:rPr>
                    <a:t>Ia,Ib,II</a:t>
                  </a:r>
                </a:p>
              </p:txBody>
            </p:sp>
            <p:sp>
              <p:nvSpPr>
                <p:cNvPr id="187448" name="Text Box 117"/>
                <p:cNvSpPr txBox="1">
                  <a:spLocks noChangeArrowheads="1"/>
                </p:cNvSpPr>
                <p:nvPr/>
              </p:nvSpPr>
              <p:spPr bwMode="auto">
                <a:xfrm>
                  <a:off x="5054" y="1207"/>
                  <a:ext cx="952" cy="775"/>
                </a:xfrm>
                <a:prstGeom prst="rect">
                  <a:avLst/>
                </a:prstGeom>
                <a:noFill/>
                <a:ln w="9525">
                  <a:noFill/>
                  <a:miter lim="800000"/>
                  <a:headEnd/>
                  <a:tailEnd/>
                </a:ln>
              </p:spPr>
              <p:txBody>
                <a:bodyPr lIns="91404" tIns="45702" rIns="91404" bIns="45702">
                  <a:spAutoFit/>
                </a:bodyPr>
                <a:lstStyle/>
                <a:p>
                  <a:pPr eaLnBrk="0" hangingPunct="0"/>
                  <a:r>
                    <a:rPr lang="it-IT" smtClean="0">
                      <a:solidFill>
                        <a:srgbClr val="000000"/>
                      </a:solidFill>
                      <a:cs typeface="Arial"/>
                    </a:rPr>
                    <a:t>ICAM-1</a:t>
                  </a:r>
                </a:p>
                <a:p>
                  <a:pPr eaLnBrk="0" hangingPunct="0"/>
                  <a:r>
                    <a:rPr lang="it-IT" sz="2000" smtClean="0">
                      <a:solidFill>
                        <a:srgbClr val="000000"/>
                      </a:solidFill>
                      <a:latin typeface="Symbol" pitchFamily="18" charset="2"/>
                      <a:cs typeface="Arial"/>
                    </a:rPr>
                    <a:t>a</a:t>
                  </a:r>
                  <a:r>
                    <a:rPr lang="it-IT" sz="2000" smtClean="0">
                      <a:solidFill>
                        <a:srgbClr val="000000"/>
                      </a:solidFill>
                      <a:cs typeface="Arial"/>
                    </a:rPr>
                    <a:t>v</a:t>
                  </a:r>
                  <a:r>
                    <a:rPr lang="it-IT" sz="2000" smtClean="0">
                      <a:solidFill>
                        <a:srgbClr val="000000"/>
                      </a:solidFill>
                      <a:latin typeface="Symbol" pitchFamily="18" charset="2"/>
                      <a:cs typeface="Arial"/>
                    </a:rPr>
                    <a:t>b</a:t>
                  </a:r>
                  <a:r>
                    <a:rPr lang="it-IT" sz="2000" smtClean="0">
                      <a:solidFill>
                        <a:srgbClr val="000000"/>
                      </a:solidFill>
                      <a:cs typeface="Arial"/>
                    </a:rPr>
                    <a:t>3, </a:t>
                  </a:r>
                  <a:r>
                    <a:rPr lang="it-IT" sz="2000" smtClean="0">
                      <a:solidFill>
                        <a:srgbClr val="000000"/>
                      </a:solidFill>
                      <a:latin typeface="Symbol" pitchFamily="18" charset="2"/>
                      <a:cs typeface="Arial"/>
                    </a:rPr>
                    <a:t>a</a:t>
                  </a:r>
                  <a:r>
                    <a:rPr lang="it-IT" sz="2000" smtClean="0">
                      <a:solidFill>
                        <a:srgbClr val="000000"/>
                      </a:solidFill>
                      <a:cs typeface="Arial"/>
                    </a:rPr>
                    <a:t>v</a:t>
                  </a:r>
                  <a:r>
                    <a:rPr lang="it-IT" sz="2000" smtClean="0">
                      <a:solidFill>
                        <a:srgbClr val="000000"/>
                      </a:solidFill>
                      <a:latin typeface="Symbol" pitchFamily="18" charset="2"/>
                      <a:cs typeface="Arial"/>
                    </a:rPr>
                    <a:t>b</a:t>
                  </a:r>
                  <a:r>
                    <a:rPr lang="it-IT" sz="2000" smtClean="0">
                      <a:solidFill>
                        <a:srgbClr val="000000"/>
                      </a:solidFill>
                      <a:cs typeface="Arial"/>
                    </a:rPr>
                    <a:t>2</a:t>
                  </a:r>
                </a:p>
                <a:p>
                  <a:pPr eaLnBrk="0" hangingPunct="0"/>
                  <a:r>
                    <a:rPr lang="it-IT" sz="1600" smtClean="0">
                      <a:solidFill>
                        <a:srgbClr val="000000"/>
                      </a:solidFill>
                      <a:cs typeface="Arial"/>
                    </a:rPr>
                    <a:t>TGF</a:t>
                  </a:r>
                  <a:r>
                    <a:rPr lang="it-IT" sz="1600" smtClean="0">
                      <a:solidFill>
                        <a:srgbClr val="000000"/>
                      </a:solidFill>
                      <a:latin typeface="Symbol" pitchFamily="18" charset="2"/>
                      <a:cs typeface="Arial"/>
                    </a:rPr>
                    <a:t>b</a:t>
                  </a:r>
                  <a:r>
                    <a:rPr lang="it-IT" sz="1600" smtClean="0">
                      <a:solidFill>
                        <a:srgbClr val="000000"/>
                      </a:solidFill>
                      <a:cs typeface="Arial"/>
                    </a:rPr>
                    <a:t>-RI-II</a:t>
                  </a:r>
                </a:p>
              </p:txBody>
            </p:sp>
          </p:grpSp>
        </p:grpSp>
        <p:sp>
          <p:nvSpPr>
            <p:cNvPr id="187436" name="Oval 118"/>
            <p:cNvSpPr>
              <a:spLocks noChangeArrowheads="1"/>
            </p:cNvSpPr>
            <p:nvPr/>
          </p:nvSpPr>
          <p:spPr bwMode="auto">
            <a:xfrm>
              <a:off x="3059" y="663"/>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b="1" smtClean="0">
                <a:solidFill>
                  <a:srgbClr val="000000"/>
                </a:solidFill>
                <a:latin typeface="Times New Roman" pitchFamily="18" charset="0"/>
                <a:cs typeface="Arial"/>
              </a:endParaRPr>
            </a:p>
          </p:txBody>
        </p:sp>
        <p:sp>
          <p:nvSpPr>
            <p:cNvPr id="187437" name="Oval 119"/>
            <p:cNvSpPr>
              <a:spLocks noChangeArrowheads="1"/>
            </p:cNvSpPr>
            <p:nvPr/>
          </p:nvSpPr>
          <p:spPr bwMode="auto">
            <a:xfrm>
              <a:off x="4011" y="61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b="1" smtClean="0">
                <a:solidFill>
                  <a:srgbClr val="000000"/>
                </a:solidFill>
                <a:latin typeface="Times New Roman" pitchFamily="18" charset="0"/>
                <a:cs typeface="Arial"/>
              </a:endParaRPr>
            </a:p>
          </p:txBody>
        </p:sp>
      </p:grpSp>
      <p:sp>
        <p:nvSpPr>
          <p:cNvPr id="187434" name="Text Box 120"/>
          <p:cNvSpPr txBox="1">
            <a:spLocks noChangeArrowheads="1"/>
          </p:cNvSpPr>
          <p:nvPr/>
        </p:nvSpPr>
        <p:spPr bwMode="auto">
          <a:xfrm>
            <a:off x="1" y="6604169"/>
            <a:ext cx="3455218" cy="253879"/>
          </a:xfrm>
          <a:prstGeom prst="rect">
            <a:avLst/>
          </a:prstGeom>
          <a:noFill/>
          <a:ln w="9525">
            <a:noFill/>
            <a:miter lim="800000"/>
            <a:headEnd/>
            <a:tailEnd/>
          </a:ln>
        </p:spPr>
        <p:txBody>
          <a:bodyPr wrap="none" lIns="91404" tIns="45702" rIns="91404" bIns="45702">
            <a:spAutoFit/>
          </a:bodyPr>
          <a:lstStyle/>
          <a:p>
            <a:pPr eaLnBrk="0" hangingPunct="0"/>
            <a:r>
              <a:rPr lang="it-IT" sz="1050" dirty="0" smtClean="0">
                <a:latin typeface="Arial" pitchFamily="34" charset="0"/>
                <a:cs typeface="Arial" pitchFamily="34" charset="0"/>
              </a:rPr>
              <a:t>Bertoldo F, Santini D .</a:t>
            </a:r>
            <a:r>
              <a:rPr lang="it-IT" sz="1050" dirty="0" err="1" smtClean="0">
                <a:latin typeface="Arial" pitchFamily="34" charset="0"/>
                <a:cs typeface="Arial" pitchFamily="34" charset="0"/>
              </a:rPr>
              <a:t>Textbook</a:t>
            </a:r>
            <a:r>
              <a:rPr lang="it-IT" sz="1050" dirty="0" smtClean="0">
                <a:latin typeface="Arial" pitchFamily="34" charset="0"/>
                <a:cs typeface="Arial" pitchFamily="34" charset="0"/>
              </a:rPr>
              <a:t> </a:t>
            </a:r>
            <a:r>
              <a:rPr lang="it-IT" sz="1050" dirty="0" err="1" smtClean="0">
                <a:latin typeface="Arial" pitchFamily="34" charset="0"/>
                <a:cs typeface="Arial" pitchFamily="34" charset="0"/>
              </a:rPr>
              <a:t>of</a:t>
            </a:r>
            <a:r>
              <a:rPr lang="it-IT" sz="1050" dirty="0" smtClean="0">
                <a:latin typeface="Arial" pitchFamily="34" charset="0"/>
                <a:cs typeface="Arial" pitchFamily="34" charset="0"/>
              </a:rPr>
              <a:t> </a:t>
            </a:r>
            <a:r>
              <a:rPr lang="it-IT" sz="1050" dirty="0" err="1" smtClean="0">
                <a:latin typeface="Arial" pitchFamily="34" charset="0"/>
                <a:cs typeface="Arial" pitchFamily="34" charset="0"/>
              </a:rPr>
              <a:t>Osteoncology</a:t>
            </a:r>
            <a:r>
              <a:rPr lang="it-IT" sz="1050" dirty="0" smtClean="0">
                <a:latin typeface="Arial" pitchFamily="34" charset="0"/>
                <a:cs typeface="Arial" pitchFamily="34" charset="0"/>
              </a:rPr>
              <a:t> 2009</a:t>
            </a:r>
          </a:p>
        </p:txBody>
      </p:sp>
      <p:grpSp>
        <p:nvGrpSpPr>
          <p:cNvPr id="29" name="Group 76"/>
          <p:cNvGrpSpPr>
            <a:grpSpLocks/>
          </p:cNvGrpSpPr>
          <p:nvPr/>
        </p:nvGrpSpPr>
        <p:grpSpPr bwMode="auto">
          <a:xfrm>
            <a:off x="4997451" y="3775170"/>
            <a:ext cx="693738" cy="735013"/>
            <a:chOff x="2786" y="1344"/>
            <a:chExt cx="491" cy="463"/>
          </a:xfrm>
        </p:grpSpPr>
        <p:sp>
          <p:nvSpPr>
            <p:cNvPr id="122" name="Freeform 77"/>
            <p:cNvSpPr>
              <a:spLocks/>
            </p:cNvSpPr>
            <p:nvPr/>
          </p:nvSpPr>
          <p:spPr bwMode="auto">
            <a:xfrm>
              <a:off x="2786" y="134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1">
              <a:gsLst>
                <a:gs pos="0">
                  <a:srgbClr val="0099FF"/>
                </a:gs>
                <a:gs pos="100000">
                  <a:srgbClr val="004776"/>
                </a:gs>
              </a:gsLst>
              <a:path path="rect">
                <a:fillToRect l="50000" t="50000" r="50000" b="50000"/>
              </a:path>
            </a:gradFill>
            <a:ln w="9525">
              <a:solidFill>
                <a:schemeClr val="bg1"/>
              </a:solidFill>
              <a:round/>
              <a:headEnd/>
              <a:tailEnd/>
            </a:ln>
          </p:spPr>
          <p:txBody>
            <a:bodyPr wrap="none" anchor="ctr"/>
            <a:lstStyle/>
            <a:p>
              <a:endParaRPr lang="it-IT" smtClean="0">
                <a:solidFill>
                  <a:srgbClr val="000000"/>
                </a:solidFill>
                <a:cs typeface="Arial"/>
              </a:endParaRPr>
            </a:p>
          </p:txBody>
        </p:sp>
        <p:sp>
          <p:nvSpPr>
            <p:cNvPr id="123" name="Oval 78"/>
            <p:cNvSpPr>
              <a:spLocks noChangeArrowheads="1"/>
            </p:cNvSpPr>
            <p:nvPr/>
          </p:nvSpPr>
          <p:spPr bwMode="auto">
            <a:xfrm>
              <a:off x="2978" y="148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b="1" smtClean="0">
                <a:solidFill>
                  <a:srgbClr val="000000"/>
                </a:solidFill>
                <a:latin typeface="Times New Roman" pitchFamily="18" charset="0"/>
                <a:cs typeface="Arial"/>
              </a:endParaRPr>
            </a:p>
          </p:txBody>
        </p:sp>
      </p:grpSp>
      <p:grpSp>
        <p:nvGrpSpPr>
          <p:cNvPr id="30" name="Group 94"/>
          <p:cNvGrpSpPr>
            <a:grpSpLocks/>
          </p:cNvGrpSpPr>
          <p:nvPr/>
        </p:nvGrpSpPr>
        <p:grpSpPr bwMode="auto">
          <a:xfrm>
            <a:off x="4122738" y="2924175"/>
            <a:ext cx="1473200" cy="2736850"/>
            <a:chOff x="2922" y="1842"/>
            <a:chExt cx="1044" cy="1724"/>
          </a:xfrm>
        </p:grpSpPr>
        <p:grpSp>
          <p:nvGrpSpPr>
            <p:cNvPr id="31" name="Group 95"/>
            <p:cNvGrpSpPr>
              <a:grpSpLocks/>
            </p:cNvGrpSpPr>
            <p:nvPr/>
          </p:nvGrpSpPr>
          <p:grpSpPr bwMode="auto">
            <a:xfrm>
              <a:off x="2922" y="1842"/>
              <a:ext cx="691" cy="1724"/>
              <a:chOff x="2922" y="1842"/>
              <a:chExt cx="691" cy="1724"/>
            </a:xfrm>
          </p:grpSpPr>
          <p:sp>
            <p:nvSpPr>
              <p:cNvPr id="118" name="Text Box 96"/>
              <p:cNvSpPr txBox="1">
                <a:spLocks noChangeArrowheads="1"/>
              </p:cNvSpPr>
              <p:nvPr/>
            </p:nvSpPr>
            <p:spPr bwMode="auto">
              <a:xfrm>
                <a:off x="2968" y="2189"/>
                <a:ext cx="645" cy="834"/>
              </a:xfrm>
              <a:prstGeom prst="rect">
                <a:avLst/>
              </a:prstGeom>
              <a:noFill/>
              <a:ln w="9525">
                <a:noFill/>
                <a:miter lim="800000"/>
                <a:headEnd/>
                <a:tailEnd/>
              </a:ln>
            </p:spPr>
            <p:txBody>
              <a:bodyPr wrap="none" lIns="91404" tIns="45702" rIns="91404" bIns="45702">
                <a:spAutoFit/>
              </a:bodyPr>
              <a:lstStyle/>
              <a:p>
                <a:pPr eaLnBrk="0" hangingPunct="0"/>
                <a:r>
                  <a:rPr lang="it-IT" sz="2000" b="1" dirty="0" err="1" smtClean="0">
                    <a:solidFill>
                      <a:srgbClr val="000000"/>
                    </a:solidFill>
                    <a:latin typeface="Arial" pitchFamily="34" charset="0"/>
                    <a:cs typeface="Arial"/>
                  </a:rPr>
                  <a:t>TGFb</a:t>
                </a:r>
                <a:endParaRPr lang="it-IT" sz="2000" b="1" dirty="0" smtClean="0">
                  <a:solidFill>
                    <a:srgbClr val="000000"/>
                  </a:solidFill>
                  <a:latin typeface="Arial" pitchFamily="34" charset="0"/>
                  <a:cs typeface="Arial"/>
                </a:endParaRPr>
              </a:p>
              <a:p>
                <a:pPr eaLnBrk="0" hangingPunct="0"/>
                <a:r>
                  <a:rPr lang="it-IT" sz="2000" b="1" dirty="0" err="1" smtClean="0">
                    <a:solidFill>
                      <a:srgbClr val="000000"/>
                    </a:solidFill>
                    <a:latin typeface="Arial" pitchFamily="34" charset="0"/>
                    <a:cs typeface="Arial"/>
                  </a:rPr>
                  <a:t>BMPs</a:t>
                </a:r>
                <a:endParaRPr lang="it-IT" sz="2000" b="1" dirty="0" smtClean="0">
                  <a:solidFill>
                    <a:srgbClr val="000000"/>
                  </a:solidFill>
                  <a:latin typeface="Arial" pitchFamily="34" charset="0"/>
                  <a:cs typeface="Arial"/>
                </a:endParaRPr>
              </a:p>
              <a:p>
                <a:pPr eaLnBrk="0" hangingPunct="0"/>
                <a:r>
                  <a:rPr lang="it-IT" sz="2000" b="1" dirty="0" smtClean="0">
                    <a:solidFill>
                      <a:srgbClr val="000000"/>
                    </a:solidFill>
                    <a:latin typeface="Arial" pitchFamily="34" charset="0"/>
                    <a:cs typeface="Arial"/>
                  </a:rPr>
                  <a:t>OPN</a:t>
                </a:r>
              </a:p>
              <a:p>
                <a:pPr eaLnBrk="0" hangingPunct="0"/>
                <a:r>
                  <a:rPr lang="it-IT" sz="2000" b="1" dirty="0" smtClean="0">
                    <a:solidFill>
                      <a:srgbClr val="000000"/>
                    </a:solidFill>
                    <a:latin typeface="Arial" pitchFamily="34" charset="0"/>
                    <a:cs typeface="Arial"/>
                  </a:rPr>
                  <a:t>BSP</a:t>
                </a:r>
              </a:p>
            </p:txBody>
          </p:sp>
          <p:sp>
            <p:nvSpPr>
              <p:cNvPr id="119" name="Freeform 97"/>
              <p:cNvSpPr>
                <a:spLocks/>
              </p:cNvSpPr>
              <p:nvPr/>
            </p:nvSpPr>
            <p:spPr bwMode="auto">
              <a:xfrm rot="2013765">
                <a:off x="2922" y="3067"/>
                <a:ext cx="272" cy="499"/>
              </a:xfrm>
              <a:custGeom>
                <a:avLst/>
                <a:gdLst>
                  <a:gd name="T0" fmla="*/ 272 w 272"/>
                  <a:gd name="T1" fmla="*/ 499 h 499"/>
                  <a:gd name="T2" fmla="*/ 0 w 272"/>
                  <a:gd name="T3" fmla="*/ 0 h 499"/>
                  <a:gd name="T4" fmla="*/ 0 60000 65536"/>
                  <a:gd name="T5" fmla="*/ 0 60000 65536"/>
                  <a:gd name="T6" fmla="*/ 0 w 272"/>
                  <a:gd name="T7" fmla="*/ 0 h 499"/>
                  <a:gd name="T8" fmla="*/ 272 w 272"/>
                  <a:gd name="T9" fmla="*/ 499 h 499"/>
                </a:gdLst>
                <a:ahLst/>
                <a:cxnLst>
                  <a:cxn ang="T4">
                    <a:pos x="T0" y="T1"/>
                  </a:cxn>
                  <a:cxn ang="T5">
                    <a:pos x="T2" y="T3"/>
                  </a:cxn>
                </a:cxnLst>
                <a:rect l="T6" t="T7" r="T8" b="T9"/>
                <a:pathLst>
                  <a:path w="272" h="499">
                    <a:moveTo>
                      <a:pt x="272" y="499"/>
                    </a:moveTo>
                    <a:cubicBezTo>
                      <a:pt x="158" y="291"/>
                      <a:pt x="45" y="83"/>
                      <a:pt x="0" y="0"/>
                    </a:cubicBezTo>
                  </a:path>
                </a:pathLst>
              </a:custGeom>
              <a:noFill/>
              <a:ln w="19050">
                <a:solidFill>
                  <a:schemeClr val="tx1"/>
                </a:solidFill>
                <a:round/>
                <a:headEnd/>
                <a:tailEnd type="arrow" w="med" len="med"/>
              </a:ln>
            </p:spPr>
            <p:txBody>
              <a:bodyPr/>
              <a:lstStyle/>
              <a:p>
                <a:endParaRPr lang="it-IT" sz="1200" b="1" smtClean="0">
                  <a:solidFill>
                    <a:srgbClr val="000000"/>
                  </a:solidFill>
                  <a:latin typeface="Times New Roman" pitchFamily="18" charset="0"/>
                  <a:cs typeface="Arial"/>
                </a:endParaRPr>
              </a:p>
            </p:txBody>
          </p:sp>
          <p:sp>
            <p:nvSpPr>
              <p:cNvPr id="120" name="Line 98"/>
              <p:cNvSpPr>
                <a:spLocks noChangeShapeType="1"/>
              </p:cNvSpPr>
              <p:nvPr/>
            </p:nvSpPr>
            <p:spPr bwMode="auto">
              <a:xfrm flipH="1" flipV="1">
                <a:off x="3104" y="1842"/>
                <a:ext cx="45" cy="363"/>
              </a:xfrm>
              <a:prstGeom prst="line">
                <a:avLst/>
              </a:prstGeom>
              <a:noFill/>
              <a:ln w="19050">
                <a:solidFill>
                  <a:schemeClr val="tx1"/>
                </a:solidFill>
                <a:round/>
                <a:headEnd/>
                <a:tailEnd type="triangle" w="med" len="med"/>
              </a:ln>
            </p:spPr>
            <p:txBody>
              <a:bodyPr/>
              <a:lstStyle/>
              <a:p>
                <a:endParaRPr lang="it-IT" sz="1200" b="1" smtClean="0">
                  <a:solidFill>
                    <a:srgbClr val="000000"/>
                  </a:solidFill>
                  <a:latin typeface="Times New Roman" pitchFamily="18" charset="0"/>
                  <a:cs typeface="Arial"/>
                </a:endParaRPr>
              </a:p>
            </p:txBody>
          </p:sp>
        </p:grpSp>
        <p:sp>
          <p:nvSpPr>
            <p:cNvPr id="117" name="Freeform 99"/>
            <p:cNvSpPr>
              <a:spLocks/>
            </p:cNvSpPr>
            <p:nvPr/>
          </p:nvSpPr>
          <p:spPr bwMode="auto">
            <a:xfrm>
              <a:off x="3467" y="2651"/>
              <a:ext cx="499" cy="99"/>
            </a:xfrm>
            <a:custGeom>
              <a:avLst/>
              <a:gdLst>
                <a:gd name="T0" fmla="*/ 0 w 499"/>
                <a:gd name="T1" fmla="*/ 53 h 99"/>
                <a:gd name="T2" fmla="*/ 317 w 499"/>
                <a:gd name="T3" fmla="*/ 8 h 99"/>
                <a:gd name="T4" fmla="*/ 499 w 499"/>
                <a:gd name="T5" fmla="*/ 99 h 99"/>
                <a:gd name="T6" fmla="*/ 0 60000 65536"/>
                <a:gd name="T7" fmla="*/ 0 60000 65536"/>
                <a:gd name="T8" fmla="*/ 0 60000 65536"/>
                <a:gd name="T9" fmla="*/ 0 w 499"/>
                <a:gd name="T10" fmla="*/ 0 h 99"/>
                <a:gd name="T11" fmla="*/ 499 w 499"/>
                <a:gd name="T12" fmla="*/ 99 h 99"/>
              </a:gdLst>
              <a:ahLst/>
              <a:cxnLst>
                <a:cxn ang="T6">
                  <a:pos x="T0" y="T1"/>
                </a:cxn>
                <a:cxn ang="T7">
                  <a:pos x="T2" y="T3"/>
                </a:cxn>
                <a:cxn ang="T8">
                  <a:pos x="T4" y="T5"/>
                </a:cxn>
              </a:cxnLst>
              <a:rect l="T9" t="T10" r="T11" b="T12"/>
              <a:pathLst>
                <a:path w="499" h="99">
                  <a:moveTo>
                    <a:pt x="0" y="53"/>
                  </a:moveTo>
                  <a:cubicBezTo>
                    <a:pt x="117" y="26"/>
                    <a:pt x="234" y="0"/>
                    <a:pt x="317" y="8"/>
                  </a:cubicBezTo>
                  <a:cubicBezTo>
                    <a:pt x="400" y="16"/>
                    <a:pt x="449" y="57"/>
                    <a:pt x="499" y="99"/>
                  </a:cubicBezTo>
                </a:path>
              </a:pathLst>
            </a:custGeom>
            <a:noFill/>
            <a:ln w="19050">
              <a:solidFill>
                <a:schemeClr val="tx1"/>
              </a:solidFill>
              <a:round/>
              <a:headEnd/>
              <a:tailEnd type="arrow" w="med" len="med"/>
            </a:ln>
          </p:spPr>
          <p:txBody>
            <a:bodyPr/>
            <a:lstStyle/>
            <a:p>
              <a:endParaRPr lang="it-IT" sz="1200" b="1" smtClean="0">
                <a:solidFill>
                  <a:srgbClr val="000000"/>
                </a:solidFill>
                <a:latin typeface="Times New Roman" pitchFamily="18" charset="0"/>
                <a:cs typeface="Arial"/>
              </a:endParaRP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20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20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20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20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20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20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2000"/>
                                        <p:tgtEl>
                                          <p:spTgt spid="2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9"/>
                                        </p:tgtEl>
                                        <p:attrNameLst>
                                          <p:attrName>style.visibility</p:attrName>
                                        </p:attrNameLst>
                                      </p:cBhvr>
                                      <p:to>
                                        <p:strVal val="visible"/>
                                      </p:to>
                                    </p:set>
                                    <p:animEffect transition="in" filter="fade">
                                      <p:cBhvr>
                                        <p:cTn id="42" dur="2000"/>
                                        <p:tgtEl>
                                          <p:spTgt spid="2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2000"/>
                                        <p:tgtEl>
                                          <p:spTgt spid="3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0"/>
                                        </p:tgtEl>
                                        <p:attrNameLst>
                                          <p:attrName>style.visibility</p:attrName>
                                        </p:attrNameLst>
                                      </p:cBhvr>
                                      <p:to>
                                        <p:strVal val="visible"/>
                                      </p:to>
                                    </p:set>
                                    <p:animEffect transition="in" filter="fade">
                                      <p:cBhvr>
                                        <p:cTn id="52" dur="2000"/>
                                        <p:tgtEl>
                                          <p:spTgt spid="30"/>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0"/>
                                        </p:tgtEl>
                                        <p:attrNameLst>
                                          <p:attrName>style.visibility</p:attrName>
                                        </p:attrNameLst>
                                      </p:cBhvr>
                                      <p:to>
                                        <p:strVal val="visible"/>
                                      </p:to>
                                    </p:set>
                                    <p:animEffect transition="in" filter="fade">
                                      <p:cBhvr>
                                        <p:cTn id="57" dur="2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3234" name="Rectangle 2"/>
          <p:cNvSpPr>
            <a:spLocks noChangeArrowheads="1"/>
          </p:cNvSpPr>
          <p:nvPr/>
        </p:nvSpPr>
        <p:spPr bwMode="auto">
          <a:xfrm>
            <a:off x="347663" y="5157788"/>
            <a:ext cx="8383587" cy="1295400"/>
          </a:xfrm>
          <a:prstGeom prst="rect">
            <a:avLst/>
          </a:prstGeom>
          <a:solidFill>
            <a:srgbClr val="DDDDDD"/>
          </a:solidFill>
          <a:ln w="9525">
            <a:solidFill>
              <a:schemeClr val="tx1"/>
            </a:solidFill>
            <a:miter lim="800000"/>
            <a:headEnd/>
            <a:tailEnd/>
          </a:ln>
        </p:spPr>
        <p:txBody>
          <a:bodyPr wrap="none" lIns="91404" tIns="45702" rIns="91404" bIns="45702" anchor="ctr"/>
          <a:lstStyle/>
          <a:p>
            <a:pPr algn="ctr" eaLnBrk="0" fontAlgn="base" hangingPunct="0">
              <a:spcBef>
                <a:spcPct val="0"/>
              </a:spcBef>
              <a:spcAft>
                <a:spcPct val="0"/>
              </a:spcAft>
            </a:pPr>
            <a:endParaRPr lang="it-IT" sz="2400">
              <a:solidFill>
                <a:srgbClr val="FFFFFF"/>
              </a:solidFill>
              <a:latin typeface="Garamond" pitchFamily="18" charset="0"/>
              <a:ea typeface="ＭＳ Ｐゴシック" pitchFamily="34" charset="-128"/>
            </a:endParaRPr>
          </a:p>
        </p:txBody>
      </p:sp>
      <p:sp>
        <p:nvSpPr>
          <p:cNvPr id="863235" name="Text Box 3"/>
          <p:cNvSpPr txBox="1">
            <a:spLocks noChangeArrowheads="1"/>
          </p:cNvSpPr>
          <p:nvPr/>
        </p:nvSpPr>
        <p:spPr bwMode="auto">
          <a:xfrm>
            <a:off x="649288" y="5992813"/>
            <a:ext cx="519112" cy="338137"/>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i="1">
                <a:solidFill>
                  <a:srgbClr val="000000"/>
                </a:solidFill>
                <a:latin typeface="Garamond" pitchFamily="18" charset="0"/>
                <a:ea typeface="ＭＳ Ｐゴシック" pitchFamily="34" charset="-128"/>
              </a:rPr>
              <a:t>Bone</a:t>
            </a:r>
          </a:p>
        </p:txBody>
      </p:sp>
      <p:sp>
        <p:nvSpPr>
          <p:cNvPr id="863236" name="Freeform 4"/>
          <p:cNvSpPr>
            <a:spLocks/>
          </p:cNvSpPr>
          <p:nvPr/>
        </p:nvSpPr>
        <p:spPr bwMode="auto">
          <a:xfrm>
            <a:off x="2724150" y="4410075"/>
            <a:ext cx="3294063" cy="1462088"/>
          </a:xfrm>
          <a:custGeom>
            <a:avLst/>
            <a:gdLst>
              <a:gd name="T0" fmla="*/ 0 w 2335"/>
              <a:gd name="T1" fmla="*/ 2147483647 h 921"/>
              <a:gd name="T2" fmla="*/ 2147483647 w 2335"/>
              <a:gd name="T3" fmla="*/ 2147483647 h 921"/>
              <a:gd name="T4" fmla="*/ 2147483647 w 2335"/>
              <a:gd name="T5" fmla="*/ 2147483647 h 921"/>
              <a:gd name="T6" fmla="*/ 2147483647 w 2335"/>
              <a:gd name="T7" fmla="*/ 2147483647 h 921"/>
              <a:gd name="T8" fmla="*/ 2147483647 w 2335"/>
              <a:gd name="T9" fmla="*/ 2147483647 h 921"/>
              <a:gd name="T10" fmla="*/ 2147483647 w 2335"/>
              <a:gd name="T11" fmla="*/ 2147483647 h 921"/>
              <a:gd name="T12" fmla="*/ 2147483647 w 2335"/>
              <a:gd name="T13" fmla="*/ 2147483647 h 921"/>
              <a:gd name="T14" fmla="*/ 2147483647 w 2335"/>
              <a:gd name="T15" fmla="*/ 2147483647 h 921"/>
              <a:gd name="T16" fmla="*/ 2147483647 w 2335"/>
              <a:gd name="T17" fmla="*/ 2147483647 h 921"/>
              <a:gd name="T18" fmla="*/ 2147483647 w 2335"/>
              <a:gd name="T19" fmla="*/ 2147483647 h 921"/>
              <a:gd name="T20" fmla="*/ 2147483647 w 2335"/>
              <a:gd name="T21" fmla="*/ 2147483647 h 921"/>
              <a:gd name="T22" fmla="*/ 2147483647 w 2335"/>
              <a:gd name="T23" fmla="*/ 2147483647 h 921"/>
              <a:gd name="T24" fmla="*/ 2147483647 w 2335"/>
              <a:gd name="T25" fmla="*/ 2147483647 h 921"/>
              <a:gd name="T26" fmla="*/ 2147483647 w 2335"/>
              <a:gd name="T27" fmla="*/ 2147483647 h 921"/>
              <a:gd name="T28" fmla="*/ 2147483647 w 2335"/>
              <a:gd name="T29" fmla="*/ 2147483647 h 921"/>
              <a:gd name="T30" fmla="*/ 2147483647 w 2335"/>
              <a:gd name="T31" fmla="*/ 2147483647 h 921"/>
              <a:gd name="T32" fmla="*/ 2147483647 w 2335"/>
              <a:gd name="T33" fmla="*/ 2147483647 h 921"/>
              <a:gd name="T34" fmla="*/ 0 w 2335"/>
              <a:gd name="T35" fmla="*/ 2147483647 h 9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35"/>
              <a:gd name="T55" fmla="*/ 0 h 921"/>
              <a:gd name="T56" fmla="*/ 2335 w 2335"/>
              <a:gd name="T57" fmla="*/ 921 h 9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35" h="921">
                <a:moveTo>
                  <a:pt x="0" y="476"/>
                </a:moveTo>
                <a:cubicBezTo>
                  <a:pt x="83" y="517"/>
                  <a:pt x="174" y="526"/>
                  <a:pt x="253" y="577"/>
                </a:cubicBezTo>
                <a:cubicBezTo>
                  <a:pt x="273" y="658"/>
                  <a:pt x="253" y="717"/>
                  <a:pt x="344" y="739"/>
                </a:cubicBezTo>
                <a:cubicBezTo>
                  <a:pt x="383" y="765"/>
                  <a:pt x="409" y="770"/>
                  <a:pt x="455" y="779"/>
                </a:cubicBezTo>
                <a:cubicBezTo>
                  <a:pt x="550" y="921"/>
                  <a:pt x="651" y="854"/>
                  <a:pt x="859" y="860"/>
                </a:cubicBezTo>
                <a:cubicBezTo>
                  <a:pt x="1045" y="875"/>
                  <a:pt x="927" y="865"/>
                  <a:pt x="1031" y="900"/>
                </a:cubicBezTo>
                <a:cubicBezTo>
                  <a:pt x="1150" y="894"/>
                  <a:pt x="1286" y="899"/>
                  <a:pt x="1405" y="870"/>
                </a:cubicBezTo>
                <a:cubicBezTo>
                  <a:pt x="1427" y="855"/>
                  <a:pt x="1453" y="845"/>
                  <a:pt x="1475" y="830"/>
                </a:cubicBezTo>
                <a:cubicBezTo>
                  <a:pt x="1483" y="824"/>
                  <a:pt x="1487" y="813"/>
                  <a:pt x="1496" y="809"/>
                </a:cubicBezTo>
                <a:cubicBezTo>
                  <a:pt x="1521" y="799"/>
                  <a:pt x="1667" y="789"/>
                  <a:pt x="1667" y="789"/>
                </a:cubicBezTo>
                <a:cubicBezTo>
                  <a:pt x="1698" y="769"/>
                  <a:pt x="1701" y="773"/>
                  <a:pt x="1718" y="739"/>
                </a:cubicBezTo>
                <a:cubicBezTo>
                  <a:pt x="1723" y="729"/>
                  <a:pt x="1721" y="717"/>
                  <a:pt x="1728" y="708"/>
                </a:cubicBezTo>
                <a:cubicBezTo>
                  <a:pt x="1757" y="671"/>
                  <a:pt x="1827" y="666"/>
                  <a:pt x="1870" y="658"/>
                </a:cubicBezTo>
                <a:cubicBezTo>
                  <a:pt x="1904" y="551"/>
                  <a:pt x="1851" y="707"/>
                  <a:pt x="1900" y="597"/>
                </a:cubicBezTo>
                <a:cubicBezTo>
                  <a:pt x="1909" y="578"/>
                  <a:pt x="1900" y="544"/>
                  <a:pt x="1920" y="537"/>
                </a:cubicBezTo>
                <a:cubicBezTo>
                  <a:pt x="1963" y="521"/>
                  <a:pt x="1940" y="529"/>
                  <a:pt x="1991" y="516"/>
                </a:cubicBezTo>
                <a:cubicBezTo>
                  <a:pt x="2335" y="0"/>
                  <a:pt x="751" y="449"/>
                  <a:pt x="131" y="446"/>
                </a:cubicBezTo>
                <a:cubicBezTo>
                  <a:pt x="18" y="457"/>
                  <a:pt x="58" y="437"/>
                  <a:pt x="0" y="476"/>
                </a:cubicBezTo>
                <a:close/>
              </a:path>
            </a:pathLst>
          </a:custGeom>
          <a:solidFill>
            <a:schemeClr val="bg1"/>
          </a:solidFill>
          <a:ln w="9525">
            <a:no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nvGrpSpPr>
          <p:cNvPr id="2" name="Group 5"/>
          <p:cNvGrpSpPr>
            <a:grpSpLocks/>
          </p:cNvGrpSpPr>
          <p:nvPr/>
        </p:nvGrpSpPr>
        <p:grpSpPr bwMode="auto">
          <a:xfrm>
            <a:off x="3163888" y="5084763"/>
            <a:ext cx="1889125" cy="682625"/>
            <a:chOff x="2242" y="3203"/>
            <a:chExt cx="1339" cy="430"/>
          </a:xfrm>
        </p:grpSpPr>
        <p:grpSp>
          <p:nvGrpSpPr>
            <p:cNvPr id="3" name="Group 6"/>
            <p:cNvGrpSpPr>
              <a:grpSpLocks/>
            </p:cNvGrpSpPr>
            <p:nvPr/>
          </p:nvGrpSpPr>
          <p:grpSpPr bwMode="auto">
            <a:xfrm rot="-1539004">
              <a:off x="3149" y="3249"/>
              <a:ext cx="432" cy="384"/>
              <a:chOff x="868" y="1240"/>
              <a:chExt cx="713" cy="869"/>
            </a:xfrm>
          </p:grpSpPr>
          <p:sp>
            <p:nvSpPr>
              <p:cNvPr id="863350" name="Freeform 7"/>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51" name="Freeform 8"/>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52" name="Freeform 9"/>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53" name="Freeform 10"/>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4" name="Group 11"/>
            <p:cNvGrpSpPr>
              <a:grpSpLocks/>
            </p:cNvGrpSpPr>
            <p:nvPr/>
          </p:nvGrpSpPr>
          <p:grpSpPr bwMode="auto">
            <a:xfrm rot="2120282">
              <a:off x="2242" y="3203"/>
              <a:ext cx="432" cy="384"/>
              <a:chOff x="868" y="1240"/>
              <a:chExt cx="713" cy="869"/>
            </a:xfrm>
          </p:grpSpPr>
          <p:sp>
            <p:nvSpPr>
              <p:cNvPr id="863346" name="Freeform 12"/>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47" name="Freeform 13"/>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48" name="Freeform 14"/>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49" name="Freeform 15"/>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grpSp>
        <p:nvGrpSpPr>
          <p:cNvPr id="5" name="Group 16"/>
          <p:cNvGrpSpPr>
            <a:grpSpLocks/>
          </p:cNvGrpSpPr>
          <p:nvPr/>
        </p:nvGrpSpPr>
        <p:grpSpPr bwMode="auto">
          <a:xfrm rot="-12360">
            <a:off x="2076450" y="4581525"/>
            <a:ext cx="674688" cy="600075"/>
            <a:chOff x="6877" y="4218"/>
            <a:chExt cx="406" cy="378"/>
          </a:xfrm>
        </p:grpSpPr>
        <p:sp>
          <p:nvSpPr>
            <p:cNvPr id="863342" name="Freeform 17"/>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43" name="Oval 18"/>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6" name="Group 19"/>
          <p:cNvGrpSpPr>
            <a:grpSpLocks/>
          </p:cNvGrpSpPr>
          <p:nvPr/>
        </p:nvGrpSpPr>
        <p:grpSpPr bwMode="auto">
          <a:xfrm rot="-12360">
            <a:off x="1563688" y="4581525"/>
            <a:ext cx="676275" cy="600075"/>
            <a:chOff x="6877" y="4218"/>
            <a:chExt cx="406" cy="378"/>
          </a:xfrm>
        </p:grpSpPr>
        <p:sp>
          <p:nvSpPr>
            <p:cNvPr id="863340" name="Freeform 20"/>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41" name="Oval 21"/>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7" name="Group 22"/>
          <p:cNvGrpSpPr>
            <a:grpSpLocks/>
          </p:cNvGrpSpPr>
          <p:nvPr/>
        </p:nvGrpSpPr>
        <p:grpSpPr bwMode="auto">
          <a:xfrm rot="-12360">
            <a:off x="5405438" y="4581525"/>
            <a:ext cx="674687" cy="600075"/>
            <a:chOff x="6877" y="4218"/>
            <a:chExt cx="406" cy="378"/>
          </a:xfrm>
        </p:grpSpPr>
        <p:sp>
          <p:nvSpPr>
            <p:cNvPr id="863338" name="Freeform 23"/>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39" name="Oval 24"/>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8" name="Group 25"/>
          <p:cNvGrpSpPr>
            <a:grpSpLocks/>
          </p:cNvGrpSpPr>
          <p:nvPr/>
        </p:nvGrpSpPr>
        <p:grpSpPr bwMode="auto">
          <a:xfrm rot="-12360">
            <a:off x="5916613" y="4581525"/>
            <a:ext cx="676275" cy="600075"/>
            <a:chOff x="6877" y="4218"/>
            <a:chExt cx="406" cy="378"/>
          </a:xfrm>
        </p:grpSpPr>
        <p:sp>
          <p:nvSpPr>
            <p:cNvPr id="863336" name="Freeform 26"/>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37" name="Oval 27"/>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sp>
        <p:nvSpPr>
          <p:cNvPr id="863242" name="Freeform 28"/>
          <p:cNvSpPr>
            <a:spLocks/>
          </p:cNvSpPr>
          <p:nvPr/>
        </p:nvSpPr>
        <p:spPr bwMode="auto">
          <a:xfrm>
            <a:off x="6556375" y="4930775"/>
            <a:ext cx="1174750" cy="250825"/>
          </a:xfrm>
          <a:custGeom>
            <a:avLst/>
            <a:gdLst>
              <a:gd name="T0" fmla="*/ 0 w 832"/>
              <a:gd name="T1" fmla="*/ 2147483647 h 158"/>
              <a:gd name="T2" fmla="*/ 2147483647 w 832"/>
              <a:gd name="T3" fmla="*/ 2147483647 h 158"/>
              <a:gd name="T4" fmla="*/ 2147483647 w 832"/>
              <a:gd name="T5" fmla="*/ 2147483647 h 158"/>
              <a:gd name="T6" fmla="*/ 2147483647 w 832"/>
              <a:gd name="T7" fmla="*/ 2147483647 h 158"/>
              <a:gd name="T8" fmla="*/ 2147483647 w 832"/>
              <a:gd name="T9" fmla="*/ 2147483647 h 158"/>
              <a:gd name="T10" fmla="*/ 0 60000 65536"/>
              <a:gd name="T11" fmla="*/ 0 60000 65536"/>
              <a:gd name="T12" fmla="*/ 0 60000 65536"/>
              <a:gd name="T13" fmla="*/ 0 60000 65536"/>
              <a:gd name="T14" fmla="*/ 0 60000 65536"/>
              <a:gd name="T15" fmla="*/ 0 w 832"/>
              <a:gd name="T16" fmla="*/ 0 h 158"/>
              <a:gd name="T17" fmla="*/ 832 w 832"/>
              <a:gd name="T18" fmla="*/ 158 h 158"/>
            </a:gdLst>
            <a:ahLst/>
            <a:cxnLst>
              <a:cxn ang="T10">
                <a:pos x="T0" y="T1"/>
              </a:cxn>
              <a:cxn ang="T11">
                <a:pos x="T2" y="T3"/>
              </a:cxn>
              <a:cxn ang="T12">
                <a:pos x="T4" y="T5"/>
              </a:cxn>
              <a:cxn ang="T13">
                <a:pos x="T6" y="T7"/>
              </a:cxn>
              <a:cxn ang="T14">
                <a:pos x="T8" y="T9"/>
              </a:cxn>
            </a:cxnLst>
            <a:rect l="T15" t="T16" r="T17" b="T18"/>
            <a:pathLst>
              <a:path w="832" h="158">
                <a:moveTo>
                  <a:pt x="0" y="97"/>
                </a:moveTo>
                <a:cubicBezTo>
                  <a:pt x="79" y="55"/>
                  <a:pt x="159" y="14"/>
                  <a:pt x="272" y="7"/>
                </a:cubicBezTo>
                <a:cubicBezTo>
                  <a:pt x="385" y="0"/>
                  <a:pt x="605" y="29"/>
                  <a:pt x="681" y="52"/>
                </a:cubicBezTo>
                <a:cubicBezTo>
                  <a:pt x="757" y="75"/>
                  <a:pt x="832" y="128"/>
                  <a:pt x="726" y="143"/>
                </a:cubicBezTo>
                <a:cubicBezTo>
                  <a:pt x="620" y="158"/>
                  <a:pt x="333" y="150"/>
                  <a:pt x="46" y="143"/>
                </a:cubicBezTo>
              </a:path>
            </a:pathLst>
          </a:custGeom>
          <a:gradFill rotWithShape="1">
            <a:gsLst>
              <a:gs pos="0">
                <a:srgbClr val="FF66CC"/>
              </a:gs>
              <a:gs pos="100000">
                <a:srgbClr val="762F5E"/>
              </a:gs>
            </a:gsLst>
            <a:lin ang="5400000" scaled="1"/>
          </a:gra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43" name="Freeform 29"/>
          <p:cNvSpPr>
            <a:spLocks/>
          </p:cNvSpPr>
          <p:nvPr/>
        </p:nvSpPr>
        <p:spPr bwMode="auto">
          <a:xfrm>
            <a:off x="7643813" y="4941888"/>
            <a:ext cx="1174750" cy="250825"/>
          </a:xfrm>
          <a:custGeom>
            <a:avLst/>
            <a:gdLst>
              <a:gd name="T0" fmla="*/ 0 w 832"/>
              <a:gd name="T1" fmla="*/ 2147483647 h 158"/>
              <a:gd name="T2" fmla="*/ 2147483647 w 832"/>
              <a:gd name="T3" fmla="*/ 2147483647 h 158"/>
              <a:gd name="T4" fmla="*/ 2147483647 w 832"/>
              <a:gd name="T5" fmla="*/ 2147483647 h 158"/>
              <a:gd name="T6" fmla="*/ 2147483647 w 832"/>
              <a:gd name="T7" fmla="*/ 2147483647 h 158"/>
              <a:gd name="T8" fmla="*/ 2147483647 w 832"/>
              <a:gd name="T9" fmla="*/ 2147483647 h 158"/>
              <a:gd name="T10" fmla="*/ 0 60000 65536"/>
              <a:gd name="T11" fmla="*/ 0 60000 65536"/>
              <a:gd name="T12" fmla="*/ 0 60000 65536"/>
              <a:gd name="T13" fmla="*/ 0 60000 65536"/>
              <a:gd name="T14" fmla="*/ 0 60000 65536"/>
              <a:gd name="T15" fmla="*/ 0 w 832"/>
              <a:gd name="T16" fmla="*/ 0 h 158"/>
              <a:gd name="T17" fmla="*/ 832 w 832"/>
              <a:gd name="T18" fmla="*/ 158 h 158"/>
            </a:gdLst>
            <a:ahLst/>
            <a:cxnLst>
              <a:cxn ang="T10">
                <a:pos x="T0" y="T1"/>
              </a:cxn>
              <a:cxn ang="T11">
                <a:pos x="T2" y="T3"/>
              </a:cxn>
              <a:cxn ang="T12">
                <a:pos x="T4" y="T5"/>
              </a:cxn>
              <a:cxn ang="T13">
                <a:pos x="T6" y="T7"/>
              </a:cxn>
              <a:cxn ang="T14">
                <a:pos x="T8" y="T9"/>
              </a:cxn>
            </a:cxnLst>
            <a:rect l="T15" t="T16" r="T17" b="T18"/>
            <a:pathLst>
              <a:path w="832" h="158">
                <a:moveTo>
                  <a:pt x="0" y="97"/>
                </a:moveTo>
                <a:cubicBezTo>
                  <a:pt x="79" y="55"/>
                  <a:pt x="159" y="14"/>
                  <a:pt x="272" y="7"/>
                </a:cubicBezTo>
                <a:cubicBezTo>
                  <a:pt x="385" y="0"/>
                  <a:pt x="605" y="29"/>
                  <a:pt x="681" y="52"/>
                </a:cubicBezTo>
                <a:cubicBezTo>
                  <a:pt x="757" y="75"/>
                  <a:pt x="832" y="128"/>
                  <a:pt x="726" y="143"/>
                </a:cubicBezTo>
                <a:cubicBezTo>
                  <a:pt x="620" y="158"/>
                  <a:pt x="333" y="150"/>
                  <a:pt x="46" y="143"/>
                </a:cubicBezTo>
              </a:path>
            </a:pathLst>
          </a:custGeom>
          <a:gradFill rotWithShape="1">
            <a:gsLst>
              <a:gs pos="0">
                <a:srgbClr val="FF66CC"/>
              </a:gs>
              <a:gs pos="100000">
                <a:srgbClr val="762F5E"/>
              </a:gs>
            </a:gsLst>
            <a:lin ang="5400000" scaled="1"/>
          </a:gra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44" name="Freeform 30"/>
          <p:cNvSpPr>
            <a:spLocks/>
          </p:cNvSpPr>
          <p:nvPr/>
        </p:nvSpPr>
        <p:spPr bwMode="auto">
          <a:xfrm>
            <a:off x="603250" y="4941888"/>
            <a:ext cx="1174750" cy="250825"/>
          </a:xfrm>
          <a:custGeom>
            <a:avLst/>
            <a:gdLst>
              <a:gd name="T0" fmla="*/ 0 w 832"/>
              <a:gd name="T1" fmla="*/ 2147483647 h 158"/>
              <a:gd name="T2" fmla="*/ 2147483647 w 832"/>
              <a:gd name="T3" fmla="*/ 2147483647 h 158"/>
              <a:gd name="T4" fmla="*/ 2147483647 w 832"/>
              <a:gd name="T5" fmla="*/ 2147483647 h 158"/>
              <a:gd name="T6" fmla="*/ 2147483647 w 832"/>
              <a:gd name="T7" fmla="*/ 2147483647 h 158"/>
              <a:gd name="T8" fmla="*/ 2147483647 w 832"/>
              <a:gd name="T9" fmla="*/ 2147483647 h 158"/>
              <a:gd name="T10" fmla="*/ 0 60000 65536"/>
              <a:gd name="T11" fmla="*/ 0 60000 65536"/>
              <a:gd name="T12" fmla="*/ 0 60000 65536"/>
              <a:gd name="T13" fmla="*/ 0 60000 65536"/>
              <a:gd name="T14" fmla="*/ 0 60000 65536"/>
              <a:gd name="T15" fmla="*/ 0 w 832"/>
              <a:gd name="T16" fmla="*/ 0 h 158"/>
              <a:gd name="T17" fmla="*/ 832 w 832"/>
              <a:gd name="T18" fmla="*/ 158 h 158"/>
            </a:gdLst>
            <a:ahLst/>
            <a:cxnLst>
              <a:cxn ang="T10">
                <a:pos x="T0" y="T1"/>
              </a:cxn>
              <a:cxn ang="T11">
                <a:pos x="T2" y="T3"/>
              </a:cxn>
              <a:cxn ang="T12">
                <a:pos x="T4" y="T5"/>
              </a:cxn>
              <a:cxn ang="T13">
                <a:pos x="T6" y="T7"/>
              </a:cxn>
              <a:cxn ang="T14">
                <a:pos x="T8" y="T9"/>
              </a:cxn>
            </a:cxnLst>
            <a:rect l="T15" t="T16" r="T17" b="T18"/>
            <a:pathLst>
              <a:path w="832" h="158">
                <a:moveTo>
                  <a:pt x="0" y="97"/>
                </a:moveTo>
                <a:cubicBezTo>
                  <a:pt x="79" y="55"/>
                  <a:pt x="159" y="14"/>
                  <a:pt x="272" y="7"/>
                </a:cubicBezTo>
                <a:cubicBezTo>
                  <a:pt x="385" y="0"/>
                  <a:pt x="605" y="29"/>
                  <a:pt x="681" y="52"/>
                </a:cubicBezTo>
                <a:cubicBezTo>
                  <a:pt x="757" y="75"/>
                  <a:pt x="832" y="128"/>
                  <a:pt x="726" y="143"/>
                </a:cubicBezTo>
                <a:cubicBezTo>
                  <a:pt x="620" y="158"/>
                  <a:pt x="333" y="150"/>
                  <a:pt x="46" y="143"/>
                </a:cubicBezTo>
              </a:path>
            </a:pathLst>
          </a:custGeom>
          <a:gradFill rotWithShape="1">
            <a:gsLst>
              <a:gs pos="0">
                <a:srgbClr val="FF66CC"/>
              </a:gs>
              <a:gs pos="100000">
                <a:srgbClr val="762F5E"/>
              </a:gs>
            </a:gsLst>
            <a:lin ang="5400000" scaled="1"/>
          </a:gra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45" name="Oval 31"/>
          <p:cNvSpPr>
            <a:spLocks noChangeArrowheads="1"/>
          </p:cNvSpPr>
          <p:nvPr/>
        </p:nvSpPr>
        <p:spPr bwMode="auto">
          <a:xfrm>
            <a:off x="1050925" y="5084763"/>
            <a:ext cx="128588" cy="73025"/>
          </a:xfrm>
          <a:prstGeom prst="ellipse">
            <a:avLst/>
          </a:prstGeom>
          <a:solidFill>
            <a:srgbClr val="CC9900"/>
          </a:solidFill>
          <a:ln w="9525">
            <a:solidFill>
              <a:schemeClr val="tx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46" name="Oval 32"/>
          <p:cNvSpPr>
            <a:spLocks noChangeArrowheads="1"/>
          </p:cNvSpPr>
          <p:nvPr/>
        </p:nvSpPr>
        <p:spPr bwMode="auto">
          <a:xfrm>
            <a:off x="7131050" y="5011738"/>
            <a:ext cx="128588" cy="73025"/>
          </a:xfrm>
          <a:prstGeom prst="ellipse">
            <a:avLst/>
          </a:prstGeom>
          <a:solidFill>
            <a:srgbClr val="CC9900"/>
          </a:solidFill>
          <a:ln w="9525">
            <a:solidFill>
              <a:schemeClr val="tx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47" name="Oval 33"/>
          <p:cNvSpPr>
            <a:spLocks noChangeArrowheads="1"/>
          </p:cNvSpPr>
          <p:nvPr/>
        </p:nvSpPr>
        <p:spPr bwMode="auto">
          <a:xfrm>
            <a:off x="8027988" y="5013325"/>
            <a:ext cx="128587" cy="73025"/>
          </a:xfrm>
          <a:prstGeom prst="ellipse">
            <a:avLst/>
          </a:prstGeom>
          <a:solidFill>
            <a:srgbClr val="CC9900"/>
          </a:solidFill>
          <a:ln w="9525">
            <a:solidFill>
              <a:schemeClr val="tx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48" name="Text Box 34"/>
          <p:cNvSpPr txBox="1">
            <a:spLocks noChangeArrowheads="1"/>
          </p:cNvSpPr>
          <p:nvPr/>
        </p:nvSpPr>
        <p:spPr bwMode="auto">
          <a:xfrm>
            <a:off x="8156575" y="4529138"/>
            <a:ext cx="906463" cy="338137"/>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i="1">
                <a:solidFill>
                  <a:srgbClr val="000000"/>
                </a:solidFill>
                <a:latin typeface="Garamond" pitchFamily="18" charset="0"/>
                <a:ea typeface="ＭＳ Ｐゴシック" pitchFamily="34" charset="-128"/>
              </a:rPr>
              <a:t>Lining cell</a:t>
            </a:r>
          </a:p>
        </p:txBody>
      </p:sp>
      <p:sp>
        <p:nvSpPr>
          <p:cNvPr id="863249" name="Text Box 35"/>
          <p:cNvSpPr txBox="1">
            <a:spLocks noChangeArrowheads="1"/>
          </p:cNvSpPr>
          <p:nvPr/>
        </p:nvSpPr>
        <p:spPr bwMode="auto">
          <a:xfrm>
            <a:off x="6364288" y="4173538"/>
            <a:ext cx="1527175" cy="338137"/>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i="1">
                <a:solidFill>
                  <a:srgbClr val="000000"/>
                </a:solidFill>
                <a:latin typeface="Garamond" pitchFamily="18" charset="0"/>
                <a:ea typeface="ＭＳ Ｐゴシック" pitchFamily="34" charset="-128"/>
              </a:rPr>
              <a:t>Activated osteoblast</a:t>
            </a:r>
          </a:p>
        </p:txBody>
      </p:sp>
      <p:sp>
        <p:nvSpPr>
          <p:cNvPr id="863250" name="Text Box 36"/>
          <p:cNvSpPr txBox="1">
            <a:spLocks noChangeArrowheads="1"/>
          </p:cNvSpPr>
          <p:nvPr/>
        </p:nvSpPr>
        <p:spPr bwMode="auto">
          <a:xfrm>
            <a:off x="4810125" y="5632450"/>
            <a:ext cx="854075" cy="338138"/>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i="1">
                <a:solidFill>
                  <a:srgbClr val="000000"/>
                </a:solidFill>
                <a:latin typeface="Garamond" pitchFamily="18" charset="0"/>
                <a:ea typeface="ＭＳ Ｐゴシック" pitchFamily="34" charset="-128"/>
              </a:rPr>
              <a:t>Osteoclas</a:t>
            </a:r>
            <a:r>
              <a:rPr lang="it-IT" sz="1400" i="1">
                <a:solidFill>
                  <a:srgbClr val="000000"/>
                </a:solidFill>
                <a:latin typeface="Garamond" pitchFamily="18" charset="0"/>
                <a:ea typeface="ＭＳ Ｐゴシック" pitchFamily="34" charset="-128"/>
              </a:rPr>
              <a:t>t</a:t>
            </a:r>
          </a:p>
        </p:txBody>
      </p:sp>
      <p:sp>
        <p:nvSpPr>
          <p:cNvPr id="863251" name="Rectangle 37"/>
          <p:cNvSpPr>
            <a:spLocks noChangeArrowheads="1"/>
          </p:cNvSpPr>
          <p:nvPr/>
        </p:nvSpPr>
        <p:spPr bwMode="auto">
          <a:xfrm rot="5400000">
            <a:off x="3413125" y="-1252537"/>
            <a:ext cx="1422400" cy="4737100"/>
          </a:xfrm>
          <a:prstGeom prst="rect">
            <a:avLst/>
          </a:prstGeom>
          <a:solidFill>
            <a:srgbClr val="FFCCFF"/>
          </a:solidFill>
          <a:ln w="9525">
            <a:noFill/>
            <a:miter lim="800000"/>
            <a:headEnd/>
            <a:tailEnd/>
          </a:ln>
        </p:spPr>
        <p:txBody>
          <a:bodyPr wrap="none" lIns="91404" tIns="45702" rIns="91404" bIns="45702" anchor="ctr"/>
          <a:lstStyle/>
          <a:p>
            <a:pPr algn="ctr" eaLnBrk="0" fontAlgn="base" hangingPunct="0">
              <a:spcBef>
                <a:spcPct val="0"/>
              </a:spcBef>
              <a:spcAft>
                <a:spcPct val="0"/>
              </a:spcAft>
            </a:pPr>
            <a:endParaRPr lang="it-IT" sz="2400" dirty="0">
              <a:solidFill>
                <a:srgbClr val="FFFFFF"/>
              </a:solidFill>
              <a:latin typeface="Garamond" pitchFamily="18" charset="0"/>
              <a:ea typeface="ＭＳ Ｐゴシック" pitchFamily="34" charset="-128"/>
            </a:endParaRPr>
          </a:p>
        </p:txBody>
      </p:sp>
      <p:grpSp>
        <p:nvGrpSpPr>
          <p:cNvPr id="9" name="Group 38"/>
          <p:cNvGrpSpPr>
            <a:grpSpLocks/>
          </p:cNvGrpSpPr>
          <p:nvPr/>
        </p:nvGrpSpPr>
        <p:grpSpPr bwMode="auto">
          <a:xfrm rot="5859817">
            <a:off x="4647407" y="1151731"/>
            <a:ext cx="304800" cy="1255713"/>
            <a:chOff x="2000" y="2855"/>
            <a:chExt cx="236" cy="929"/>
          </a:xfrm>
          <a:solidFill>
            <a:schemeClr val="bg2">
              <a:lumMod val="20000"/>
              <a:lumOff val="80000"/>
            </a:schemeClr>
          </a:solidFill>
        </p:grpSpPr>
        <p:sp>
          <p:nvSpPr>
            <p:cNvPr id="863334" name="Freeform 39"/>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35" name="Freeform 40"/>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0" name="Group 41"/>
          <p:cNvGrpSpPr>
            <a:grpSpLocks/>
          </p:cNvGrpSpPr>
          <p:nvPr/>
        </p:nvGrpSpPr>
        <p:grpSpPr bwMode="auto">
          <a:xfrm rot="5859817">
            <a:off x="5654676" y="1212850"/>
            <a:ext cx="304800" cy="1254125"/>
            <a:chOff x="2000" y="2855"/>
            <a:chExt cx="236" cy="929"/>
          </a:xfrm>
          <a:solidFill>
            <a:schemeClr val="bg2">
              <a:lumMod val="20000"/>
              <a:lumOff val="80000"/>
            </a:schemeClr>
          </a:solidFill>
        </p:grpSpPr>
        <p:sp>
          <p:nvSpPr>
            <p:cNvPr id="863332" name="Freeform 42"/>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33" name="Freeform 43"/>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1" name="Group 44"/>
          <p:cNvGrpSpPr>
            <a:grpSpLocks/>
          </p:cNvGrpSpPr>
          <p:nvPr/>
        </p:nvGrpSpPr>
        <p:grpSpPr bwMode="auto">
          <a:xfrm rot="5859817">
            <a:off x="3749676" y="1152525"/>
            <a:ext cx="304800" cy="1254125"/>
            <a:chOff x="2000" y="2855"/>
            <a:chExt cx="236" cy="929"/>
          </a:xfrm>
          <a:solidFill>
            <a:schemeClr val="bg2">
              <a:lumMod val="20000"/>
              <a:lumOff val="80000"/>
            </a:schemeClr>
          </a:solidFill>
        </p:grpSpPr>
        <p:sp>
          <p:nvSpPr>
            <p:cNvPr id="863330" name="Freeform 45"/>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31" name="Freeform 46"/>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2" name="Group 47"/>
          <p:cNvGrpSpPr>
            <a:grpSpLocks/>
          </p:cNvGrpSpPr>
          <p:nvPr/>
        </p:nvGrpSpPr>
        <p:grpSpPr bwMode="auto">
          <a:xfrm rot="5859817">
            <a:off x="2855119" y="1151732"/>
            <a:ext cx="304800" cy="1255712"/>
            <a:chOff x="2000" y="2855"/>
            <a:chExt cx="236" cy="929"/>
          </a:xfrm>
          <a:solidFill>
            <a:schemeClr val="bg2">
              <a:lumMod val="20000"/>
              <a:lumOff val="80000"/>
            </a:schemeClr>
          </a:solidFill>
        </p:grpSpPr>
        <p:sp>
          <p:nvSpPr>
            <p:cNvPr id="863328" name="Freeform 48"/>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29" name="Freeform 49"/>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3" name="Group 50"/>
          <p:cNvGrpSpPr>
            <a:grpSpLocks/>
          </p:cNvGrpSpPr>
          <p:nvPr/>
        </p:nvGrpSpPr>
        <p:grpSpPr bwMode="auto">
          <a:xfrm rot="5859817">
            <a:off x="4814888" y="-207963"/>
            <a:ext cx="304800" cy="1254125"/>
            <a:chOff x="2000" y="2855"/>
            <a:chExt cx="236" cy="929"/>
          </a:xfrm>
          <a:solidFill>
            <a:schemeClr val="bg2">
              <a:lumMod val="20000"/>
              <a:lumOff val="80000"/>
            </a:schemeClr>
          </a:solidFill>
        </p:grpSpPr>
        <p:sp>
          <p:nvSpPr>
            <p:cNvPr id="863326" name="Freeform 51"/>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27" name="Freeform 52"/>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4" name="Group 53"/>
          <p:cNvGrpSpPr>
            <a:grpSpLocks/>
          </p:cNvGrpSpPr>
          <p:nvPr/>
        </p:nvGrpSpPr>
        <p:grpSpPr bwMode="auto">
          <a:xfrm rot="5859817">
            <a:off x="5711032" y="-210344"/>
            <a:ext cx="304800" cy="1252537"/>
            <a:chOff x="2000" y="2855"/>
            <a:chExt cx="236" cy="929"/>
          </a:xfrm>
          <a:solidFill>
            <a:schemeClr val="bg2">
              <a:lumMod val="20000"/>
              <a:lumOff val="80000"/>
            </a:schemeClr>
          </a:solidFill>
        </p:grpSpPr>
        <p:sp>
          <p:nvSpPr>
            <p:cNvPr id="863324" name="Freeform 54"/>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25" name="Freeform 55"/>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5" name="Group 56"/>
          <p:cNvGrpSpPr>
            <a:grpSpLocks/>
          </p:cNvGrpSpPr>
          <p:nvPr/>
        </p:nvGrpSpPr>
        <p:grpSpPr bwMode="auto">
          <a:xfrm rot="5859817">
            <a:off x="3920332" y="-208757"/>
            <a:ext cx="304800" cy="1255713"/>
            <a:chOff x="2000" y="2855"/>
            <a:chExt cx="236" cy="929"/>
          </a:xfrm>
          <a:solidFill>
            <a:schemeClr val="bg2">
              <a:lumMod val="20000"/>
              <a:lumOff val="80000"/>
            </a:schemeClr>
          </a:solidFill>
        </p:grpSpPr>
        <p:sp>
          <p:nvSpPr>
            <p:cNvPr id="863322" name="Freeform 57"/>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23" name="Freeform 58"/>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6" name="Group 59"/>
          <p:cNvGrpSpPr>
            <a:grpSpLocks/>
          </p:cNvGrpSpPr>
          <p:nvPr/>
        </p:nvGrpSpPr>
        <p:grpSpPr bwMode="auto">
          <a:xfrm rot="5859817">
            <a:off x="3021807" y="-208757"/>
            <a:ext cx="304800" cy="1255713"/>
            <a:chOff x="2000" y="2855"/>
            <a:chExt cx="236" cy="929"/>
          </a:xfrm>
          <a:solidFill>
            <a:schemeClr val="bg2">
              <a:lumMod val="20000"/>
              <a:lumOff val="80000"/>
            </a:schemeClr>
          </a:solidFill>
        </p:grpSpPr>
        <p:sp>
          <p:nvSpPr>
            <p:cNvPr id="863320" name="Freeform 60"/>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21" name="Freeform 61"/>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7" name="Group 62"/>
          <p:cNvGrpSpPr>
            <a:grpSpLocks/>
          </p:cNvGrpSpPr>
          <p:nvPr/>
        </p:nvGrpSpPr>
        <p:grpSpPr bwMode="auto">
          <a:xfrm rot="5859817">
            <a:off x="2235994" y="-208756"/>
            <a:ext cx="304800" cy="1255712"/>
            <a:chOff x="2000" y="2855"/>
            <a:chExt cx="236" cy="929"/>
          </a:xfrm>
          <a:solidFill>
            <a:schemeClr val="bg2">
              <a:lumMod val="20000"/>
              <a:lumOff val="80000"/>
            </a:schemeClr>
          </a:solidFill>
        </p:grpSpPr>
        <p:sp>
          <p:nvSpPr>
            <p:cNvPr id="863318" name="Freeform 63"/>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19" name="Freeform 64"/>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8" name="Group 65"/>
          <p:cNvGrpSpPr>
            <a:grpSpLocks/>
          </p:cNvGrpSpPr>
          <p:nvPr/>
        </p:nvGrpSpPr>
        <p:grpSpPr bwMode="auto">
          <a:xfrm rot="5859817">
            <a:off x="2124076" y="1214437"/>
            <a:ext cx="304800" cy="1254125"/>
            <a:chOff x="2000" y="2855"/>
            <a:chExt cx="236" cy="929"/>
          </a:xfrm>
          <a:solidFill>
            <a:schemeClr val="bg2">
              <a:lumMod val="20000"/>
              <a:lumOff val="80000"/>
            </a:schemeClr>
          </a:solidFill>
        </p:grpSpPr>
        <p:sp>
          <p:nvSpPr>
            <p:cNvPr id="863316" name="Freeform 66"/>
            <p:cNvSpPr>
              <a:spLocks/>
            </p:cNvSpPr>
            <p:nvPr/>
          </p:nvSpPr>
          <p:spPr bwMode="auto">
            <a:xfrm>
              <a:off x="2000" y="2855"/>
              <a:ext cx="236" cy="929"/>
            </a:xfrm>
            <a:custGeom>
              <a:avLst/>
              <a:gdLst>
                <a:gd name="T0" fmla="*/ 64 w 236"/>
                <a:gd name="T1" fmla="*/ 36 h 929"/>
                <a:gd name="T2" fmla="*/ 27 w 236"/>
                <a:gd name="T3" fmla="*/ 118 h 929"/>
                <a:gd name="T4" fmla="*/ 18 w 236"/>
                <a:gd name="T5" fmla="*/ 327 h 929"/>
                <a:gd name="T6" fmla="*/ 73 w 236"/>
                <a:gd name="T7" fmla="*/ 536 h 929"/>
                <a:gd name="T8" fmla="*/ 118 w 236"/>
                <a:gd name="T9" fmla="*/ 736 h 929"/>
                <a:gd name="T10" fmla="*/ 109 w 236"/>
                <a:gd name="T11" fmla="*/ 918 h 929"/>
                <a:gd name="T12" fmla="*/ 127 w 236"/>
                <a:gd name="T13" fmla="*/ 891 h 929"/>
                <a:gd name="T14" fmla="*/ 173 w 236"/>
                <a:gd name="T15" fmla="*/ 809 h 929"/>
                <a:gd name="T16" fmla="*/ 218 w 236"/>
                <a:gd name="T17" fmla="*/ 718 h 929"/>
                <a:gd name="T18" fmla="*/ 236 w 236"/>
                <a:gd name="T19" fmla="*/ 663 h 929"/>
                <a:gd name="T20" fmla="*/ 209 w 236"/>
                <a:gd name="T21" fmla="*/ 282 h 929"/>
                <a:gd name="T22" fmla="*/ 182 w 236"/>
                <a:gd name="T23" fmla="*/ 200 h 929"/>
                <a:gd name="T24" fmla="*/ 109 w 236"/>
                <a:gd name="T25" fmla="*/ 72 h 929"/>
                <a:gd name="T26" fmla="*/ 91 w 236"/>
                <a:gd name="T27" fmla="*/ 18 h 929"/>
                <a:gd name="T28" fmla="*/ 64 w 236"/>
                <a:gd name="T29" fmla="*/ 36 h 9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929"/>
                <a:gd name="T47" fmla="*/ 236 w 236"/>
                <a:gd name="T48" fmla="*/ 929 h 9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929">
                  <a:moveTo>
                    <a:pt x="64" y="36"/>
                  </a:moveTo>
                  <a:cubicBezTo>
                    <a:pt x="53" y="66"/>
                    <a:pt x="45" y="91"/>
                    <a:pt x="27" y="118"/>
                  </a:cubicBezTo>
                  <a:cubicBezTo>
                    <a:pt x="0" y="240"/>
                    <a:pt x="6" y="175"/>
                    <a:pt x="18" y="327"/>
                  </a:cubicBezTo>
                  <a:cubicBezTo>
                    <a:pt x="23" y="397"/>
                    <a:pt x="18" y="484"/>
                    <a:pt x="73" y="536"/>
                  </a:cubicBezTo>
                  <a:cubicBezTo>
                    <a:pt x="95" y="601"/>
                    <a:pt x="101" y="669"/>
                    <a:pt x="118" y="736"/>
                  </a:cubicBezTo>
                  <a:cubicBezTo>
                    <a:pt x="115" y="797"/>
                    <a:pt x="105" y="857"/>
                    <a:pt x="109" y="918"/>
                  </a:cubicBezTo>
                  <a:cubicBezTo>
                    <a:pt x="110" y="929"/>
                    <a:pt x="122" y="901"/>
                    <a:pt x="127" y="891"/>
                  </a:cubicBezTo>
                  <a:cubicBezTo>
                    <a:pt x="141" y="863"/>
                    <a:pt x="173" y="809"/>
                    <a:pt x="173" y="809"/>
                  </a:cubicBezTo>
                  <a:cubicBezTo>
                    <a:pt x="184" y="776"/>
                    <a:pt x="205" y="751"/>
                    <a:pt x="218" y="718"/>
                  </a:cubicBezTo>
                  <a:cubicBezTo>
                    <a:pt x="225" y="700"/>
                    <a:pt x="236" y="663"/>
                    <a:pt x="236" y="663"/>
                  </a:cubicBezTo>
                  <a:cubicBezTo>
                    <a:pt x="232" y="544"/>
                    <a:pt x="235" y="404"/>
                    <a:pt x="209" y="282"/>
                  </a:cubicBezTo>
                  <a:cubicBezTo>
                    <a:pt x="203" y="254"/>
                    <a:pt x="198" y="224"/>
                    <a:pt x="182" y="200"/>
                  </a:cubicBezTo>
                  <a:cubicBezTo>
                    <a:pt x="151" y="152"/>
                    <a:pt x="128" y="129"/>
                    <a:pt x="109" y="72"/>
                  </a:cubicBezTo>
                  <a:cubicBezTo>
                    <a:pt x="103" y="54"/>
                    <a:pt x="109" y="24"/>
                    <a:pt x="91" y="18"/>
                  </a:cubicBezTo>
                  <a:cubicBezTo>
                    <a:pt x="55" y="6"/>
                    <a:pt x="64" y="0"/>
                    <a:pt x="64" y="36"/>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17" name="Freeform 67"/>
            <p:cNvSpPr>
              <a:spLocks/>
            </p:cNvSpPr>
            <p:nvPr/>
          </p:nvSpPr>
          <p:spPr bwMode="auto">
            <a:xfrm>
              <a:off x="2112" y="3120"/>
              <a:ext cx="67" cy="263"/>
            </a:xfrm>
            <a:custGeom>
              <a:avLst/>
              <a:gdLst>
                <a:gd name="T0" fmla="*/ 31 w 67"/>
                <a:gd name="T1" fmla="*/ 0 h 263"/>
                <a:gd name="T2" fmla="*/ 4 w 67"/>
                <a:gd name="T3" fmla="*/ 181 h 263"/>
                <a:gd name="T4" fmla="*/ 13 w 67"/>
                <a:gd name="T5" fmla="*/ 236 h 263"/>
                <a:gd name="T6" fmla="*/ 22 w 67"/>
                <a:gd name="T7" fmla="*/ 263 h 263"/>
                <a:gd name="T8" fmla="*/ 49 w 67"/>
                <a:gd name="T9" fmla="*/ 236 h 263"/>
                <a:gd name="T10" fmla="*/ 67 w 67"/>
                <a:gd name="T11" fmla="*/ 172 h 263"/>
                <a:gd name="T12" fmla="*/ 31 w 67"/>
                <a:gd name="T13" fmla="*/ 0 h 263"/>
                <a:gd name="T14" fmla="*/ 0 60000 65536"/>
                <a:gd name="T15" fmla="*/ 0 60000 65536"/>
                <a:gd name="T16" fmla="*/ 0 60000 65536"/>
                <a:gd name="T17" fmla="*/ 0 60000 65536"/>
                <a:gd name="T18" fmla="*/ 0 60000 65536"/>
                <a:gd name="T19" fmla="*/ 0 60000 65536"/>
                <a:gd name="T20" fmla="*/ 0 60000 65536"/>
                <a:gd name="T21" fmla="*/ 0 w 67"/>
                <a:gd name="T22" fmla="*/ 0 h 263"/>
                <a:gd name="T23" fmla="*/ 67 w 67"/>
                <a:gd name="T24" fmla="*/ 263 h 2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263">
                  <a:moveTo>
                    <a:pt x="31" y="0"/>
                  </a:moveTo>
                  <a:cubicBezTo>
                    <a:pt x="0" y="94"/>
                    <a:pt x="14" y="35"/>
                    <a:pt x="4" y="181"/>
                  </a:cubicBezTo>
                  <a:cubicBezTo>
                    <a:pt x="7" y="199"/>
                    <a:pt x="9" y="218"/>
                    <a:pt x="13" y="236"/>
                  </a:cubicBezTo>
                  <a:cubicBezTo>
                    <a:pt x="15" y="245"/>
                    <a:pt x="13" y="263"/>
                    <a:pt x="22" y="263"/>
                  </a:cubicBezTo>
                  <a:cubicBezTo>
                    <a:pt x="35" y="263"/>
                    <a:pt x="40" y="245"/>
                    <a:pt x="49" y="236"/>
                  </a:cubicBezTo>
                  <a:cubicBezTo>
                    <a:pt x="54" y="215"/>
                    <a:pt x="67" y="194"/>
                    <a:pt x="67" y="172"/>
                  </a:cubicBezTo>
                  <a:cubicBezTo>
                    <a:pt x="67" y="107"/>
                    <a:pt x="50" y="58"/>
                    <a:pt x="31" y="0"/>
                  </a:cubicBezTo>
                  <a:close/>
                </a:path>
              </a:pathLst>
            </a:custGeom>
            <a:grpFill/>
            <a:ln w="9525">
              <a:solidFill>
                <a:srgbClr val="000000"/>
              </a:solidFill>
              <a:round/>
              <a:headEnd/>
              <a:tailEnd/>
            </a:ln>
          </p:spPr>
          <p:txBody>
            <a:bodyPr rot="10800000" vert="eaVert"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19" name="Group 68"/>
          <p:cNvGrpSpPr>
            <a:grpSpLocks/>
          </p:cNvGrpSpPr>
          <p:nvPr/>
        </p:nvGrpSpPr>
        <p:grpSpPr bwMode="auto">
          <a:xfrm>
            <a:off x="1500188" y="549275"/>
            <a:ext cx="1776412" cy="3959225"/>
            <a:chOff x="1063" y="346"/>
            <a:chExt cx="1258" cy="2494"/>
          </a:xfrm>
        </p:grpSpPr>
        <p:sp>
          <p:nvSpPr>
            <p:cNvPr id="863311" name="Text Box 69"/>
            <p:cNvSpPr txBox="1">
              <a:spLocks noChangeArrowheads="1"/>
            </p:cNvSpPr>
            <p:nvPr/>
          </p:nvSpPr>
          <p:spPr bwMode="auto">
            <a:xfrm>
              <a:off x="1470" y="346"/>
              <a:ext cx="851" cy="582"/>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a:solidFill>
                    <a:srgbClr val="000000"/>
                  </a:solidFill>
                  <a:latin typeface="Garamond" pitchFamily="18" charset="0"/>
                  <a:ea typeface="ＭＳ Ｐゴシック" pitchFamily="34" charset="-128"/>
                </a:rPr>
                <a:t>VCAM-1</a:t>
              </a:r>
            </a:p>
            <a:p>
              <a:pPr eaLnBrk="0" fontAlgn="base" hangingPunct="0">
                <a:spcBef>
                  <a:spcPct val="0"/>
                </a:spcBef>
                <a:spcAft>
                  <a:spcPct val="0"/>
                </a:spcAft>
              </a:pPr>
              <a:r>
                <a:rPr lang="it-IT">
                  <a:solidFill>
                    <a:srgbClr val="000000"/>
                  </a:solidFill>
                  <a:latin typeface="Garamond" pitchFamily="18" charset="0"/>
                  <a:ea typeface="ＭＳ Ｐゴシック" pitchFamily="34" charset="-128"/>
                </a:rPr>
                <a:t>E-selectin</a:t>
              </a:r>
            </a:p>
            <a:p>
              <a:pPr eaLnBrk="0" fontAlgn="base" hangingPunct="0">
                <a:spcBef>
                  <a:spcPct val="0"/>
                </a:spcBef>
                <a:spcAft>
                  <a:spcPct val="0"/>
                </a:spcAft>
              </a:pPr>
              <a:r>
                <a:rPr lang="it-IT">
                  <a:solidFill>
                    <a:srgbClr val="000000"/>
                  </a:solidFill>
                  <a:latin typeface="Garamond" pitchFamily="18" charset="0"/>
                  <a:ea typeface="ＭＳ Ｐゴシック" pitchFamily="34" charset="-128"/>
                </a:rPr>
                <a:t>N-cadherin</a:t>
              </a:r>
            </a:p>
          </p:txBody>
        </p:sp>
        <p:sp>
          <p:nvSpPr>
            <p:cNvPr id="863312" name="Line 70"/>
            <p:cNvSpPr>
              <a:spLocks noChangeShapeType="1"/>
            </p:cNvSpPr>
            <p:nvPr/>
          </p:nvSpPr>
          <p:spPr bwMode="auto">
            <a:xfrm flipV="1">
              <a:off x="1562" y="935"/>
              <a:ext cx="136" cy="182"/>
            </a:xfrm>
            <a:prstGeom prst="line">
              <a:avLst/>
            </a:prstGeom>
            <a:noFill/>
            <a:ln w="19050">
              <a:solidFill>
                <a:schemeClr val="tx1"/>
              </a:solidFill>
              <a:round/>
              <a:headEnd/>
              <a:tailEnd type="arrow"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13" name="Freeform 71"/>
            <p:cNvSpPr>
              <a:spLocks/>
            </p:cNvSpPr>
            <p:nvPr/>
          </p:nvSpPr>
          <p:spPr bwMode="auto">
            <a:xfrm flipH="1">
              <a:off x="1290" y="2640"/>
              <a:ext cx="32" cy="200"/>
            </a:xfrm>
            <a:custGeom>
              <a:avLst/>
              <a:gdLst>
                <a:gd name="T0" fmla="*/ 0 w 1"/>
                <a:gd name="T1" fmla="*/ 0 h 680"/>
                <a:gd name="T2" fmla="*/ 0 w 1"/>
                <a:gd name="T3" fmla="*/ 0 h 680"/>
                <a:gd name="T4" fmla="*/ 0 60000 65536"/>
                <a:gd name="T5" fmla="*/ 0 60000 65536"/>
                <a:gd name="T6" fmla="*/ 0 w 1"/>
                <a:gd name="T7" fmla="*/ 0 h 680"/>
                <a:gd name="T8" fmla="*/ 1 w 1"/>
                <a:gd name="T9" fmla="*/ 680 h 680"/>
              </a:gdLst>
              <a:ahLst/>
              <a:cxnLst>
                <a:cxn ang="T4">
                  <a:pos x="T0" y="T1"/>
                </a:cxn>
                <a:cxn ang="T5">
                  <a:pos x="T2" y="T3"/>
                </a:cxn>
              </a:cxnLst>
              <a:rect l="T6" t="T7" r="T8" b="T9"/>
              <a:pathLst>
                <a:path w="1" h="680">
                  <a:moveTo>
                    <a:pt x="0" y="680"/>
                  </a:moveTo>
                  <a:cubicBezTo>
                    <a:pt x="0" y="396"/>
                    <a:pt x="0" y="113"/>
                    <a:pt x="0" y="0"/>
                  </a:cubicBezTo>
                </a:path>
              </a:pathLst>
            </a:custGeom>
            <a:noFill/>
            <a:ln w="19050">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14" name="Rectangle 72"/>
            <p:cNvSpPr>
              <a:spLocks noChangeArrowheads="1"/>
            </p:cNvSpPr>
            <p:nvPr/>
          </p:nvSpPr>
          <p:spPr bwMode="auto">
            <a:xfrm>
              <a:off x="1063" y="1570"/>
              <a:ext cx="614" cy="1028"/>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IL-1</a:t>
              </a:r>
            </a:p>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IL-6</a:t>
              </a:r>
            </a:p>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IL-11</a:t>
              </a:r>
            </a:p>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PGE</a:t>
              </a:r>
            </a:p>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VEGF</a:t>
              </a:r>
            </a:p>
          </p:txBody>
        </p:sp>
        <p:sp>
          <p:nvSpPr>
            <p:cNvPr id="863315" name="Line 73"/>
            <p:cNvSpPr>
              <a:spLocks noChangeShapeType="1"/>
            </p:cNvSpPr>
            <p:nvPr/>
          </p:nvSpPr>
          <p:spPr bwMode="auto">
            <a:xfrm flipV="1">
              <a:off x="1335" y="1298"/>
              <a:ext cx="136" cy="271"/>
            </a:xfrm>
            <a:prstGeom prst="line">
              <a:avLst/>
            </a:prstGeom>
            <a:noFill/>
            <a:ln w="19050">
              <a:solidFill>
                <a:schemeClr val="tx1"/>
              </a:solidFill>
              <a:round/>
              <a:headEnd/>
              <a:tailEnd type="arrow"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sp>
        <p:nvSpPr>
          <p:cNvPr id="863263" name="Text Box 74"/>
          <p:cNvSpPr txBox="1">
            <a:spLocks noChangeArrowheads="1"/>
          </p:cNvSpPr>
          <p:nvPr/>
        </p:nvSpPr>
        <p:spPr bwMode="auto">
          <a:xfrm>
            <a:off x="476250" y="0"/>
            <a:ext cx="1241425" cy="338138"/>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i="1">
                <a:solidFill>
                  <a:srgbClr val="000000"/>
                </a:solidFill>
                <a:latin typeface="Garamond" pitchFamily="18" charset="0"/>
                <a:ea typeface="ＭＳ Ｐゴシック" pitchFamily="34" charset="-128"/>
              </a:rPr>
              <a:t>Endothelial cell</a:t>
            </a:r>
          </a:p>
        </p:txBody>
      </p:sp>
      <p:sp>
        <p:nvSpPr>
          <p:cNvPr id="863264" name="Text Box 75"/>
          <p:cNvSpPr txBox="1">
            <a:spLocks noChangeArrowheads="1"/>
          </p:cNvSpPr>
          <p:nvPr/>
        </p:nvSpPr>
        <p:spPr bwMode="auto">
          <a:xfrm>
            <a:off x="0" y="908050"/>
            <a:ext cx="1362075" cy="615950"/>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i="1">
                <a:solidFill>
                  <a:srgbClr val="000000"/>
                </a:solidFill>
                <a:latin typeface="Garamond" pitchFamily="18" charset="0"/>
                <a:ea typeface="ＭＳ Ｐゴシック" pitchFamily="34" charset="-128"/>
              </a:rPr>
              <a:t>Sinusoid in  bone</a:t>
            </a:r>
          </a:p>
          <a:p>
            <a:pPr eaLnBrk="0" fontAlgn="base" hangingPunct="0">
              <a:spcBef>
                <a:spcPct val="0"/>
              </a:spcBef>
              <a:spcAft>
                <a:spcPct val="0"/>
              </a:spcAft>
            </a:pPr>
            <a:r>
              <a:rPr lang="it-IT" sz="1600" i="1">
                <a:solidFill>
                  <a:srgbClr val="000000"/>
                </a:solidFill>
                <a:latin typeface="Garamond" pitchFamily="18" charset="0"/>
                <a:ea typeface="ＭＳ Ｐゴシック" pitchFamily="34" charset="-128"/>
              </a:rPr>
              <a:t>metaphysis</a:t>
            </a:r>
            <a:r>
              <a:rPr lang="it-IT" i="1">
                <a:solidFill>
                  <a:srgbClr val="000000"/>
                </a:solidFill>
                <a:latin typeface="Garamond" pitchFamily="18" charset="0"/>
                <a:ea typeface="ＭＳ Ｐゴシック" pitchFamily="34" charset="-128"/>
              </a:rPr>
              <a:t> </a:t>
            </a:r>
          </a:p>
        </p:txBody>
      </p:sp>
      <p:grpSp>
        <p:nvGrpSpPr>
          <p:cNvPr id="20" name="Group 76"/>
          <p:cNvGrpSpPr>
            <a:grpSpLocks/>
          </p:cNvGrpSpPr>
          <p:nvPr/>
        </p:nvGrpSpPr>
        <p:grpSpPr bwMode="auto">
          <a:xfrm>
            <a:off x="3930650" y="2133600"/>
            <a:ext cx="693738" cy="735013"/>
            <a:chOff x="2786" y="1344"/>
            <a:chExt cx="491" cy="463"/>
          </a:xfrm>
        </p:grpSpPr>
        <p:sp>
          <p:nvSpPr>
            <p:cNvPr id="863309" name="Freeform 77"/>
            <p:cNvSpPr>
              <a:spLocks/>
            </p:cNvSpPr>
            <p:nvPr/>
          </p:nvSpPr>
          <p:spPr bwMode="auto">
            <a:xfrm>
              <a:off x="2786" y="134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1">
              <a:gsLst>
                <a:gs pos="0">
                  <a:srgbClr val="0099FF"/>
                </a:gs>
                <a:gs pos="100000">
                  <a:srgbClr val="004776"/>
                </a:gs>
              </a:gsLst>
              <a:path path="rect">
                <a:fillToRect l="50000" t="50000" r="50000" b="5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10" name="Oval 78"/>
            <p:cNvSpPr>
              <a:spLocks noChangeArrowheads="1"/>
            </p:cNvSpPr>
            <p:nvPr/>
          </p:nvSpPr>
          <p:spPr bwMode="auto">
            <a:xfrm>
              <a:off x="2978" y="148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21" name="Group 79"/>
          <p:cNvGrpSpPr>
            <a:grpSpLocks/>
          </p:cNvGrpSpPr>
          <p:nvPr/>
        </p:nvGrpSpPr>
        <p:grpSpPr bwMode="auto">
          <a:xfrm>
            <a:off x="2246313" y="2060575"/>
            <a:ext cx="1174750" cy="2376488"/>
            <a:chOff x="1592" y="1298"/>
            <a:chExt cx="832" cy="1497"/>
          </a:xfrm>
        </p:grpSpPr>
        <p:sp>
          <p:nvSpPr>
            <p:cNvPr id="863306" name="Text Box 80"/>
            <p:cNvSpPr txBox="1">
              <a:spLocks noChangeArrowheads="1"/>
            </p:cNvSpPr>
            <p:nvPr/>
          </p:nvSpPr>
          <p:spPr bwMode="auto">
            <a:xfrm>
              <a:off x="1607" y="1525"/>
              <a:ext cx="696" cy="291"/>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2400">
                  <a:solidFill>
                    <a:srgbClr val="000000"/>
                  </a:solidFill>
                  <a:latin typeface="Garamond" pitchFamily="18" charset="0"/>
                  <a:ea typeface="ＭＳ Ｐゴシック" pitchFamily="34" charset="-128"/>
                </a:rPr>
                <a:t>SDF-1</a:t>
              </a:r>
            </a:p>
          </p:txBody>
        </p:sp>
        <p:sp>
          <p:nvSpPr>
            <p:cNvPr id="863307" name="Freeform 81"/>
            <p:cNvSpPr>
              <a:spLocks/>
            </p:cNvSpPr>
            <p:nvPr/>
          </p:nvSpPr>
          <p:spPr bwMode="auto">
            <a:xfrm>
              <a:off x="1592" y="1842"/>
              <a:ext cx="197" cy="953"/>
            </a:xfrm>
            <a:custGeom>
              <a:avLst/>
              <a:gdLst>
                <a:gd name="T0" fmla="*/ 106 w 197"/>
                <a:gd name="T1" fmla="*/ 953 h 953"/>
                <a:gd name="T2" fmla="*/ 15 w 197"/>
                <a:gd name="T3" fmla="*/ 363 h 953"/>
                <a:gd name="T4" fmla="*/ 197 w 197"/>
                <a:gd name="T5" fmla="*/ 0 h 953"/>
                <a:gd name="T6" fmla="*/ 0 60000 65536"/>
                <a:gd name="T7" fmla="*/ 0 60000 65536"/>
                <a:gd name="T8" fmla="*/ 0 60000 65536"/>
                <a:gd name="T9" fmla="*/ 0 w 197"/>
                <a:gd name="T10" fmla="*/ 0 h 953"/>
                <a:gd name="T11" fmla="*/ 197 w 197"/>
                <a:gd name="T12" fmla="*/ 953 h 953"/>
              </a:gdLst>
              <a:ahLst/>
              <a:cxnLst>
                <a:cxn ang="T6">
                  <a:pos x="T0" y="T1"/>
                </a:cxn>
                <a:cxn ang="T7">
                  <a:pos x="T2" y="T3"/>
                </a:cxn>
                <a:cxn ang="T8">
                  <a:pos x="T4" y="T5"/>
                </a:cxn>
              </a:cxnLst>
              <a:rect l="T9" t="T10" r="T11" b="T12"/>
              <a:pathLst>
                <a:path w="197" h="953">
                  <a:moveTo>
                    <a:pt x="106" y="953"/>
                  </a:moveTo>
                  <a:cubicBezTo>
                    <a:pt x="53" y="737"/>
                    <a:pt x="0" y="522"/>
                    <a:pt x="15" y="363"/>
                  </a:cubicBezTo>
                  <a:cubicBezTo>
                    <a:pt x="30" y="204"/>
                    <a:pt x="113" y="102"/>
                    <a:pt x="197" y="0"/>
                  </a:cubicBezTo>
                </a:path>
              </a:pathLst>
            </a:custGeom>
            <a:noFill/>
            <a:ln w="19050">
              <a:solidFill>
                <a:schemeClr val="tx1"/>
              </a:solidFill>
              <a:round/>
              <a:headEnd/>
              <a:tailEnd type="arrow"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08" name="Line 82"/>
            <p:cNvSpPr>
              <a:spLocks noChangeShapeType="1"/>
            </p:cNvSpPr>
            <p:nvPr/>
          </p:nvSpPr>
          <p:spPr bwMode="auto">
            <a:xfrm flipV="1">
              <a:off x="2106" y="1298"/>
              <a:ext cx="318" cy="272"/>
            </a:xfrm>
            <a:prstGeom prst="line">
              <a:avLst/>
            </a:prstGeom>
            <a:noFill/>
            <a:ln w="9525">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22" name="Group 83"/>
          <p:cNvGrpSpPr>
            <a:grpSpLocks/>
          </p:cNvGrpSpPr>
          <p:nvPr/>
        </p:nvGrpSpPr>
        <p:grpSpPr bwMode="auto">
          <a:xfrm>
            <a:off x="2459038" y="2205038"/>
            <a:ext cx="1803400" cy="2303463"/>
            <a:chOff x="1743" y="1389"/>
            <a:chExt cx="1280" cy="1451"/>
          </a:xfrm>
        </p:grpSpPr>
        <p:grpSp>
          <p:nvGrpSpPr>
            <p:cNvPr id="23" name="Group 84"/>
            <p:cNvGrpSpPr>
              <a:grpSpLocks/>
            </p:cNvGrpSpPr>
            <p:nvPr/>
          </p:nvGrpSpPr>
          <p:grpSpPr bwMode="auto">
            <a:xfrm>
              <a:off x="1743" y="1842"/>
              <a:ext cx="1280" cy="998"/>
              <a:chOff x="1743" y="1842"/>
              <a:chExt cx="1280" cy="998"/>
            </a:xfrm>
          </p:grpSpPr>
          <p:sp>
            <p:nvSpPr>
              <p:cNvPr id="863303" name="Text Box 85"/>
              <p:cNvSpPr txBox="1">
                <a:spLocks noChangeArrowheads="1"/>
              </p:cNvSpPr>
              <p:nvPr/>
            </p:nvSpPr>
            <p:spPr bwMode="auto">
              <a:xfrm>
                <a:off x="2152" y="1842"/>
                <a:ext cx="871" cy="291"/>
              </a:xfrm>
              <a:prstGeom prst="rect">
                <a:avLst/>
              </a:prstGeom>
              <a:noFill/>
              <a:ln w="38100">
                <a:noFill/>
                <a:miter lim="800000"/>
                <a:headEnd/>
                <a:tailEnd/>
              </a:ln>
            </p:spPr>
            <p:txBody>
              <a:bodyPr wrap="none" lIns="91404" tIns="45702" rIns="91404" bIns="45702">
                <a:spAutoFit/>
              </a:bodyPr>
              <a:lstStyle/>
              <a:p>
                <a:pPr eaLnBrk="0" fontAlgn="base" hangingPunct="0">
                  <a:spcBef>
                    <a:spcPct val="0"/>
                  </a:spcBef>
                  <a:spcAft>
                    <a:spcPct val="0"/>
                  </a:spcAft>
                </a:pPr>
                <a:r>
                  <a:rPr lang="it-IT" sz="2400" dirty="0">
                    <a:latin typeface="Garamond" pitchFamily="18" charset="0"/>
                    <a:ea typeface="ＭＳ Ｐゴシック" pitchFamily="34" charset="-128"/>
                  </a:rPr>
                  <a:t>RANKL</a:t>
                </a:r>
              </a:p>
            </p:txBody>
          </p:sp>
          <p:sp>
            <p:nvSpPr>
              <p:cNvPr id="863304" name="Freeform 86"/>
              <p:cNvSpPr>
                <a:spLocks/>
              </p:cNvSpPr>
              <p:nvPr/>
            </p:nvSpPr>
            <p:spPr bwMode="auto">
              <a:xfrm>
                <a:off x="1743" y="1979"/>
                <a:ext cx="408" cy="861"/>
              </a:xfrm>
              <a:custGeom>
                <a:avLst/>
                <a:gdLst>
                  <a:gd name="T0" fmla="*/ 4260 w 317"/>
                  <a:gd name="T1" fmla="*/ 861 h 861"/>
                  <a:gd name="T2" fmla="*/ 4260 w 317"/>
                  <a:gd name="T3" fmla="*/ 272 h 861"/>
                  <a:gd name="T4" fmla="*/ 29803 w 317"/>
                  <a:gd name="T5" fmla="*/ 0 h 861"/>
                  <a:gd name="T6" fmla="*/ 0 60000 65536"/>
                  <a:gd name="T7" fmla="*/ 0 60000 65536"/>
                  <a:gd name="T8" fmla="*/ 0 60000 65536"/>
                  <a:gd name="T9" fmla="*/ 0 w 317"/>
                  <a:gd name="T10" fmla="*/ 0 h 861"/>
                  <a:gd name="T11" fmla="*/ 317 w 317"/>
                  <a:gd name="T12" fmla="*/ 861 h 861"/>
                </a:gdLst>
                <a:ahLst/>
                <a:cxnLst>
                  <a:cxn ang="T6">
                    <a:pos x="T0" y="T1"/>
                  </a:cxn>
                  <a:cxn ang="T7">
                    <a:pos x="T2" y="T3"/>
                  </a:cxn>
                  <a:cxn ang="T8">
                    <a:pos x="T4" y="T5"/>
                  </a:cxn>
                </a:cxnLst>
                <a:rect l="T9" t="T10" r="T11" b="T12"/>
                <a:pathLst>
                  <a:path w="317" h="861">
                    <a:moveTo>
                      <a:pt x="45" y="861"/>
                    </a:moveTo>
                    <a:cubicBezTo>
                      <a:pt x="22" y="638"/>
                      <a:pt x="0" y="415"/>
                      <a:pt x="45" y="272"/>
                    </a:cubicBezTo>
                    <a:cubicBezTo>
                      <a:pt x="90" y="129"/>
                      <a:pt x="203" y="64"/>
                      <a:pt x="317" y="0"/>
                    </a:cubicBezTo>
                  </a:path>
                </a:pathLst>
              </a:custGeom>
              <a:noFill/>
              <a:ln w="12700">
                <a:solidFill>
                  <a:schemeClr val="tx1"/>
                </a:solidFill>
                <a:round/>
                <a:headEnd/>
                <a:tailEnd type="arrow"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sp>
          <p:nvSpPr>
            <p:cNvPr id="863302" name="Line 88"/>
            <p:cNvSpPr>
              <a:spLocks noChangeShapeType="1"/>
            </p:cNvSpPr>
            <p:nvPr/>
          </p:nvSpPr>
          <p:spPr bwMode="auto">
            <a:xfrm flipV="1">
              <a:off x="2560" y="1389"/>
              <a:ext cx="45" cy="408"/>
            </a:xfrm>
            <a:prstGeom prst="line">
              <a:avLst/>
            </a:prstGeom>
            <a:noFill/>
            <a:ln w="12700">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24" name="Group 89"/>
          <p:cNvGrpSpPr>
            <a:grpSpLocks/>
          </p:cNvGrpSpPr>
          <p:nvPr/>
        </p:nvGrpSpPr>
        <p:grpSpPr bwMode="auto">
          <a:xfrm>
            <a:off x="4764088" y="2492375"/>
            <a:ext cx="1806575" cy="1871663"/>
            <a:chOff x="3376" y="1570"/>
            <a:chExt cx="1281" cy="1179"/>
          </a:xfrm>
        </p:grpSpPr>
        <p:sp>
          <p:nvSpPr>
            <p:cNvPr id="863299" name="Freeform 90"/>
            <p:cNvSpPr>
              <a:spLocks/>
            </p:cNvSpPr>
            <p:nvPr/>
          </p:nvSpPr>
          <p:spPr bwMode="auto">
            <a:xfrm>
              <a:off x="3376" y="1570"/>
              <a:ext cx="772" cy="1179"/>
            </a:xfrm>
            <a:custGeom>
              <a:avLst/>
              <a:gdLst>
                <a:gd name="T0" fmla="*/ 0 w 726"/>
                <a:gd name="T1" fmla="*/ 129312 h 689"/>
                <a:gd name="T2" fmla="*/ 820 w 726"/>
                <a:gd name="T3" fmla="*/ 129312 h 689"/>
                <a:gd name="T4" fmla="*/ 1511 w 726"/>
                <a:gd name="T5" fmla="*/ 848959 h 689"/>
                <a:gd name="T6" fmla="*/ 2055 w 726"/>
                <a:gd name="T7" fmla="*/ 4431332 h 689"/>
                <a:gd name="T8" fmla="*/ 2195 w 726"/>
                <a:gd name="T9" fmla="*/ 10897608 h 689"/>
                <a:gd name="T10" fmla="*/ 0 60000 65536"/>
                <a:gd name="T11" fmla="*/ 0 60000 65536"/>
                <a:gd name="T12" fmla="*/ 0 60000 65536"/>
                <a:gd name="T13" fmla="*/ 0 60000 65536"/>
                <a:gd name="T14" fmla="*/ 0 60000 65536"/>
                <a:gd name="T15" fmla="*/ 0 w 726"/>
                <a:gd name="T16" fmla="*/ 0 h 689"/>
                <a:gd name="T17" fmla="*/ 726 w 726"/>
                <a:gd name="T18" fmla="*/ 689 h 689"/>
              </a:gdLst>
              <a:ahLst/>
              <a:cxnLst>
                <a:cxn ang="T10">
                  <a:pos x="T0" y="T1"/>
                </a:cxn>
                <a:cxn ang="T11">
                  <a:pos x="T2" y="T3"/>
                </a:cxn>
                <a:cxn ang="T12">
                  <a:pos x="T4" y="T5"/>
                </a:cxn>
                <a:cxn ang="T13">
                  <a:pos x="T6" y="T7"/>
                </a:cxn>
                <a:cxn ang="T14">
                  <a:pos x="T8" y="T9"/>
                </a:cxn>
              </a:cxnLst>
              <a:rect l="T15" t="T16" r="T17" b="T18"/>
              <a:pathLst>
                <a:path w="726" h="689">
                  <a:moveTo>
                    <a:pt x="0" y="8"/>
                  </a:moveTo>
                  <a:cubicBezTo>
                    <a:pt x="94" y="4"/>
                    <a:pt x="189" y="0"/>
                    <a:pt x="272" y="8"/>
                  </a:cubicBezTo>
                  <a:cubicBezTo>
                    <a:pt x="355" y="16"/>
                    <a:pt x="431" y="9"/>
                    <a:pt x="499" y="54"/>
                  </a:cubicBezTo>
                  <a:cubicBezTo>
                    <a:pt x="567" y="99"/>
                    <a:pt x="642" y="174"/>
                    <a:pt x="680" y="280"/>
                  </a:cubicBezTo>
                  <a:cubicBezTo>
                    <a:pt x="718" y="386"/>
                    <a:pt x="722" y="537"/>
                    <a:pt x="726" y="689"/>
                  </a:cubicBezTo>
                </a:path>
              </a:pathLst>
            </a:custGeom>
            <a:noFill/>
            <a:ln w="19050">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300" name="Text Box 91"/>
            <p:cNvSpPr txBox="1">
              <a:spLocks noChangeArrowheads="1"/>
            </p:cNvSpPr>
            <p:nvPr/>
          </p:nvSpPr>
          <p:spPr bwMode="auto">
            <a:xfrm>
              <a:off x="4011" y="1616"/>
              <a:ext cx="646" cy="640"/>
            </a:xfrm>
            <a:prstGeom prst="rect">
              <a:avLst/>
            </a:prstGeom>
            <a:solidFill>
              <a:schemeClr val="bg1"/>
            </a:solid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PTHrP</a:t>
              </a:r>
            </a:p>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TNFa</a:t>
              </a:r>
            </a:p>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PDGF</a:t>
              </a:r>
            </a:p>
          </p:txBody>
        </p:sp>
      </p:grpSp>
      <p:sp>
        <p:nvSpPr>
          <p:cNvPr id="863269" name="Rectangle 92"/>
          <p:cNvSpPr>
            <a:spLocks noChangeArrowheads="1"/>
          </p:cNvSpPr>
          <p:nvPr/>
        </p:nvSpPr>
        <p:spPr bwMode="auto">
          <a:xfrm>
            <a:off x="6228184" y="476672"/>
            <a:ext cx="1095375" cy="369888"/>
          </a:xfrm>
          <a:prstGeom prst="rect">
            <a:avLst/>
          </a:prstGeom>
          <a:solidFill>
            <a:schemeClr val="bg1"/>
          </a:solid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i="1" dirty="0" err="1">
                <a:solidFill>
                  <a:srgbClr val="000000"/>
                </a:solidFill>
                <a:latin typeface="Garamond" pitchFamily="18" charset="0"/>
                <a:ea typeface="ＭＳ Ｐゴシック" pitchFamily="34" charset="-128"/>
              </a:rPr>
              <a:t>Cancer</a:t>
            </a:r>
            <a:r>
              <a:rPr lang="it-IT" i="1" dirty="0">
                <a:solidFill>
                  <a:srgbClr val="000000"/>
                </a:solidFill>
                <a:latin typeface="Garamond" pitchFamily="18" charset="0"/>
                <a:ea typeface="ＭＳ Ｐゴシック" pitchFamily="34" charset="-128"/>
              </a:rPr>
              <a:t> </a:t>
            </a:r>
            <a:r>
              <a:rPr lang="it-IT" i="1" dirty="0" err="1">
                <a:solidFill>
                  <a:srgbClr val="000000"/>
                </a:solidFill>
                <a:latin typeface="Garamond" pitchFamily="18" charset="0"/>
                <a:ea typeface="ＭＳ Ｐゴシック" pitchFamily="34" charset="-128"/>
              </a:rPr>
              <a:t>Cell</a:t>
            </a:r>
            <a:endParaRPr lang="it-IT" i="1" dirty="0">
              <a:solidFill>
                <a:srgbClr val="000000"/>
              </a:solidFill>
              <a:latin typeface="Garamond" pitchFamily="18" charset="0"/>
              <a:ea typeface="ＭＳ Ｐゴシック" pitchFamily="34" charset="-128"/>
            </a:endParaRPr>
          </a:p>
        </p:txBody>
      </p:sp>
      <p:sp>
        <p:nvSpPr>
          <p:cNvPr id="863270" name="Line 93"/>
          <p:cNvSpPr>
            <a:spLocks noChangeShapeType="1"/>
          </p:cNvSpPr>
          <p:nvPr/>
        </p:nvSpPr>
        <p:spPr bwMode="auto">
          <a:xfrm>
            <a:off x="6427788" y="1196975"/>
            <a:ext cx="576262" cy="0"/>
          </a:xfrm>
          <a:prstGeom prst="line">
            <a:avLst/>
          </a:prstGeom>
          <a:noFill/>
          <a:ln w="12700">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nvGrpSpPr>
          <p:cNvPr id="25" name="Group 94"/>
          <p:cNvGrpSpPr>
            <a:grpSpLocks/>
          </p:cNvGrpSpPr>
          <p:nvPr/>
        </p:nvGrpSpPr>
        <p:grpSpPr bwMode="auto">
          <a:xfrm>
            <a:off x="4122738" y="2924175"/>
            <a:ext cx="1473200" cy="2736850"/>
            <a:chOff x="2922" y="1842"/>
            <a:chExt cx="1044" cy="1724"/>
          </a:xfrm>
        </p:grpSpPr>
        <p:grpSp>
          <p:nvGrpSpPr>
            <p:cNvPr id="26" name="Group 95"/>
            <p:cNvGrpSpPr>
              <a:grpSpLocks/>
            </p:cNvGrpSpPr>
            <p:nvPr/>
          </p:nvGrpSpPr>
          <p:grpSpPr bwMode="auto">
            <a:xfrm>
              <a:off x="2922" y="1842"/>
              <a:ext cx="623" cy="1724"/>
              <a:chOff x="2922" y="1842"/>
              <a:chExt cx="623" cy="1724"/>
            </a:xfrm>
          </p:grpSpPr>
          <p:sp>
            <p:nvSpPr>
              <p:cNvPr id="863296" name="Text Box 96"/>
              <p:cNvSpPr txBox="1">
                <a:spLocks noChangeArrowheads="1"/>
              </p:cNvSpPr>
              <p:nvPr/>
            </p:nvSpPr>
            <p:spPr bwMode="auto">
              <a:xfrm>
                <a:off x="2968" y="2189"/>
                <a:ext cx="577" cy="834"/>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TGFb</a:t>
                </a:r>
              </a:p>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BMPs</a:t>
                </a:r>
              </a:p>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OPN</a:t>
                </a:r>
              </a:p>
              <a:p>
                <a:pPr eaLnBrk="0" fontAlgn="base" hangingPunct="0">
                  <a:spcBef>
                    <a:spcPct val="0"/>
                  </a:spcBef>
                  <a:spcAft>
                    <a:spcPct val="0"/>
                  </a:spcAft>
                </a:pPr>
                <a:r>
                  <a:rPr lang="it-IT" sz="2000">
                    <a:solidFill>
                      <a:srgbClr val="000000"/>
                    </a:solidFill>
                    <a:latin typeface="Garamond" pitchFamily="18" charset="0"/>
                    <a:ea typeface="ＭＳ Ｐゴシック" pitchFamily="34" charset="-128"/>
                  </a:rPr>
                  <a:t>BSP</a:t>
                </a:r>
              </a:p>
            </p:txBody>
          </p:sp>
          <p:sp>
            <p:nvSpPr>
              <p:cNvPr id="863297" name="Freeform 97"/>
              <p:cNvSpPr>
                <a:spLocks/>
              </p:cNvSpPr>
              <p:nvPr/>
            </p:nvSpPr>
            <p:spPr bwMode="auto">
              <a:xfrm rot="2013765">
                <a:off x="2922" y="3067"/>
                <a:ext cx="272" cy="499"/>
              </a:xfrm>
              <a:custGeom>
                <a:avLst/>
                <a:gdLst>
                  <a:gd name="T0" fmla="*/ 272 w 272"/>
                  <a:gd name="T1" fmla="*/ 499 h 499"/>
                  <a:gd name="T2" fmla="*/ 0 w 272"/>
                  <a:gd name="T3" fmla="*/ 0 h 499"/>
                  <a:gd name="T4" fmla="*/ 0 60000 65536"/>
                  <a:gd name="T5" fmla="*/ 0 60000 65536"/>
                  <a:gd name="T6" fmla="*/ 0 w 272"/>
                  <a:gd name="T7" fmla="*/ 0 h 499"/>
                  <a:gd name="T8" fmla="*/ 272 w 272"/>
                  <a:gd name="T9" fmla="*/ 499 h 499"/>
                </a:gdLst>
                <a:ahLst/>
                <a:cxnLst>
                  <a:cxn ang="T4">
                    <a:pos x="T0" y="T1"/>
                  </a:cxn>
                  <a:cxn ang="T5">
                    <a:pos x="T2" y="T3"/>
                  </a:cxn>
                </a:cxnLst>
                <a:rect l="T6" t="T7" r="T8" b="T9"/>
                <a:pathLst>
                  <a:path w="272" h="499">
                    <a:moveTo>
                      <a:pt x="272" y="499"/>
                    </a:moveTo>
                    <a:cubicBezTo>
                      <a:pt x="158" y="291"/>
                      <a:pt x="45" y="83"/>
                      <a:pt x="0" y="0"/>
                    </a:cubicBezTo>
                  </a:path>
                </a:pathLst>
              </a:custGeom>
              <a:noFill/>
              <a:ln w="19050">
                <a:solidFill>
                  <a:schemeClr val="tx1"/>
                </a:solidFill>
                <a:round/>
                <a:headEnd/>
                <a:tailEnd type="arrow"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98" name="Line 98"/>
              <p:cNvSpPr>
                <a:spLocks noChangeShapeType="1"/>
              </p:cNvSpPr>
              <p:nvPr/>
            </p:nvSpPr>
            <p:spPr bwMode="auto">
              <a:xfrm flipH="1" flipV="1">
                <a:off x="3104" y="1842"/>
                <a:ext cx="45" cy="363"/>
              </a:xfrm>
              <a:prstGeom prst="line">
                <a:avLst/>
              </a:prstGeom>
              <a:noFill/>
              <a:ln w="19050">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sp>
          <p:nvSpPr>
            <p:cNvPr id="863295" name="Freeform 99"/>
            <p:cNvSpPr>
              <a:spLocks/>
            </p:cNvSpPr>
            <p:nvPr/>
          </p:nvSpPr>
          <p:spPr bwMode="auto">
            <a:xfrm>
              <a:off x="3467" y="2651"/>
              <a:ext cx="499" cy="99"/>
            </a:xfrm>
            <a:custGeom>
              <a:avLst/>
              <a:gdLst>
                <a:gd name="T0" fmla="*/ 0 w 499"/>
                <a:gd name="T1" fmla="*/ 53 h 99"/>
                <a:gd name="T2" fmla="*/ 317 w 499"/>
                <a:gd name="T3" fmla="*/ 8 h 99"/>
                <a:gd name="T4" fmla="*/ 499 w 499"/>
                <a:gd name="T5" fmla="*/ 99 h 99"/>
                <a:gd name="T6" fmla="*/ 0 60000 65536"/>
                <a:gd name="T7" fmla="*/ 0 60000 65536"/>
                <a:gd name="T8" fmla="*/ 0 60000 65536"/>
                <a:gd name="T9" fmla="*/ 0 w 499"/>
                <a:gd name="T10" fmla="*/ 0 h 99"/>
                <a:gd name="T11" fmla="*/ 499 w 499"/>
                <a:gd name="T12" fmla="*/ 99 h 99"/>
              </a:gdLst>
              <a:ahLst/>
              <a:cxnLst>
                <a:cxn ang="T6">
                  <a:pos x="T0" y="T1"/>
                </a:cxn>
                <a:cxn ang="T7">
                  <a:pos x="T2" y="T3"/>
                </a:cxn>
                <a:cxn ang="T8">
                  <a:pos x="T4" y="T5"/>
                </a:cxn>
              </a:cxnLst>
              <a:rect l="T9" t="T10" r="T11" b="T12"/>
              <a:pathLst>
                <a:path w="499" h="99">
                  <a:moveTo>
                    <a:pt x="0" y="53"/>
                  </a:moveTo>
                  <a:cubicBezTo>
                    <a:pt x="117" y="26"/>
                    <a:pt x="234" y="0"/>
                    <a:pt x="317" y="8"/>
                  </a:cubicBezTo>
                  <a:cubicBezTo>
                    <a:pt x="400" y="16"/>
                    <a:pt x="449" y="57"/>
                    <a:pt x="499" y="99"/>
                  </a:cubicBezTo>
                </a:path>
              </a:pathLst>
            </a:custGeom>
            <a:noFill/>
            <a:ln w="19050">
              <a:solidFill>
                <a:schemeClr val="tx1"/>
              </a:solidFill>
              <a:round/>
              <a:headEnd/>
              <a:tailEnd type="arrow"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27" name="Group 100"/>
          <p:cNvGrpSpPr>
            <a:grpSpLocks/>
          </p:cNvGrpSpPr>
          <p:nvPr/>
        </p:nvGrpSpPr>
        <p:grpSpPr bwMode="auto">
          <a:xfrm>
            <a:off x="138113" y="3232150"/>
            <a:ext cx="1425575" cy="1492250"/>
            <a:chOff x="98" y="2036"/>
            <a:chExt cx="1010" cy="940"/>
          </a:xfrm>
        </p:grpSpPr>
        <p:sp>
          <p:nvSpPr>
            <p:cNvPr id="863292" name="Text Box 101"/>
            <p:cNvSpPr txBox="1">
              <a:spLocks noChangeArrowheads="1"/>
            </p:cNvSpPr>
            <p:nvPr/>
          </p:nvSpPr>
          <p:spPr bwMode="auto">
            <a:xfrm>
              <a:off x="98" y="2036"/>
              <a:ext cx="553" cy="756"/>
            </a:xfrm>
            <a:prstGeom prst="rect">
              <a:avLst/>
            </a:prstGeom>
            <a:noFill/>
            <a:ln w="9525">
              <a:solidFill>
                <a:schemeClr val="tx1"/>
              </a:solidFill>
              <a:miter lim="800000"/>
              <a:headEnd/>
              <a:tailEnd/>
            </a:ln>
          </p:spPr>
          <p:txBody>
            <a:bodyPr wrap="none" lIns="91404" tIns="45702" rIns="91404" bIns="45702">
              <a:spAutoFit/>
            </a:bodyPr>
            <a:lstStyle/>
            <a:p>
              <a:pPr eaLnBrk="0" fontAlgn="base" hangingPunct="0">
                <a:spcBef>
                  <a:spcPct val="0"/>
                </a:spcBef>
                <a:spcAft>
                  <a:spcPct val="0"/>
                </a:spcAft>
              </a:pPr>
              <a:r>
                <a:rPr lang="it-IT">
                  <a:solidFill>
                    <a:srgbClr val="000000"/>
                  </a:solidFill>
                  <a:latin typeface="Garamond" pitchFamily="18" charset="0"/>
                  <a:ea typeface="ＭＳ Ｐゴシック" pitchFamily="34" charset="-128"/>
                </a:rPr>
                <a:t>PTH</a:t>
              </a:r>
            </a:p>
            <a:p>
              <a:pPr eaLnBrk="0" fontAlgn="base" hangingPunct="0">
                <a:spcBef>
                  <a:spcPct val="0"/>
                </a:spcBef>
                <a:spcAft>
                  <a:spcPct val="0"/>
                </a:spcAft>
              </a:pPr>
              <a:r>
                <a:rPr lang="it-IT">
                  <a:solidFill>
                    <a:srgbClr val="000000"/>
                  </a:solidFill>
                  <a:latin typeface="Garamond" pitchFamily="18" charset="0"/>
                  <a:ea typeface="ＭＳ Ｐゴシック" pitchFamily="34" charset="-128"/>
                </a:rPr>
                <a:t>TNF</a:t>
              </a:r>
              <a:r>
                <a:rPr lang="it-IT">
                  <a:solidFill>
                    <a:srgbClr val="000000"/>
                  </a:solidFill>
                  <a:latin typeface="Symbol" pitchFamily="18" charset="2"/>
                  <a:ea typeface="ＭＳ Ｐゴシック" pitchFamily="34" charset="-128"/>
                </a:rPr>
                <a:t>a</a:t>
              </a:r>
            </a:p>
            <a:p>
              <a:pPr eaLnBrk="0" fontAlgn="base" hangingPunct="0">
                <a:spcBef>
                  <a:spcPct val="0"/>
                </a:spcBef>
                <a:spcAft>
                  <a:spcPct val="0"/>
                </a:spcAft>
              </a:pPr>
              <a:r>
                <a:rPr lang="it-IT">
                  <a:solidFill>
                    <a:srgbClr val="000000"/>
                  </a:solidFill>
                  <a:latin typeface="Symbol" pitchFamily="18" charset="2"/>
                  <a:ea typeface="ＭＳ Ｐゴシック" pitchFamily="34" charset="-128"/>
                </a:rPr>
                <a:t>I</a:t>
              </a:r>
              <a:r>
                <a:rPr lang="it-IT">
                  <a:solidFill>
                    <a:srgbClr val="000000"/>
                  </a:solidFill>
                  <a:latin typeface="Garamond" pitchFamily="18" charset="0"/>
                  <a:ea typeface="ＭＳ Ｐゴシック" pitchFamily="34" charset="-128"/>
                </a:rPr>
                <a:t>L-6</a:t>
              </a:r>
              <a:endParaRPr lang="it-IT">
                <a:solidFill>
                  <a:srgbClr val="000000"/>
                </a:solidFill>
                <a:latin typeface="Symbol" pitchFamily="18" charset="2"/>
                <a:ea typeface="ＭＳ Ｐゴシック" pitchFamily="34" charset="-128"/>
              </a:endParaRPr>
            </a:p>
            <a:p>
              <a:pPr eaLnBrk="0" fontAlgn="base" hangingPunct="0">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93" name="Freeform 102"/>
            <p:cNvSpPr>
              <a:spLocks/>
            </p:cNvSpPr>
            <p:nvPr/>
          </p:nvSpPr>
          <p:spPr bwMode="auto">
            <a:xfrm>
              <a:off x="609" y="2296"/>
              <a:ext cx="499" cy="680"/>
            </a:xfrm>
            <a:custGeom>
              <a:avLst/>
              <a:gdLst>
                <a:gd name="T0" fmla="*/ 0 w 499"/>
                <a:gd name="T1" fmla="*/ 1 h 681"/>
                <a:gd name="T2" fmla="*/ 272 w 499"/>
                <a:gd name="T3" fmla="*/ 91 h 681"/>
                <a:gd name="T4" fmla="*/ 318 w 499"/>
                <a:gd name="T5" fmla="*/ 527 h 681"/>
                <a:gd name="T6" fmla="*/ 499 w 499"/>
                <a:gd name="T7" fmla="*/ 663 h 681"/>
                <a:gd name="T8" fmla="*/ 0 60000 65536"/>
                <a:gd name="T9" fmla="*/ 0 60000 65536"/>
                <a:gd name="T10" fmla="*/ 0 60000 65536"/>
                <a:gd name="T11" fmla="*/ 0 60000 65536"/>
                <a:gd name="T12" fmla="*/ 0 w 499"/>
                <a:gd name="T13" fmla="*/ 0 h 681"/>
                <a:gd name="T14" fmla="*/ 499 w 499"/>
                <a:gd name="T15" fmla="*/ 681 h 681"/>
              </a:gdLst>
              <a:ahLst/>
              <a:cxnLst>
                <a:cxn ang="T8">
                  <a:pos x="T0" y="T1"/>
                </a:cxn>
                <a:cxn ang="T9">
                  <a:pos x="T2" y="T3"/>
                </a:cxn>
                <a:cxn ang="T10">
                  <a:pos x="T4" y="T5"/>
                </a:cxn>
                <a:cxn ang="T11">
                  <a:pos x="T6" y="T7"/>
                </a:cxn>
              </a:cxnLst>
              <a:rect l="T12" t="T13" r="T14" b="T15"/>
              <a:pathLst>
                <a:path w="499" h="681">
                  <a:moveTo>
                    <a:pt x="0" y="1"/>
                  </a:moveTo>
                  <a:cubicBezTo>
                    <a:pt x="109" y="0"/>
                    <a:pt x="219" y="0"/>
                    <a:pt x="272" y="91"/>
                  </a:cubicBezTo>
                  <a:cubicBezTo>
                    <a:pt x="325" y="182"/>
                    <a:pt x="280" y="447"/>
                    <a:pt x="318" y="545"/>
                  </a:cubicBezTo>
                  <a:cubicBezTo>
                    <a:pt x="356" y="643"/>
                    <a:pt x="427" y="662"/>
                    <a:pt x="499" y="681"/>
                  </a:cubicBezTo>
                </a:path>
              </a:pathLst>
            </a:custGeom>
            <a:noFill/>
            <a:ln w="19050">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grpSp>
        <p:nvGrpSpPr>
          <p:cNvPr id="28" name="Group 103"/>
          <p:cNvGrpSpPr>
            <a:grpSpLocks/>
          </p:cNvGrpSpPr>
          <p:nvPr/>
        </p:nvGrpSpPr>
        <p:grpSpPr bwMode="auto">
          <a:xfrm>
            <a:off x="3131840" y="404664"/>
            <a:ext cx="5328356" cy="2741612"/>
            <a:chOff x="2015" y="255"/>
            <a:chExt cx="3776" cy="1727"/>
          </a:xfrm>
        </p:grpSpPr>
        <p:grpSp>
          <p:nvGrpSpPr>
            <p:cNvPr id="29" name="Group 104"/>
            <p:cNvGrpSpPr>
              <a:grpSpLocks/>
            </p:cNvGrpSpPr>
            <p:nvPr/>
          </p:nvGrpSpPr>
          <p:grpSpPr bwMode="auto">
            <a:xfrm>
              <a:off x="2015" y="255"/>
              <a:ext cx="3776" cy="1727"/>
              <a:chOff x="2287" y="255"/>
              <a:chExt cx="3776" cy="1727"/>
            </a:xfrm>
          </p:grpSpPr>
          <p:sp>
            <p:nvSpPr>
              <p:cNvPr id="863279" name="Freeform 105"/>
              <p:cNvSpPr>
                <a:spLocks/>
              </p:cNvSpPr>
              <p:nvPr/>
            </p:nvSpPr>
            <p:spPr bwMode="auto">
              <a:xfrm>
                <a:off x="4102" y="482"/>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1">
                <a:gsLst>
                  <a:gs pos="0">
                    <a:srgbClr val="0099FF"/>
                  </a:gs>
                  <a:gs pos="100000">
                    <a:srgbClr val="004776"/>
                  </a:gs>
                </a:gsLst>
                <a:path path="rect">
                  <a:fillToRect l="50000" t="50000" r="50000" b="5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80" name="Freeform 106"/>
              <p:cNvSpPr>
                <a:spLocks/>
              </p:cNvSpPr>
              <p:nvPr/>
            </p:nvSpPr>
            <p:spPr bwMode="auto">
              <a:xfrm>
                <a:off x="3149" y="482"/>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1">
                <a:gsLst>
                  <a:gs pos="0">
                    <a:srgbClr val="0099FF"/>
                  </a:gs>
                  <a:gs pos="100000">
                    <a:srgbClr val="004776"/>
                  </a:gs>
                </a:gsLst>
                <a:path path="rect">
                  <a:fillToRect l="50000" t="50000" r="50000" b="50000"/>
                </a:path>
              </a:gradFill>
              <a:ln w="9525">
                <a:solidFill>
                  <a:schemeClr val="bg1"/>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nvGrpSpPr>
              <p:cNvPr id="30" name="Group 107"/>
              <p:cNvGrpSpPr>
                <a:grpSpLocks/>
              </p:cNvGrpSpPr>
              <p:nvPr/>
            </p:nvGrpSpPr>
            <p:grpSpPr bwMode="auto">
              <a:xfrm>
                <a:off x="2450" y="832"/>
                <a:ext cx="306" cy="534"/>
                <a:chOff x="2450" y="832"/>
                <a:chExt cx="306" cy="534"/>
              </a:xfrm>
            </p:grpSpPr>
            <p:sp>
              <p:nvSpPr>
                <p:cNvPr id="863290" name="Freeform 108"/>
                <p:cNvSpPr>
                  <a:spLocks/>
                </p:cNvSpPr>
                <p:nvPr/>
              </p:nvSpPr>
              <p:spPr bwMode="auto">
                <a:xfrm>
                  <a:off x="2450" y="832"/>
                  <a:ext cx="306" cy="534"/>
                </a:xfrm>
                <a:custGeom>
                  <a:avLst/>
                  <a:gdLst>
                    <a:gd name="T0" fmla="*/ 6 w 306"/>
                    <a:gd name="T1" fmla="*/ 7 h 534"/>
                    <a:gd name="T2" fmla="*/ 16 w 306"/>
                    <a:gd name="T3" fmla="*/ 269 h 534"/>
                    <a:gd name="T4" fmla="*/ 56 w 306"/>
                    <a:gd name="T5" fmla="*/ 280 h 534"/>
                    <a:gd name="T6" fmla="*/ 66 w 306"/>
                    <a:gd name="T7" fmla="*/ 330 h 534"/>
                    <a:gd name="T8" fmla="*/ 66 w 306"/>
                    <a:gd name="T9" fmla="*/ 401 h 534"/>
                    <a:gd name="T10" fmla="*/ 127 w 306"/>
                    <a:gd name="T11" fmla="*/ 421 h 534"/>
                    <a:gd name="T12" fmla="*/ 157 w 306"/>
                    <a:gd name="T13" fmla="*/ 441 h 534"/>
                    <a:gd name="T14" fmla="*/ 278 w 306"/>
                    <a:gd name="T15" fmla="*/ 502 h 534"/>
                    <a:gd name="T16" fmla="*/ 200 w 306"/>
                    <a:gd name="T17" fmla="*/ 375 h 534"/>
                    <a:gd name="T18" fmla="*/ 155 w 306"/>
                    <a:gd name="T19" fmla="*/ 330 h 534"/>
                    <a:gd name="T20" fmla="*/ 200 w 306"/>
                    <a:gd name="T21" fmla="*/ 285 h 534"/>
                    <a:gd name="T22" fmla="*/ 291 w 306"/>
                    <a:gd name="T23" fmla="*/ 239 h 534"/>
                    <a:gd name="T24" fmla="*/ 200 w 306"/>
                    <a:gd name="T25" fmla="*/ 13 h 534"/>
                    <a:gd name="T26" fmla="*/ 6 w 306"/>
                    <a:gd name="T27" fmla="*/ 7 h 5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6"/>
                    <a:gd name="T43" fmla="*/ 0 h 534"/>
                    <a:gd name="T44" fmla="*/ 306 w 306"/>
                    <a:gd name="T45" fmla="*/ 534 h 5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6" h="534">
                      <a:moveTo>
                        <a:pt x="6" y="7"/>
                      </a:moveTo>
                      <a:cubicBezTo>
                        <a:pt x="9" y="94"/>
                        <a:pt x="0" y="183"/>
                        <a:pt x="16" y="269"/>
                      </a:cubicBezTo>
                      <a:cubicBezTo>
                        <a:pt x="18" y="283"/>
                        <a:pt x="47" y="269"/>
                        <a:pt x="56" y="280"/>
                      </a:cubicBezTo>
                      <a:cubicBezTo>
                        <a:pt x="67" y="293"/>
                        <a:pt x="63" y="313"/>
                        <a:pt x="66" y="330"/>
                      </a:cubicBezTo>
                      <a:cubicBezTo>
                        <a:pt x="59" y="350"/>
                        <a:pt x="43" y="381"/>
                        <a:pt x="66" y="401"/>
                      </a:cubicBezTo>
                      <a:cubicBezTo>
                        <a:pt x="82" y="415"/>
                        <a:pt x="107" y="414"/>
                        <a:pt x="127" y="421"/>
                      </a:cubicBezTo>
                      <a:cubicBezTo>
                        <a:pt x="138" y="425"/>
                        <a:pt x="147" y="434"/>
                        <a:pt x="157" y="441"/>
                      </a:cubicBezTo>
                      <a:cubicBezTo>
                        <a:pt x="187" y="534"/>
                        <a:pt x="156" y="502"/>
                        <a:pt x="278" y="502"/>
                      </a:cubicBezTo>
                      <a:cubicBezTo>
                        <a:pt x="306" y="426"/>
                        <a:pt x="300" y="475"/>
                        <a:pt x="200" y="375"/>
                      </a:cubicBezTo>
                      <a:cubicBezTo>
                        <a:pt x="185" y="360"/>
                        <a:pt x="155" y="330"/>
                        <a:pt x="155" y="330"/>
                      </a:cubicBezTo>
                      <a:cubicBezTo>
                        <a:pt x="170" y="315"/>
                        <a:pt x="182" y="297"/>
                        <a:pt x="200" y="285"/>
                      </a:cubicBezTo>
                      <a:cubicBezTo>
                        <a:pt x="228" y="266"/>
                        <a:pt x="284" y="272"/>
                        <a:pt x="291" y="239"/>
                      </a:cubicBezTo>
                      <a:cubicBezTo>
                        <a:pt x="297" y="208"/>
                        <a:pt x="262" y="26"/>
                        <a:pt x="200" y="13"/>
                      </a:cubicBezTo>
                      <a:cubicBezTo>
                        <a:pt x="137" y="0"/>
                        <a:pt x="71" y="9"/>
                        <a:pt x="6" y="7"/>
                      </a:cubicBezTo>
                      <a:close/>
                    </a:path>
                  </a:pathLst>
                </a:custGeom>
                <a:gradFill rotWithShape="1">
                  <a:gsLst>
                    <a:gs pos="0">
                      <a:srgbClr val="0099FF"/>
                    </a:gs>
                    <a:gs pos="100000">
                      <a:srgbClr val="004776"/>
                    </a:gs>
                  </a:gsLst>
                  <a:path path="rect">
                    <a:fillToRect l="50000" t="50000" r="50000" b="50000"/>
                  </a:path>
                </a:gra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91" name="Oval 109"/>
                <p:cNvSpPr>
                  <a:spLocks noChangeArrowheads="1"/>
                </p:cNvSpPr>
                <p:nvPr/>
              </p:nvSpPr>
              <p:spPr bwMode="auto">
                <a:xfrm>
                  <a:off x="2605" y="981"/>
                  <a:ext cx="45" cy="90"/>
                </a:xfrm>
                <a:prstGeom prst="ellipse">
                  <a:avLst/>
                </a:prstGeom>
                <a:solidFill>
                  <a:schemeClr val="tx1"/>
                </a:solidFill>
                <a:ln w="9525">
                  <a:solidFill>
                    <a:schemeClr val="tx1"/>
                  </a:solidFill>
                  <a:round/>
                  <a:headEnd/>
                  <a:tailEnd/>
                </a:ln>
              </p:spPr>
              <p:txBody>
                <a:bodyPr wrap="none" lIns="91404" tIns="45702" rIns="91404" bIns="45702" anchor="ctr"/>
                <a:lstStyle/>
                <a:p>
                  <a:pPr algn="ctr" eaLnBrk="0" fontAlgn="base" hangingPunct="0">
                    <a:spcBef>
                      <a:spcPct val="0"/>
                    </a:spcBef>
                    <a:spcAft>
                      <a:spcPct val="0"/>
                    </a:spcAft>
                  </a:pPr>
                  <a:endParaRPr lang="it-IT" sz="2400">
                    <a:solidFill>
                      <a:srgbClr val="000000"/>
                    </a:solidFill>
                    <a:latin typeface="Garamond" pitchFamily="18" charset="0"/>
                    <a:ea typeface="ＭＳ Ｐゴシック" pitchFamily="34" charset="-128"/>
                  </a:endParaRPr>
                </a:p>
              </p:txBody>
            </p:sp>
          </p:grpSp>
          <p:sp>
            <p:nvSpPr>
              <p:cNvPr id="863282" name="Freeform 110"/>
              <p:cNvSpPr>
                <a:spLocks/>
              </p:cNvSpPr>
              <p:nvPr/>
            </p:nvSpPr>
            <p:spPr bwMode="auto">
              <a:xfrm flipH="1">
                <a:off x="2287" y="527"/>
                <a:ext cx="273" cy="242"/>
              </a:xfrm>
              <a:custGeom>
                <a:avLst/>
                <a:gdLst>
                  <a:gd name="T0" fmla="*/ 3 w 362"/>
                  <a:gd name="T1" fmla="*/ 42425145 h 106"/>
                  <a:gd name="T2" fmla="*/ 2 w 362"/>
                  <a:gd name="T3" fmla="*/ 42425145 h 106"/>
                  <a:gd name="T4" fmla="*/ 0 w 362"/>
                  <a:gd name="T5" fmla="*/ 300650705 h 106"/>
                  <a:gd name="T6" fmla="*/ 0 60000 65536"/>
                  <a:gd name="T7" fmla="*/ 0 60000 65536"/>
                  <a:gd name="T8" fmla="*/ 0 60000 65536"/>
                  <a:gd name="T9" fmla="*/ 0 w 362"/>
                  <a:gd name="T10" fmla="*/ 0 h 106"/>
                  <a:gd name="T11" fmla="*/ 362 w 362"/>
                  <a:gd name="T12" fmla="*/ 106 h 106"/>
                </a:gdLst>
                <a:ahLst/>
                <a:cxnLst>
                  <a:cxn ang="T6">
                    <a:pos x="T0" y="T1"/>
                  </a:cxn>
                  <a:cxn ang="T7">
                    <a:pos x="T2" y="T3"/>
                  </a:cxn>
                  <a:cxn ang="T8">
                    <a:pos x="T4" y="T5"/>
                  </a:cxn>
                </a:cxnLst>
                <a:rect l="T9" t="T10" r="T11" b="T12"/>
                <a:pathLst>
                  <a:path w="362" h="106">
                    <a:moveTo>
                      <a:pt x="362" y="15"/>
                    </a:moveTo>
                    <a:cubicBezTo>
                      <a:pt x="279" y="7"/>
                      <a:pt x="196" y="0"/>
                      <a:pt x="136" y="15"/>
                    </a:cubicBezTo>
                    <a:cubicBezTo>
                      <a:pt x="76" y="30"/>
                      <a:pt x="38" y="68"/>
                      <a:pt x="0" y="106"/>
                    </a:cubicBezTo>
                  </a:path>
                </a:pathLst>
              </a:custGeom>
              <a:noFill/>
              <a:ln w="28575">
                <a:solidFill>
                  <a:schemeClr val="tx1"/>
                </a:solidFill>
                <a:round/>
                <a:headEnd/>
                <a:tailEnd type="arrow"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nvGrpSpPr>
              <p:cNvPr id="31" name="Group 111"/>
              <p:cNvGrpSpPr>
                <a:grpSpLocks/>
              </p:cNvGrpSpPr>
              <p:nvPr/>
            </p:nvGrpSpPr>
            <p:grpSpPr bwMode="auto">
              <a:xfrm>
                <a:off x="5054" y="255"/>
                <a:ext cx="1009" cy="1727"/>
                <a:chOff x="5054" y="255"/>
                <a:chExt cx="1009" cy="1727"/>
              </a:xfrm>
            </p:grpSpPr>
            <p:sp>
              <p:nvSpPr>
                <p:cNvPr id="863284" name="Rectangle 112"/>
                <p:cNvSpPr>
                  <a:spLocks noChangeArrowheads="1"/>
                </p:cNvSpPr>
                <p:nvPr/>
              </p:nvSpPr>
              <p:spPr bwMode="auto">
                <a:xfrm>
                  <a:off x="5054" y="618"/>
                  <a:ext cx="1009" cy="1361"/>
                </a:xfrm>
                <a:prstGeom prst="rect">
                  <a:avLst/>
                </a:prstGeom>
                <a:solidFill>
                  <a:schemeClr val="bg2">
                    <a:lumMod val="20000"/>
                    <a:lumOff val="80000"/>
                  </a:schemeClr>
                </a:solidFill>
                <a:ln w="9525">
                  <a:solidFill>
                    <a:schemeClr val="tx1"/>
                  </a:solidFill>
                  <a:miter lim="800000"/>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85" name="Text Box 113"/>
                <p:cNvSpPr txBox="1">
                  <a:spLocks noChangeArrowheads="1"/>
                </p:cNvSpPr>
                <p:nvPr/>
              </p:nvSpPr>
              <p:spPr bwMode="auto">
                <a:xfrm>
                  <a:off x="5349" y="255"/>
                  <a:ext cx="702" cy="368"/>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i="1" dirty="0" err="1">
                      <a:solidFill>
                        <a:srgbClr val="000000"/>
                      </a:solidFill>
                      <a:latin typeface="Garamond" pitchFamily="18" charset="0"/>
                      <a:ea typeface="ＭＳ Ｐゴシック" pitchFamily="34" charset="-128"/>
                    </a:rPr>
                    <a:t>Cancer</a:t>
                  </a:r>
                  <a:r>
                    <a:rPr lang="it-IT" sz="1600" i="1" dirty="0">
                      <a:solidFill>
                        <a:srgbClr val="000000"/>
                      </a:solidFill>
                      <a:latin typeface="Garamond" pitchFamily="18" charset="0"/>
                      <a:ea typeface="ＭＳ Ｐゴシック" pitchFamily="34" charset="-128"/>
                    </a:rPr>
                    <a:t> </a:t>
                  </a:r>
                  <a:r>
                    <a:rPr lang="it-IT" sz="1600" i="1" dirty="0" err="1">
                      <a:solidFill>
                        <a:srgbClr val="000000"/>
                      </a:solidFill>
                      <a:latin typeface="Garamond" pitchFamily="18" charset="0"/>
                      <a:ea typeface="ＭＳ Ｐゴシック" pitchFamily="34" charset="-128"/>
                    </a:rPr>
                    <a:t>Cell</a:t>
                  </a:r>
                  <a:endParaRPr lang="it-IT" sz="1600" i="1" dirty="0">
                    <a:solidFill>
                      <a:srgbClr val="000000"/>
                    </a:solidFill>
                    <a:latin typeface="Garamond" pitchFamily="18" charset="0"/>
                    <a:ea typeface="ＭＳ Ｐゴシック" pitchFamily="34" charset="-128"/>
                  </a:endParaRPr>
                </a:p>
                <a:p>
                  <a:pPr eaLnBrk="0" fontAlgn="base" hangingPunct="0">
                    <a:spcBef>
                      <a:spcPct val="0"/>
                    </a:spcBef>
                    <a:spcAft>
                      <a:spcPct val="0"/>
                    </a:spcAft>
                  </a:pPr>
                  <a:r>
                    <a:rPr lang="it-IT" sz="1600" i="1" dirty="0" err="1">
                      <a:solidFill>
                        <a:srgbClr val="000000"/>
                      </a:solidFill>
                      <a:latin typeface="Garamond" pitchFamily="18" charset="0"/>
                      <a:ea typeface="ＭＳ Ｐゴシック" pitchFamily="34" charset="-128"/>
                    </a:rPr>
                    <a:t>Receptors</a:t>
                  </a:r>
                  <a:endParaRPr lang="it-IT" sz="1600" i="1" dirty="0">
                    <a:solidFill>
                      <a:srgbClr val="000000"/>
                    </a:solidFill>
                    <a:latin typeface="Garamond" pitchFamily="18" charset="0"/>
                    <a:ea typeface="ＭＳ Ｐゴシック" pitchFamily="34" charset="-128"/>
                  </a:endParaRPr>
                </a:p>
              </p:txBody>
            </p:sp>
            <p:sp>
              <p:nvSpPr>
                <p:cNvPr id="863286" name="Text Box 114"/>
                <p:cNvSpPr txBox="1">
                  <a:spLocks noChangeArrowheads="1"/>
                </p:cNvSpPr>
                <p:nvPr/>
              </p:nvSpPr>
              <p:spPr bwMode="auto">
                <a:xfrm>
                  <a:off x="5069" y="802"/>
                  <a:ext cx="541" cy="213"/>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a:solidFill>
                        <a:srgbClr val="000000"/>
                      </a:solidFill>
                      <a:latin typeface="Garamond" pitchFamily="18" charset="0"/>
                      <a:ea typeface="ＭＳ Ｐゴシック" pitchFamily="34" charset="-128"/>
                    </a:rPr>
                    <a:t>RANK</a:t>
                  </a:r>
                </a:p>
              </p:txBody>
            </p:sp>
            <p:sp>
              <p:nvSpPr>
                <p:cNvPr id="863287" name="Text Box 115"/>
                <p:cNvSpPr txBox="1">
                  <a:spLocks noChangeArrowheads="1"/>
                </p:cNvSpPr>
                <p:nvPr/>
              </p:nvSpPr>
              <p:spPr bwMode="auto">
                <a:xfrm>
                  <a:off x="5111" y="620"/>
                  <a:ext cx="571" cy="213"/>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a:solidFill>
                        <a:srgbClr val="000000"/>
                      </a:solidFill>
                      <a:latin typeface="Garamond" pitchFamily="18" charset="0"/>
                      <a:ea typeface="ＭＳ Ｐゴシック" pitchFamily="34" charset="-128"/>
                    </a:rPr>
                    <a:t>CXCR4</a:t>
                  </a:r>
                </a:p>
              </p:txBody>
            </p:sp>
            <p:sp>
              <p:nvSpPr>
                <p:cNvPr id="863288" name="Text Box 116"/>
                <p:cNvSpPr txBox="1">
                  <a:spLocks noChangeArrowheads="1"/>
                </p:cNvSpPr>
                <p:nvPr/>
              </p:nvSpPr>
              <p:spPr bwMode="auto">
                <a:xfrm>
                  <a:off x="5054" y="981"/>
                  <a:ext cx="1004" cy="233"/>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a:solidFill>
                        <a:srgbClr val="000000"/>
                      </a:solidFill>
                      <a:latin typeface="Garamond" pitchFamily="18" charset="0"/>
                      <a:ea typeface="ＭＳ Ｐゴシック" pitchFamily="34" charset="-128"/>
                    </a:rPr>
                    <a:t>BMP-R </a:t>
                  </a:r>
                  <a:r>
                    <a:rPr lang="it-IT" sz="1400">
                      <a:solidFill>
                        <a:srgbClr val="000000"/>
                      </a:solidFill>
                      <a:latin typeface="Garamond" pitchFamily="18" charset="0"/>
                      <a:ea typeface="ＭＳ Ｐゴシック" pitchFamily="34" charset="-128"/>
                    </a:rPr>
                    <a:t>Ia,Ib,II</a:t>
                  </a:r>
                </a:p>
              </p:txBody>
            </p:sp>
            <p:sp>
              <p:nvSpPr>
                <p:cNvPr id="863289" name="Text Box 117"/>
                <p:cNvSpPr txBox="1">
                  <a:spLocks noChangeArrowheads="1"/>
                </p:cNvSpPr>
                <p:nvPr/>
              </p:nvSpPr>
              <p:spPr bwMode="auto">
                <a:xfrm>
                  <a:off x="5054" y="1207"/>
                  <a:ext cx="954" cy="775"/>
                </a:xfrm>
                <a:prstGeom prst="rect">
                  <a:avLst/>
                </a:prstGeom>
                <a:noFill/>
                <a:ln w="9525">
                  <a:noFill/>
                  <a:miter lim="800000"/>
                  <a:headEnd/>
                  <a:tailEnd/>
                </a:ln>
              </p:spPr>
              <p:txBody>
                <a:bodyPr lIns="91404" tIns="45702" rIns="91404" bIns="45702">
                  <a:spAutoFit/>
                </a:bodyPr>
                <a:lstStyle/>
                <a:p>
                  <a:pPr eaLnBrk="0" fontAlgn="base" hangingPunct="0">
                    <a:spcBef>
                      <a:spcPct val="0"/>
                    </a:spcBef>
                    <a:spcAft>
                      <a:spcPct val="0"/>
                    </a:spcAft>
                  </a:pPr>
                  <a:r>
                    <a:rPr lang="it-IT">
                      <a:solidFill>
                        <a:srgbClr val="000000"/>
                      </a:solidFill>
                      <a:latin typeface="Garamond" pitchFamily="18" charset="0"/>
                      <a:ea typeface="ＭＳ Ｐゴシック" pitchFamily="34" charset="-128"/>
                    </a:rPr>
                    <a:t>ICAM-1</a:t>
                  </a:r>
                </a:p>
                <a:p>
                  <a:pPr eaLnBrk="0" fontAlgn="base" hangingPunct="0">
                    <a:spcBef>
                      <a:spcPct val="0"/>
                    </a:spcBef>
                    <a:spcAft>
                      <a:spcPct val="0"/>
                    </a:spcAft>
                  </a:pPr>
                  <a:r>
                    <a:rPr lang="it-IT" sz="2000">
                      <a:solidFill>
                        <a:srgbClr val="000000"/>
                      </a:solidFill>
                      <a:latin typeface="Symbol" pitchFamily="18" charset="2"/>
                      <a:ea typeface="ＭＳ Ｐゴシック" pitchFamily="34" charset="-128"/>
                    </a:rPr>
                    <a:t>a</a:t>
                  </a:r>
                  <a:r>
                    <a:rPr lang="it-IT" sz="2000">
                      <a:solidFill>
                        <a:srgbClr val="000000"/>
                      </a:solidFill>
                      <a:latin typeface="Garamond" pitchFamily="18" charset="0"/>
                      <a:ea typeface="ＭＳ Ｐゴシック" pitchFamily="34" charset="-128"/>
                    </a:rPr>
                    <a:t>v</a:t>
                  </a:r>
                  <a:r>
                    <a:rPr lang="it-IT" sz="2000">
                      <a:solidFill>
                        <a:srgbClr val="000000"/>
                      </a:solidFill>
                      <a:latin typeface="Symbol" pitchFamily="18" charset="2"/>
                      <a:ea typeface="ＭＳ Ｐゴシック" pitchFamily="34" charset="-128"/>
                    </a:rPr>
                    <a:t>b</a:t>
                  </a:r>
                  <a:r>
                    <a:rPr lang="it-IT" sz="2000">
                      <a:solidFill>
                        <a:srgbClr val="000000"/>
                      </a:solidFill>
                      <a:latin typeface="Garamond" pitchFamily="18" charset="0"/>
                      <a:ea typeface="ＭＳ Ｐゴシック" pitchFamily="34" charset="-128"/>
                    </a:rPr>
                    <a:t>3, </a:t>
                  </a:r>
                  <a:r>
                    <a:rPr lang="it-IT" sz="2000">
                      <a:solidFill>
                        <a:srgbClr val="000000"/>
                      </a:solidFill>
                      <a:latin typeface="Symbol" pitchFamily="18" charset="2"/>
                      <a:ea typeface="ＭＳ Ｐゴシック" pitchFamily="34" charset="-128"/>
                    </a:rPr>
                    <a:t>a</a:t>
                  </a:r>
                  <a:r>
                    <a:rPr lang="it-IT" sz="2000">
                      <a:solidFill>
                        <a:srgbClr val="000000"/>
                      </a:solidFill>
                      <a:latin typeface="Garamond" pitchFamily="18" charset="0"/>
                      <a:ea typeface="ＭＳ Ｐゴシック" pitchFamily="34" charset="-128"/>
                    </a:rPr>
                    <a:t>v</a:t>
                  </a:r>
                  <a:r>
                    <a:rPr lang="it-IT" sz="2000">
                      <a:solidFill>
                        <a:srgbClr val="000000"/>
                      </a:solidFill>
                      <a:latin typeface="Symbol" pitchFamily="18" charset="2"/>
                      <a:ea typeface="ＭＳ Ｐゴシック" pitchFamily="34" charset="-128"/>
                    </a:rPr>
                    <a:t>b</a:t>
                  </a:r>
                  <a:r>
                    <a:rPr lang="it-IT" sz="2000">
                      <a:solidFill>
                        <a:srgbClr val="000000"/>
                      </a:solidFill>
                      <a:latin typeface="Garamond" pitchFamily="18" charset="0"/>
                      <a:ea typeface="ＭＳ Ｐゴシック" pitchFamily="34" charset="-128"/>
                    </a:rPr>
                    <a:t>2</a:t>
                  </a:r>
                </a:p>
                <a:p>
                  <a:pPr eaLnBrk="0" fontAlgn="base" hangingPunct="0">
                    <a:spcBef>
                      <a:spcPct val="0"/>
                    </a:spcBef>
                    <a:spcAft>
                      <a:spcPct val="0"/>
                    </a:spcAft>
                  </a:pPr>
                  <a:r>
                    <a:rPr lang="it-IT" sz="1600">
                      <a:solidFill>
                        <a:srgbClr val="000000"/>
                      </a:solidFill>
                      <a:latin typeface="Garamond" pitchFamily="18" charset="0"/>
                      <a:ea typeface="ＭＳ Ｐゴシック" pitchFamily="34" charset="-128"/>
                    </a:rPr>
                    <a:t>TGF</a:t>
                  </a:r>
                  <a:r>
                    <a:rPr lang="it-IT" sz="1600">
                      <a:solidFill>
                        <a:srgbClr val="000000"/>
                      </a:solidFill>
                      <a:latin typeface="Symbol" pitchFamily="18" charset="2"/>
                      <a:ea typeface="ＭＳ Ｐゴシック" pitchFamily="34" charset="-128"/>
                    </a:rPr>
                    <a:t>b</a:t>
                  </a:r>
                  <a:r>
                    <a:rPr lang="it-IT" sz="1600">
                      <a:solidFill>
                        <a:srgbClr val="000000"/>
                      </a:solidFill>
                      <a:latin typeface="Garamond" pitchFamily="18" charset="0"/>
                      <a:ea typeface="ＭＳ Ｐゴシック" pitchFamily="34" charset="-128"/>
                    </a:rPr>
                    <a:t>-RI-II</a:t>
                  </a:r>
                </a:p>
              </p:txBody>
            </p:sp>
          </p:grpSp>
        </p:grpSp>
        <p:sp>
          <p:nvSpPr>
            <p:cNvPr id="863277" name="Oval 118"/>
            <p:cNvSpPr>
              <a:spLocks noChangeArrowheads="1"/>
            </p:cNvSpPr>
            <p:nvPr/>
          </p:nvSpPr>
          <p:spPr bwMode="auto">
            <a:xfrm>
              <a:off x="3059" y="663"/>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3278" name="Oval 119"/>
            <p:cNvSpPr>
              <a:spLocks noChangeArrowheads="1"/>
            </p:cNvSpPr>
            <p:nvPr/>
          </p:nvSpPr>
          <p:spPr bwMode="auto">
            <a:xfrm>
              <a:off x="4011" y="61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sp>
        <p:nvSpPr>
          <p:cNvPr id="863274" name="Text Box 120"/>
          <p:cNvSpPr txBox="1">
            <a:spLocks noChangeArrowheads="1"/>
          </p:cNvSpPr>
          <p:nvPr/>
        </p:nvSpPr>
        <p:spPr bwMode="auto">
          <a:xfrm>
            <a:off x="2586038" y="6491288"/>
            <a:ext cx="3344862" cy="338137"/>
          </a:xfrm>
          <a:prstGeom prst="rect">
            <a:avLst/>
          </a:prstGeom>
          <a:noFill/>
          <a:ln w="9525">
            <a:noFill/>
            <a:miter lim="800000"/>
            <a:headEnd/>
            <a:tailEnd/>
          </a:ln>
        </p:spPr>
        <p:txBody>
          <a:bodyPr wrap="none" lIns="91404" tIns="45702" rIns="91404" bIns="45702">
            <a:spAutoFit/>
          </a:bodyPr>
          <a:lstStyle/>
          <a:p>
            <a:pPr eaLnBrk="0" fontAlgn="base" hangingPunct="0">
              <a:spcBef>
                <a:spcPct val="0"/>
              </a:spcBef>
              <a:spcAft>
                <a:spcPct val="0"/>
              </a:spcAft>
            </a:pPr>
            <a:r>
              <a:rPr lang="it-IT" sz="1600">
                <a:solidFill>
                  <a:srgbClr val="000000"/>
                </a:solidFill>
                <a:latin typeface="Garamond" pitchFamily="18" charset="0"/>
                <a:ea typeface="ＭＳ Ｐゴシック" pitchFamily="34" charset="-128"/>
              </a:rPr>
              <a:t>Bertoldo F, </a:t>
            </a:r>
            <a:r>
              <a:rPr lang="it-IT" sz="1600" i="1">
                <a:solidFill>
                  <a:srgbClr val="000000"/>
                </a:solidFill>
                <a:latin typeface="Garamond" pitchFamily="18" charset="0"/>
                <a:ea typeface="ＭＳ Ｐゴシック" pitchFamily="34" charset="-128"/>
              </a:rPr>
              <a:t>Textbook of Osteoncology 2009</a:t>
            </a:r>
          </a:p>
        </p:txBody>
      </p:sp>
      <p:sp>
        <p:nvSpPr>
          <p:cNvPr id="863275" name="CasellaDiTesto 125"/>
          <p:cNvSpPr txBox="1">
            <a:spLocks noChangeArrowheads="1"/>
          </p:cNvSpPr>
          <p:nvPr/>
        </p:nvSpPr>
        <p:spPr bwMode="auto">
          <a:xfrm>
            <a:off x="4427538" y="2781300"/>
            <a:ext cx="539750" cy="338138"/>
          </a:xfrm>
          <a:prstGeom prst="rect">
            <a:avLst/>
          </a:prstGeom>
          <a:noFill/>
          <a:ln w="9525">
            <a:noFill/>
            <a:miter lim="800000"/>
            <a:headEnd/>
            <a:tailEnd/>
          </a:ln>
        </p:spPr>
        <p:txBody>
          <a:bodyPr wrap="none">
            <a:spAutoFit/>
          </a:bodyPr>
          <a:lstStyle/>
          <a:p>
            <a:pPr fontAlgn="base">
              <a:spcBef>
                <a:spcPct val="0"/>
              </a:spcBef>
              <a:spcAft>
                <a:spcPct val="0"/>
              </a:spcAft>
            </a:pPr>
            <a:r>
              <a:rPr lang="it-IT" sz="1600">
                <a:solidFill>
                  <a:srgbClr val="000000"/>
                </a:solidFill>
                <a:latin typeface="Garamond" pitchFamily="18" charset="0"/>
                <a:ea typeface="ＭＳ Ｐゴシック" pitchFamily="34" charset="-128"/>
              </a:rPr>
              <a:t>CSR</a:t>
            </a:r>
          </a:p>
        </p:txBody>
      </p:sp>
      <p:sp>
        <p:nvSpPr>
          <p:cNvPr id="122" name="Esplosione 1 121"/>
          <p:cNvSpPr/>
          <p:nvPr/>
        </p:nvSpPr>
        <p:spPr bwMode="auto">
          <a:xfrm>
            <a:off x="5652120" y="1268760"/>
            <a:ext cx="266328" cy="338336"/>
          </a:xfrm>
          <a:prstGeom prst="irregularSeal1">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smtClean="0">
              <a:ln>
                <a:noFill/>
              </a:ln>
              <a:solidFill>
                <a:schemeClr val="tx1"/>
              </a:solidFill>
              <a:effectLst/>
              <a:latin typeface="Arial" pitchFamily="34" charset="0"/>
              <a:ea typeface="MS PGothic" pitchFamily="34" charset="-128"/>
            </a:endParaRPr>
          </a:p>
        </p:txBody>
      </p:sp>
      <p:sp>
        <p:nvSpPr>
          <p:cNvPr id="123" name="CasellaDiTesto 122"/>
          <p:cNvSpPr txBox="1"/>
          <p:nvPr/>
        </p:nvSpPr>
        <p:spPr>
          <a:xfrm>
            <a:off x="5292080" y="1484784"/>
            <a:ext cx="444352" cy="261610"/>
          </a:xfrm>
          <a:prstGeom prst="rect">
            <a:avLst/>
          </a:prstGeom>
          <a:noFill/>
        </p:spPr>
        <p:txBody>
          <a:bodyPr wrap="none" rtlCol="0">
            <a:spAutoFit/>
          </a:bodyPr>
          <a:lstStyle/>
          <a:p>
            <a:r>
              <a:rPr lang="it-IT" sz="1100" dirty="0" smtClean="0"/>
              <a:t>PLT</a:t>
            </a:r>
            <a:endParaRPr lang="it-IT" sz="1100" dirty="0"/>
          </a:p>
        </p:txBody>
      </p:sp>
      <p:sp>
        <p:nvSpPr>
          <p:cNvPr id="124" name="Esplosione 1 123"/>
          <p:cNvSpPr/>
          <p:nvPr/>
        </p:nvSpPr>
        <p:spPr bwMode="auto">
          <a:xfrm>
            <a:off x="5804520" y="1421160"/>
            <a:ext cx="266328" cy="338336"/>
          </a:xfrm>
          <a:prstGeom prst="irregularSeal1">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smtClean="0">
              <a:ln>
                <a:noFill/>
              </a:ln>
              <a:solidFill>
                <a:schemeClr val="tx1"/>
              </a:solidFill>
              <a:effectLst/>
              <a:latin typeface="Arial" pitchFamily="34" charset="0"/>
              <a:ea typeface="MS PGothic" pitchFamily="34" charset="-128"/>
            </a:endParaRPr>
          </a:p>
        </p:txBody>
      </p:sp>
      <p:sp>
        <p:nvSpPr>
          <p:cNvPr id="125" name="Esplosione 1 124"/>
          <p:cNvSpPr/>
          <p:nvPr/>
        </p:nvSpPr>
        <p:spPr bwMode="auto">
          <a:xfrm>
            <a:off x="6084168" y="1268760"/>
            <a:ext cx="266328" cy="338336"/>
          </a:xfrm>
          <a:prstGeom prst="irregularSeal1">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smtClean="0">
              <a:ln>
                <a:noFill/>
              </a:ln>
              <a:solidFill>
                <a:schemeClr val="tx1"/>
              </a:solidFill>
              <a:effectLst/>
              <a:latin typeface="Arial" pitchFamily="34" charset="0"/>
              <a:ea typeface="MS PGothic" pitchFamily="34" charset="-128"/>
            </a:endParaRPr>
          </a:p>
        </p:txBody>
      </p:sp>
      <p:sp>
        <p:nvSpPr>
          <p:cNvPr id="126" name="Esplosione 1 125"/>
          <p:cNvSpPr/>
          <p:nvPr/>
        </p:nvSpPr>
        <p:spPr bwMode="auto">
          <a:xfrm>
            <a:off x="4427984" y="1340768"/>
            <a:ext cx="266328" cy="338336"/>
          </a:xfrm>
          <a:prstGeom prst="irregularSeal1">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smtClean="0">
              <a:ln>
                <a:noFill/>
              </a:ln>
              <a:solidFill>
                <a:schemeClr val="tx1"/>
              </a:solidFill>
              <a:effectLst/>
              <a:latin typeface="Arial" pitchFamily="34" charset="0"/>
              <a:ea typeface="MS PGothic" pitchFamily="34" charset="-128"/>
            </a:endParaRPr>
          </a:p>
        </p:txBody>
      </p:sp>
      <p:sp>
        <p:nvSpPr>
          <p:cNvPr id="127" name="Esplosione 1 126"/>
          <p:cNvSpPr/>
          <p:nvPr/>
        </p:nvSpPr>
        <p:spPr bwMode="auto">
          <a:xfrm>
            <a:off x="4355976" y="1124744"/>
            <a:ext cx="266328" cy="338336"/>
          </a:xfrm>
          <a:prstGeom prst="irregularSeal1">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smtClean="0">
              <a:ln>
                <a:noFill/>
              </a:ln>
              <a:solidFill>
                <a:schemeClr val="tx1"/>
              </a:solidFill>
              <a:effectLst/>
              <a:latin typeface="Arial" pitchFamily="34" charset="0"/>
              <a:ea typeface="MS PGothic" pitchFamily="34" charset="-128"/>
            </a:endParaRPr>
          </a:p>
        </p:txBody>
      </p:sp>
      <p:sp>
        <p:nvSpPr>
          <p:cNvPr id="128" name="Esplosione 1 127"/>
          <p:cNvSpPr/>
          <p:nvPr/>
        </p:nvSpPr>
        <p:spPr bwMode="auto">
          <a:xfrm>
            <a:off x="3491880" y="1988840"/>
            <a:ext cx="266328" cy="338336"/>
          </a:xfrm>
          <a:prstGeom prst="irregularSeal1">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smtClean="0">
              <a:ln>
                <a:noFill/>
              </a:ln>
              <a:solidFill>
                <a:schemeClr val="tx1"/>
              </a:solidFill>
              <a:effectLst/>
              <a:latin typeface="Arial" pitchFamily="34" charset="0"/>
              <a:ea typeface="MS PGothic" pitchFamily="34" charset="-128"/>
            </a:endParaRPr>
          </a:p>
        </p:txBody>
      </p:sp>
      <p:sp>
        <p:nvSpPr>
          <p:cNvPr id="129" name="Esplosione 1 128"/>
          <p:cNvSpPr/>
          <p:nvPr/>
        </p:nvSpPr>
        <p:spPr bwMode="auto">
          <a:xfrm>
            <a:off x="4427984" y="2060848"/>
            <a:ext cx="266328" cy="338336"/>
          </a:xfrm>
          <a:prstGeom prst="irregularSeal1">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it-IT" sz="2400" b="0" i="0" u="none" strike="noStrike" cap="none" normalizeH="0" baseline="0" smtClean="0">
              <a:ln>
                <a:noFill/>
              </a:ln>
              <a:solidFill>
                <a:schemeClr val="tx1"/>
              </a:solidFill>
              <a:effectLst/>
              <a:latin typeface="Arial" pitchFamily="34" charset="0"/>
              <a:ea typeface="MS PGothic" pitchFamily="34" charset="-128"/>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rrotonda angolo diagonale rettangolo 14"/>
          <p:cNvSpPr/>
          <p:nvPr/>
        </p:nvSpPr>
        <p:spPr>
          <a:xfrm>
            <a:off x="514350" y="220663"/>
            <a:ext cx="8256588" cy="1074737"/>
          </a:xfrm>
          <a:prstGeom prst="round2DiagRect">
            <a:avLst>
              <a:gd name="adj1" fmla="val 50000"/>
              <a:gd name="adj2"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srgbClr val="FFFFFF"/>
              </a:solidFill>
              <a:effectLst>
                <a:outerShdw blurRad="38100" dist="38100" dir="2700000" algn="tl">
                  <a:srgbClr val="000000">
                    <a:alpha val="43137"/>
                  </a:srgbClr>
                </a:outerShdw>
              </a:effectLst>
            </a:endParaRPr>
          </a:p>
        </p:txBody>
      </p:sp>
      <p:sp>
        <p:nvSpPr>
          <p:cNvPr id="40962" name="Rectangle 4"/>
          <p:cNvSpPr>
            <a:spLocks noGrp="1" noChangeArrowheads="1"/>
          </p:cNvSpPr>
          <p:nvPr>
            <p:ph type="title" idx="4294967295"/>
          </p:nvPr>
        </p:nvSpPr>
        <p:spPr>
          <a:xfrm>
            <a:off x="609600" y="76200"/>
            <a:ext cx="8077200" cy="1143000"/>
          </a:xfrm>
        </p:spPr>
        <p:txBody>
          <a:bodyPr/>
          <a:lstStyle/>
          <a:p>
            <a:pPr eaLnBrk="1" hangingPunct="1"/>
            <a:r>
              <a:rPr lang="en-US" sz="2800" b="1" smtClean="0">
                <a:solidFill>
                  <a:srgbClr val="000099"/>
                </a:solidFill>
              </a:rPr>
              <a:t>RANK is expressed in humans by cancer cells both at primary tumor and at bone metastases</a:t>
            </a:r>
          </a:p>
        </p:txBody>
      </p:sp>
      <p:sp>
        <p:nvSpPr>
          <p:cNvPr id="40963" name="Text Box 110"/>
          <p:cNvSpPr txBox="1">
            <a:spLocks noChangeArrowheads="1"/>
          </p:cNvSpPr>
          <p:nvPr/>
        </p:nvSpPr>
        <p:spPr bwMode="auto">
          <a:xfrm>
            <a:off x="0" y="5727700"/>
            <a:ext cx="4392613" cy="1054100"/>
          </a:xfrm>
          <a:prstGeom prst="rect">
            <a:avLst/>
          </a:prstGeom>
          <a:noFill/>
          <a:ln w="9525">
            <a:noFill/>
            <a:miter lim="800000"/>
            <a:headEnd/>
            <a:tailEnd/>
          </a:ln>
        </p:spPr>
        <p:txBody>
          <a:bodyPr>
            <a:spAutoFit/>
          </a:bodyPr>
          <a:lstStyle/>
          <a:p>
            <a:pPr marL="342900" indent="-342900" algn="ctr">
              <a:spcBef>
                <a:spcPct val="50000"/>
              </a:spcBef>
              <a:buFontTx/>
              <a:buAutoNum type="alphaLcPeriod"/>
            </a:pPr>
            <a:r>
              <a:rPr lang="it-IT" b="1"/>
              <a:t>Relantionships primary-bone metastases (all samples)</a:t>
            </a:r>
            <a:endParaRPr lang="it-IT"/>
          </a:p>
          <a:p>
            <a:pPr marL="342900" indent="-342900" algn="ctr">
              <a:spcBef>
                <a:spcPct val="50000"/>
              </a:spcBef>
            </a:pPr>
            <a:endParaRPr lang="it-IT" b="1"/>
          </a:p>
        </p:txBody>
      </p:sp>
      <p:sp>
        <p:nvSpPr>
          <p:cNvPr id="40964" name="Text Box 111"/>
          <p:cNvSpPr txBox="1">
            <a:spLocks noChangeArrowheads="1"/>
          </p:cNvSpPr>
          <p:nvPr/>
        </p:nvSpPr>
        <p:spPr bwMode="auto">
          <a:xfrm>
            <a:off x="4267200" y="5713413"/>
            <a:ext cx="4967288" cy="641350"/>
          </a:xfrm>
          <a:prstGeom prst="rect">
            <a:avLst/>
          </a:prstGeom>
          <a:noFill/>
          <a:ln w="9525">
            <a:noFill/>
            <a:miter lim="800000"/>
            <a:headEnd/>
            <a:tailEnd/>
          </a:ln>
        </p:spPr>
        <p:txBody>
          <a:bodyPr>
            <a:spAutoFit/>
          </a:bodyPr>
          <a:lstStyle/>
          <a:p>
            <a:pPr algn="ctr">
              <a:spcBef>
                <a:spcPct val="50000"/>
              </a:spcBef>
            </a:pPr>
            <a:r>
              <a:rPr lang="it-IT" b="1"/>
              <a:t>b. Relantionships primary-bone metastases (in the same patients)</a:t>
            </a:r>
          </a:p>
        </p:txBody>
      </p:sp>
      <p:sp>
        <p:nvSpPr>
          <p:cNvPr id="40965" name="Text Box 112"/>
          <p:cNvSpPr txBox="1">
            <a:spLocks noChangeArrowheads="1"/>
          </p:cNvSpPr>
          <p:nvPr/>
        </p:nvSpPr>
        <p:spPr bwMode="auto">
          <a:xfrm>
            <a:off x="0" y="6583363"/>
            <a:ext cx="3962400" cy="304800"/>
          </a:xfrm>
          <a:prstGeom prst="rect">
            <a:avLst/>
          </a:prstGeom>
          <a:noFill/>
          <a:ln w="9525">
            <a:noFill/>
            <a:miter lim="800000"/>
            <a:headEnd/>
            <a:tailEnd/>
          </a:ln>
        </p:spPr>
        <p:txBody>
          <a:bodyPr>
            <a:spAutoFit/>
          </a:bodyPr>
          <a:lstStyle/>
          <a:p>
            <a:pPr>
              <a:spcBef>
                <a:spcPct val="50000"/>
              </a:spcBef>
            </a:pPr>
            <a:r>
              <a:rPr lang="it-IT" sz="1400"/>
              <a:t>Santini D. J Cell Phys, 2010</a:t>
            </a:r>
          </a:p>
        </p:txBody>
      </p:sp>
      <p:sp>
        <p:nvSpPr>
          <p:cNvPr id="166940" name="Text Box 28"/>
          <p:cNvSpPr txBox="1">
            <a:spLocks noChangeArrowheads="1"/>
          </p:cNvSpPr>
          <p:nvPr/>
        </p:nvSpPr>
        <p:spPr bwMode="auto">
          <a:xfrm>
            <a:off x="990600" y="1676400"/>
            <a:ext cx="1528763" cy="374650"/>
          </a:xfrm>
          <a:prstGeom prst="rect">
            <a:avLst/>
          </a:prstGeom>
          <a:solidFill>
            <a:schemeClr val="accent2"/>
          </a:solidFill>
          <a:ln w="38100">
            <a:solidFill>
              <a:schemeClr val="bg1"/>
            </a:solidFill>
            <a:miter lim="800000"/>
            <a:headEnd/>
            <a:tailEnd/>
          </a:ln>
          <a:effectLst>
            <a:outerShdw blurRad="63500" dist="20000" dir="5400000" rotWithShape="0">
              <a:srgbClr val="000000">
                <a:alpha val="37999"/>
              </a:srgbClr>
            </a:outerShdw>
          </a:effectLst>
        </p:spPr>
        <p:txBody>
          <a:bodyPr>
            <a:spAutoFit/>
          </a:bodyPr>
          <a:lstStyle/>
          <a:p>
            <a:pPr algn="ctr" eaLnBrk="0" hangingPunct="0">
              <a:spcBef>
                <a:spcPct val="50000"/>
              </a:spcBef>
              <a:defRPr/>
            </a:pPr>
            <a:r>
              <a:rPr lang="en-US" sz="1600" b="1">
                <a:solidFill>
                  <a:schemeClr val="bg1"/>
                </a:solidFill>
                <a:latin typeface="+mn-lt"/>
                <a:ea typeface="+mn-ea"/>
                <a:cs typeface="+mn-cs"/>
              </a:rPr>
              <a:t>PRIMITIVI</a:t>
            </a:r>
          </a:p>
        </p:txBody>
      </p:sp>
      <p:sp>
        <p:nvSpPr>
          <p:cNvPr id="2" name="Text Box 28"/>
          <p:cNvSpPr txBox="1">
            <a:spLocks noChangeArrowheads="1"/>
          </p:cNvSpPr>
          <p:nvPr/>
        </p:nvSpPr>
        <p:spPr bwMode="auto">
          <a:xfrm>
            <a:off x="5329238" y="1676400"/>
            <a:ext cx="1528762" cy="374650"/>
          </a:xfrm>
          <a:prstGeom prst="rect">
            <a:avLst/>
          </a:prstGeom>
          <a:solidFill>
            <a:schemeClr val="accent2"/>
          </a:solidFill>
          <a:ln w="38100">
            <a:solidFill>
              <a:schemeClr val="bg1"/>
            </a:solidFill>
            <a:miter lim="800000"/>
            <a:headEnd/>
            <a:tailEnd/>
          </a:ln>
          <a:effectLst>
            <a:outerShdw blurRad="63500" dist="20000" dir="5400000" rotWithShape="0">
              <a:srgbClr val="000000">
                <a:alpha val="37999"/>
              </a:srgbClr>
            </a:outerShdw>
          </a:effectLst>
        </p:spPr>
        <p:txBody>
          <a:bodyPr>
            <a:spAutoFit/>
          </a:bodyPr>
          <a:lstStyle/>
          <a:p>
            <a:pPr algn="ctr" eaLnBrk="0" hangingPunct="0">
              <a:spcBef>
                <a:spcPct val="50000"/>
              </a:spcBef>
              <a:defRPr/>
            </a:pPr>
            <a:r>
              <a:rPr lang="en-US" sz="1600" b="1">
                <a:solidFill>
                  <a:schemeClr val="bg1"/>
                </a:solidFill>
                <a:latin typeface="+mn-lt"/>
                <a:ea typeface="+mn-ea"/>
                <a:cs typeface="+mn-cs"/>
              </a:rPr>
              <a:t>PRIMITIVI</a:t>
            </a:r>
          </a:p>
        </p:txBody>
      </p:sp>
      <p:sp>
        <p:nvSpPr>
          <p:cNvPr id="3" name="Text Box 28"/>
          <p:cNvSpPr txBox="1">
            <a:spLocks noChangeArrowheads="1"/>
          </p:cNvSpPr>
          <p:nvPr/>
        </p:nvSpPr>
        <p:spPr bwMode="auto">
          <a:xfrm>
            <a:off x="2590800" y="1676400"/>
            <a:ext cx="1528763" cy="374650"/>
          </a:xfrm>
          <a:prstGeom prst="rect">
            <a:avLst/>
          </a:prstGeom>
          <a:solidFill>
            <a:schemeClr val="accent2"/>
          </a:solidFill>
          <a:ln w="38100">
            <a:solidFill>
              <a:schemeClr val="bg1"/>
            </a:solidFill>
            <a:miter lim="800000"/>
            <a:headEnd/>
            <a:tailEnd/>
          </a:ln>
          <a:effectLst>
            <a:outerShdw blurRad="63500" dist="20000" dir="5400000" rotWithShape="0">
              <a:srgbClr val="000000">
                <a:alpha val="37999"/>
              </a:srgbClr>
            </a:outerShdw>
          </a:effectLst>
        </p:spPr>
        <p:txBody>
          <a:bodyPr>
            <a:spAutoFit/>
          </a:bodyPr>
          <a:lstStyle/>
          <a:p>
            <a:pPr algn="ctr" eaLnBrk="0" hangingPunct="0">
              <a:spcBef>
                <a:spcPct val="50000"/>
              </a:spcBef>
              <a:defRPr/>
            </a:pPr>
            <a:r>
              <a:rPr lang="en-US" sz="1600" b="1">
                <a:solidFill>
                  <a:schemeClr val="bg1"/>
                </a:solidFill>
                <a:latin typeface="+mn-lt"/>
                <a:ea typeface="+mn-ea"/>
                <a:cs typeface="+mn-cs"/>
              </a:rPr>
              <a:t>METASTASI</a:t>
            </a:r>
          </a:p>
        </p:txBody>
      </p:sp>
      <p:sp>
        <p:nvSpPr>
          <p:cNvPr id="4" name="Text Box 28"/>
          <p:cNvSpPr txBox="1">
            <a:spLocks noChangeArrowheads="1"/>
          </p:cNvSpPr>
          <p:nvPr/>
        </p:nvSpPr>
        <p:spPr bwMode="auto">
          <a:xfrm>
            <a:off x="6929438" y="1676400"/>
            <a:ext cx="1528762" cy="374650"/>
          </a:xfrm>
          <a:prstGeom prst="rect">
            <a:avLst/>
          </a:prstGeom>
          <a:solidFill>
            <a:schemeClr val="accent2"/>
          </a:solidFill>
          <a:ln w="38100">
            <a:solidFill>
              <a:schemeClr val="bg1"/>
            </a:solidFill>
            <a:miter lim="800000"/>
            <a:headEnd/>
            <a:tailEnd/>
          </a:ln>
          <a:effectLst>
            <a:outerShdw blurRad="63500" dist="20000" dir="5400000" rotWithShape="0">
              <a:srgbClr val="000000">
                <a:alpha val="37999"/>
              </a:srgbClr>
            </a:outerShdw>
          </a:effectLst>
        </p:spPr>
        <p:txBody>
          <a:bodyPr>
            <a:spAutoFit/>
          </a:bodyPr>
          <a:lstStyle/>
          <a:p>
            <a:pPr algn="ctr" eaLnBrk="0" hangingPunct="0">
              <a:spcBef>
                <a:spcPct val="50000"/>
              </a:spcBef>
              <a:defRPr/>
            </a:pPr>
            <a:r>
              <a:rPr lang="en-US" sz="1600" b="1">
                <a:solidFill>
                  <a:schemeClr val="bg1"/>
                </a:solidFill>
                <a:latin typeface="+mn-lt"/>
                <a:ea typeface="+mn-ea"/>
                <a:cs typeface="+mn-cs"/>
              </a:rPr>
              <a:t>METASTASI</a:t>
            </a:r>
          </a:p>
        </p:txBody>
      </p:sp>
      <p:grpSp>
        <p:nvGrpSpPr>
          <p:cNvPr id="40970" name="Group 28"/>
          <p:cNvGrpSpPr>
            <a:grpSpLocks/>
          </p:cNvGrpSpPr>
          <p:nvPr/>
        </p:nvGrpSpPr>
        <p:grpSpPr bwMode="auto">
          <a:xfrm>
            <a:off x="228600" y="2209800"/>
            <a:ext cx="8686800" cy="3352800"/>
            <a:chOff x="144" y="1392"/>
            <a:chExt cx="5472" cy="2112"/>
          </a:xfrm>
        </p:grpSpPr>
        <p:pic>
          <p:nvPicPr>
            <p:cNvPr id="40971" name="Picture 102"/>
            <p:cNvPicPr>
              <a:picLocks noChangeAspect="1" noChangeArrowheads="1"/>
            </p:cNvPicPr>
            <p:nvPr/>
          </p:nvPicPr>
          <p:blipFill>
            <a:blip r:embed="rId3"/>
            <a:srcRect/>
            <a:stretch>
              <a:fillRect/>
            </a:stretch>
          </p:blipFill>
          <p:spPr bwMode="auto">
            <a:xfrm>
              <a:off x="255" y="1394"/>
              <a:ext cx="2721" cy="2062"/>
            </a:xfrm>
            <a:prstGeom prst="rect">
              <a:avLst/>
            </a:prstGeom>
            <a:noFill/>
            <a:ln w="19050">
              <a:solidFill>
                <a:srgbClr val="000000"/>
              </a:solidFill>
              <a:miter lim="800000"/>
              <a:headEnd/>
              <a:tailEnd/>
            </a:ln>
          </p:spPr>
        </p:pic>
        <p:pic>
          <p:nvPicPr>
            <p:cNvPr id="40972" name="Picture 103"/>
            <p:cNvPicPr>
              <a:picLocks noChangeAspect="1" noChangeArrowheads="1"/>
            </p:cNvPicPr>
            <p:nvPr/>
          </p:nvPicPr>
          <p:blipFill>
            <a:blip r:embed="rId4"/>
            <a:srcRect/>
            <a:stretch>
              <a:fillRect/>
            </a:stretch>
          </p:blipFill>
          <p:spPr bwMode="auto">
            <a:xfrm>
              <a:off x="2928" y="1392"/>
              <a:ext cx="2631" cy="2056"/>
            </a:xfrm>
            <a:prstGeom prst="rect">
              <a:avLst/>
            </a:prstGeom>
            <a:noFill/>
            <a:ln w="19050">
              <a:solidFill>
                <a:srgbClr val="000000"/>
              </a:solidFill>
              <a:miter lim="800000"/>
              <a:headEnd/>
              <a:tailEnd/>
            </a:ln>
          </p:spPr>
        </p:pic>
        <p:sp>
          <p:nvSpPr>
            <p:cNvPr id="40973" name="Text Box 108"/>
            <p:cNvSpPr txBox="1">
              <a:spLocks noChangeArrowheads="1"/>
            </p:cNvSpPr>
            <p:nvPr/>
          </p:nvSpPr>
          <p:spPr bwMode="auto">
            <a:xfrm>
              <a:off x="1124" y="1452"/>
              <a:ext cx="998" cy="250"/>
            </a:xfrm>
            <a:prstGeom prst="rect">
              <a:avLst/>
            </a:prstGeom>
            <a:noFill/>
            <a:ln w="9525">
              <a:noFill/>
              <a:miter lim="800000"/>
              <a:headEnd/>
              <a:tailEnd/>
            </a:ln>
          </p:spPr>
          <p:txBody>
            <a:bodyPr>
              <a:spAutoFit/>
            </a:bodyPr>
            <a:lstStyle/>
            <a:p>
              <a:pPr algn="ctr">
                <a:spcBef>
                  <a:spcPct val="50000"/>
                </a:spcBef>
              </a:pPr>
              <a:r>
                <a:rPr lang="it-IT" sz="2000" b="1">
                  <a:solidFill>
                    <a:srgbClr val="0033CC"/>
                  </a:solidFill>
                </a:rPr>
                <a:t>(p= .194)</a:t>
              </a:r>
            </a:p>
          </p:txBody>
        </p:sp>
        <p:sp>
          <p:nvSpPr>
            <p:cNvPr id="40974" name="Text Box 109"/>
            <p:cNvSpPr txBox="1">
              <a:spLocks noChangeArrowheads="1"/>
            </p:cNvSpPr>
            <p:nvPr/>
          </p:nvSpPr>
          <p:spPr bwMode="auto">
            <a:xfrm>
              <a:off x="4014" y="1440"/>
              <a:ext cx="771" cy="250"/>
            </a:xfrm>
            <a:prstGeom prst="rect">
              <a:avLst/>
            </a:prstGeom>
            <a:noFill/>
            <a:ln w="9525">
              <a:noFill/>
              <a:miter lim="800000"/>
              <a:headEnd/>
              <a:tailEnd/>
            </a:ln>
          </p:spPr>
          <p:txBody>
            <a:bodyPr>
              <a:spAutoFit/>
            </a:bodyPr>
            <a:lstStyle/>
            <a:p>
              <a:pPr algn="ctr">
                <a:spcBef>
                  <a:spcPct val="50000"/>
                </a:spcBef>
              </a:pPr>
              <a:r>
                <a:rPr lang="it-IT" sz="2000" b="1">
                  <a:solidFill>
                    <a:srgbClr val="0033CC"/>
                  </a:solidFill>
                </a:rPr>
                <a:t>(p= .528)</a:t>
              </a:r>
            </a:p>
          </p:txBody>
        </p:sp>
        <p:sp>
          <p:nvSpPr>
            <p:cNvPr id="29" name="Cornice 28"/>
            <p:cNvSpPr>
              <a:spLocks noChangeArrowheads="1"/>
            </p:cNvSpPr>
            <p:nvPr/>
          </p:nvSpPr>
          <p:spPr bwMode="auto">
            <a:xfrm>
              <a:off x="144" y="1392"/>
              <a:ext cx="5472" cy="2112"/>
            </a:xfrm>
            <a:custGeom>
              <a:avLst/>
              <a:gdLst>
                <a:gd name="T0" fmla="*/ 2736 w 5472"/>
                <a:gd name="T1" fmla="*/ 0 h 2112"/>
                <a:gd name="T2" fmla="*/ 0 w 5472"/>
                <a:gd name="T3" fmla="*/ 1056 h 2112"/>
                <a:gd name="T4" fmla="*/ 2736 w 5472"/>
                <a:gd name="T5" fmla="*/ 2112 h 2112"/>
                <a:gd name="T6" fmla="*/ 5472 w 5472"/>
                <a:gd name="T7" fmla="*/ 1056 h 2112"/>
                <a:gd name="T8" fmla="*/ 17694720 60000 65536"/>
                <a:gd name="T9" fmla="*/ 11796480 60000 65536"/>
                <a:gd name="T10" fmla="*/ 5898240 60000 65536"/>
                <a:gd name="T11" fmla="*/ 0 60000 65536"/>
                <a:gd name="T12" fmla="*/ 66 w 5472"/>
                <a:gd name="T13" fmla="*/ 66 h 2112"/>
                <a:gd name="T14" fmla="*/ 5406 w 5472"/>
                <a:gd name="T15" fmla="*/ 2046 h 2112"/>
              </a:gdLst>
              <a:ahLst/>
              <a:cxnLst>
                <a:cxn ang="T8">
                  <a:pos x="T0" y="T1"/>
                </a:cxn>
                <a:cxn ang="T9">
                  <a:pos x="T2" y="T3"/>
                </a:cxn>
                <a:cxn ang="T10">
                  <a:pos x="T4" y="T5"/>
                </a:cxn>
                <a:cxn ang="T11">
                  <a:pos x="T6" y="T7"/>
                </a:cxn>
              </a:cxnLst>
              <a:rect l="T12" t="T13" r="T14" b="T15"/>
              <a:pathLst>
                <a:path w="5472" h="2112">
                  <a:moveTo>
                    <a:pt x="0" y="0"/>
                  </a:moveTo>
                  <a:lnTo>
                    <a:pt x="5472" y="0"/>
                  </a:lnTo>
                  <a:lnTo>
                    <a:pt x="5472" y="2112"/>
                  </a:lnTo>
                  <a:lnTo>
                    <a:pt x="0" y="2112"/>
                  </a:lnTo>
                  <a:lnTo>
                    <a:pt x="0" y="0"/>
                  </a:lnTo>
                  <a:close/>
                  <a:moveTo>
                    <a:pt x="66" y="66"/>
                  </a:moveTo>
                  <a:lnTo>
                    <a:pt x="66" y="2046"/>
                  </a:lnTo>
                  <a:lnTo>
                    <a:pt x="5406" y="2046"/>
                  </a:lnTo>
                  <a:lnTo>
                    <a:pt x="5406" y="66"/>
                  </a:lnTo>
                  <a:lnTo>
                    <a:pt x="66" y="66"/>
                  </a:lnTo>
                  <a:close/>
                </a:path>
              </a:pathLst>
            </a:custGeom>
            <a:gradFill rotWithShape="1">
              <a:gsLst>
                <a:gs pos="0">
                  <a:srgbClr val="E8E8FA"/>
                </a:gs>
                <a:gs pos="64999">
                  <a:srgbClr val="C3C3EF"/>
                </a:gs>
                <a:gs pos="100000">
                  <a:srgbClr val="A8A8EA"/>
                </a:gs>
              </a:gsLst>
              <a:lin ang="5400000" scaled="1"/>
            </a:gradFill>
            <a:ln w="9525">
              <a:solidFill>
                <a:srgbClr val="2F2F98"/>
              </a:solidFill>
              <a:miter lim="800000"/>
              <a:headEnd/>
              <a:tailEnd/>
            </a:ln>
            <a:effectLst>
              <a:outerShdw dist="20000" dir="5400000" rotWithShape="0">
                <a:srgbClr val="000000">
                  <a:alpha val="37999"/>
                </a:srgbClr>
              </a:outerShdw>
            </a:effectLst>
          </p:spPr>
          <p:txBody>
            <a:bodyPr anchor="ctr"/>
            <a:lstStyle/>
            <a:p>
              <a:pPr>
                <a:defRPr/>
              </a:pPr>
              <a:endParaRPr lang="it-IT">
                <a:latin typeface="Arial" pitchFamily="34" charset="0"/>
                <a:ea typeface="ＭＳ Ｐゴシック" pitchFamily="34" charset="-128"/>
                <a:cs typeface="+mn-cs"/>
              </a:endParaRPr>
            </a:p>
          </p:txBody>
        </p:sp>
        <p:sp>
          <p:nvSpPr>
            <p:cNvPr id="40976" name="Line 27"/>
            <p:cNvSpPr>
              <a:spLocks noChangeShapeType="1"/>
            </p:cNvSpPr>
            <p:nvPr/>
          </p:nvSpPr>
          <p:spPr bwMode="auto">
            <a:xfrm>
              <a:off x="2928" y="1458"/>
              <a:ext cx="0" cy="1968"/>
            </a:xfrm>
            <a:prstGeom prst="line">
              <a:avLst/>
            </a:prstGeom>
            <a:noFill/>
            <a:ln w="28575">
              <a:solidFill>
                <a:schemeClr val="bg1"/>
              </a:solidFill>
              <a:round/>
              <a:headEnd/>
              <a:tailEnd/>
            </a:ln>
            <a:effectLst>
              <a:prstShdw prst="shdw17" dist="17961" dir="2700000">
                <a:srgbClr val="999999"/>
              </a:prstShdw>
            </a:effectLst>
          </p:spPr>
          <p:txBody>
            <a:bodyPr/>
            <a:lstStyle/>
            <a:p>
              <a:endParaRPr lang="it-IT"/>
            </a:p>
          </p:txBody>
        </p:sp>
      </p:grpSp>
    </p:spTree>
    <p:extLst>
      <p:ext uri="{BB962C8B-B14F-4D97-AF65-F5344CB8AC3E}">
        <p14:creationId xmlns:p14="http://schemas.microsoft.com/office/powerpoint/2010/main" val="4243261766"/>
      </p:ext>
    </p:extLst>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 name="Freeform 435"/>
          <p:cNvSpPr/>
          <p:nvPr/>
        </p:nvSpPr>
        <p:spPr>
          <a:xfrm>
            <a:off x="5241925" y="2635250"/>
            <a:ext cx="3186113" cy="687388"/>
          </a:xfrm>
          <a:custGeom>
            <a:avLst/>
            <a:gdLst>
              <a:gd name="connsiteX0" fmla="*/ 0 w 3245644"/>
              <a:gd name="connsiteY0" fmla="*/ 0 h 888206"/>
              <a:gd name="connsiteX1" fmla="*/ 90487 w 3245644"/>
              <a:gd name="connsiteY1" fmla="*/ 0 h 888206"/>
              <a:gd name="connsiteX2" fmla="*/ 90487 w 3245644"/>
              <a:gd name="connsiteY2" fmla="*/ 40481 h 888206"/>
              <a:gd name="connsiteX3" fmla="*/ 164306 w 3245644"/>
              <a:gd name="connsiteY3" fmla="*/ 40481 h 888206"/>
              <a:gd name="connsiteX4" fmla="*/ 276225 w 3245644"/>
              <a:gd name="connsiteY4" fmla="*/ 152400 h 888206"/>
              <a:gd name="connsiteX5" fmla="*/ 330994 w 3245644"/>
              <a:gd name="connsiteY5" fmla="*/ 176213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935831"/>
              <a:gd name="connsiteX1" fmla="*/ 90487 w 3245644"/>
              <a:gd name="connsiteY1" fmla="*/ 0 h 935831"/>
              <a:gd name="connsiteX2" fmla="*/ 90487 w 3245644"/>
              <a:gd name="connsiteY2" fmla="*/ 40481 h 935831"/>
              <a:gd name="connsiteX3" fmla="*/ 164306 w 3245644"/>
              <a:gd name="connsiteY3" fmla="*/ 40481 h 935831"/>
              <a:gd name="connsiteX4" fmla="*/ 276225 w 3245644"/>
              <a:gd name="connsiteY4" fmla="*/ 152400 h 935831"/>
              <a:gd name="connsiteX5" fmla="*/ 330994 w 3245644"/>
              <a:gd name="connsiteY5" fmla="*/ 176213 h 935831"/>
              <a:gd name="connsiteX6" fmla="*/ 383381 w 3245644"/>
              <a:gd name="connsiteY6" fmla="*/ 221456 h 935831"/>
              <a:gd name="connsiteX7" fmla="*/ 433387 w 3245644"/>
              <a:gd name="connsiteY7" fmla="*/ 266700 h 935831"/>
              <a:gd name="connsiteX8" fmla="*/ 483394 w 3245644"/>
              <a:gd name="connsiteY8" fmla="*/ 266700 h 935831"/>
              <a:gd name="connsiteX9" fmla="*/ 621506 w 3245644"/>
              <a:gd name="connsiteY9" fmla="*/ 359569 h 935831"/>
              <a:gd name="connsiteX10" fmla="*/ 702469 w 3245644"/>
              <a:gd name="connsiteY10" fmla="*/ 364331 h 935831"/>
              <a:gd name="connsiteX11" fmla="*/ 721519 w 3245644"/>
              <a:gd name="connsiteY11" fmla="*/ 385763 h 935831"/>
              <a:gd name="connsiteX12" fmla="*/ 802481 w 3245644"/>
              <a:gd name="connsiteY12" fmla="*/ 381000 h 935831"/>
              <a:gd name="connsiteX13" fmla="*/ 833437 w 3245644"/>
              <a:gd name="connsiteY13" fmla="*/ 447675 h 935831"/>
              <a:gd name="connsiteX14" fmla="*/ 885825 w 3245644"/>
              <a:gd name="connsiteY14" fmla="*/ 469106 h 935831"/>
              <a:gd name="connsiteX15" fmla="*/ 1045369 w 3245644"/>
              <a:gd name="connsiteY15" fmla="*/ 471488 h 935831"/>
              <a:gd name="connsiteX16" fmla="*/ 1131094 w 3245644"/>
              <a:gd name="connsiteY16" fmla="*/ 547688 h 935831"/>
              <a:gd name="connsiteX17" fmla="*/ 1181100 w 3245644"/>
              <a:gd name="connsiteY17" fmla="*/ 552450 h 935831"/>
              <a:gd name="connsiteX18" fmla="*/ 1185862 w 3245644"/>
              <a:gd name="connsiteY18" fmla="*/ 583406 h 935831"/>
              <a:gd name="connsiteX19" fmla="*/ 1464469 w 3245644"/>
              <a:gd name="connsiteY19" fmla="*/ 590550 h 935831"/>
              <a:gd name="connsiteX20" fmla="*/ 1490662 w 3245644"/>
              <a:gd name="connsiteY20" fmla="*/ 640556 h 935831"/>
              <a:gd name="connsiteX21" fmla="*/ 1600200 w 3245644"/>
              <a:gd name="connsiteY21" fmla="*/ 635794 h 935831"/>
              <a:gd name="connsiteX22" fmla="*/ 1614487 w 3245644"/>
              <a:gd name="connsiteY22" fmla="*/ 683419 h 935831"/>
              <a:gd name="connsiteX23" fmla="*/ 1783556 w 3245644"/>
              <a:gd name="connsiteY23" fmla="*/ 685800 h 935831"/>
              <a:gd name="connsiteX24" fmla="*/ 1783556 w 3245644"/>
              <a:gd name="connsiteY24" fmla="*/ 733425 h 935831"/>
              <a:gd name="connsiteX25" fmla="*/ 2483644 w 3245644"/>
              <a:gd name="connsiteY25" fmla="*/ 740569 h 935831"/>
              <a:gd name="connsiteX26" fmla="*/ 2486024 w 3245644"/>
              <a:gd name="connsiteY26" fmla="*/ 935831 h 935831"/>
              <a:gd name="connsiteX27" fmla="*/ 3245644 w 3245644"/>
              <a:gd name="connsiteY27" fmla="*/ 8882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1045369 w 3138487"/>
              <a:gd name="connsiteY15" fmla="*/ 471488 h 935831"/>
              <a:gd name="connsiteX16" fmla="*/ 1131094 w 3138487"/>
              <a:gd name="connsiteY16" fmla="*/ 547688 h 935831"/>
              <a:gd name="connsiteX17" fmla="*/ 1181100 w 3138487"/>
              <a:gd name="connsiteY17" fmla="*/ 552450 h 935831"/>
              <a:gd name="connsiteX18" fmla="*/ 1185862 w 3138487"/>
              <a:gd name="connsiteY18" fmla="*/ 583406 h 935831"/>
              <a:gd name="connsiteX19" fmla="*/ 1464469 w 3138487"/>
              <a:gd name="connsiteY19" fmla="*/ 590550 h 935831"/>
              <a:gd name="connsiteX20" fmla="*/ 1490662 w 3138487"/>
              <a:gd name="connsiteY20" fmla="*/ 640556 h 935831"/>
              <a:gd name="connsiteX21" fmla="*/ 1600200 w 3138487"/>
              <a:gd name="connsiteY21" fmla="*/ 635794 h 935831"/>
              <a:gd name="connsiteX22" fmla="*/ 1614487 w 3138487"/>
              <a:gd name="connsiteY22" fmla="*/ 683419 h 935831"/>
              <a:gd name="connsiteX23" fmla="*/ 1783556 w 3138487"/>
              <a:gd name="connsiteY23" fmla="*/ 685800 h 935831"/>
              <a:gd name="connsiteX24" fmla="*/ 1783556 w 3138487"/>
              <a:gd name="connsiteY24" fmla="*/ 733425 h 935831"/>
              <a:gd name="connsiteX25" fmla="*/ 2483644 w 3138487"/>
              <a:gd name="connsiteY25" fmla="*/ 740569 h 935831"/>
              <a:gd name="connsiteX26" fmla="*/ 2486024 w 3138487"/>
              <a:gd name="connsiteY26" fmla="*/ 935831 h 935831"/>
              <a:gd name="connsiteX27" fmla="*/ 3138487 w 3138487"/>
              <a:gd name="connsiteY27"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1045369 w 3138487"/>
              <a:gd name="connsiteY15" fmla="*/ 471488 h 935831"/>
              <a:gd name="connsiteX16" fmla="*/ 1131094 w 3138487"/>
              <a:gd name="connsiteY16" fmla="*/ 547688 h 935831"/>
              <a:gd name="connsiteX17" fmla="*/ 1181100 w 3138487"/>
              <a:gd name="connsiteY17" fmla="*/ 552450 h 935831"/>
              <a:gd name="connsiteX18" fmla="*/ 1185862 w 3138487"/>
              <a:gd name="connsiteY18" fmla="*/ 583406 h 935831"/>
              <a:gd name="connsiteX19" fmla="*/ 1464469 w 3138487"/>
              <a:gd name="connsiteY19" fmla="*/ 590550 h 935831"/>
              <a:gd name="connsiteX20" fmla="*/ 1490662 w 3138487"/>
              <a:gd name="connsiteY20" fmla="*/ 640556 h 935831"/>
              <a:gd name="connsiteX21" fmla="*/ 1600200 w 3138487"/>
              <a:gd name="connsiteY21" fmla="*/ 635794 h 935831"/>
              <a:gd name="connsiteX22" fmla="*/ 1614487 w 3138487"/>
              <a:gd name="connsiteY22" fmla="*/ 683419 h 935831"/>
              <a:gd name="connsiteX23" fmla="*/ 1885949 w 3138487"/>
              <a:gd name="connsiteY23" fmla="*/ 661987 h 935831"/>
              <a:gd name="connsiteX24" fmla="*/ 1783556 w 3138487"/>
              <a:gd name="connsiteY24" fmla="*/ 733425 h 935831"/>
              <a:gd name="connsiteX25" fmla="*/ 2483644 w 3138487"/>
              <a:gd name="connsiteY25" fmla="*/ 740569 h 935831"/>
              <a:gd name="connsiteX26" fmla="*/ 2486024 w 3138487"/>
              <a:gd name="connsiteY26" fmla="*/ 935831 h 935831"/>
              <a:gd name="connsiteX27" fmla="*/ 3138487 w 3138487"/>
              <a:gd name="connsiteY27"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1045369 w 3138487"/>
              <a:gd name="connsiteY15" fmla="*/ 471488 h 935831"/>
              <a:gd name="connsiteX16" fmla="*/ 1131094 w 3138487"/>
              <a:gd name="connsiteY16" fmla="*/ 547688 h 935831"/>
              <a:gd name="connsiteX17" fmla="*/ 1181100 w 3138487"/>
              <a:gd name="connsiteY17" fmla="*/ 552450 h 935831"/>
              <a:gd name="connsiteX18" fmla="*/ 1185862 w 3138487"/>
              <a:gd name="connsiteY18" fmla="*/ 583406 h 935831"/>
              <a:gd name="connsiteX19" fmla="*/ 1464469 w 3138487"/>
              <a:gd name="connsiteY19" fmla="*/ 590550 h 935831"/>
              <a:gd name="connsiteX20" fmla="*/ 1490662 w 3138487"/>
              <a:gd name="connsiteY20" fmla="*/ 640556 h 935831"/>
              <a:gd name="connsiteX21" fmla="*/ 1600200 w 3138487"/>
              <a:gd name="connsiteY21" fmla="*/ 635794 h 935831"/>
              <a:gd name="connsiteX22" fmla="*/ 1614487 w 3138487"/>
              <a:gd name="connsiteY22" fmla="*/ 683419 h 935831"/>
              <a:gd name="connsiteX23" fmla="*/ 1885949 w 3138487"/>
              <a:gd name="connsiteY23" fmla="*/ 661987 h 935831"/>
              <a:gd name="connsiteX24" fmla="*/ 1900238 w 3138487"/>
              <a:gd name="connsiteY24" fmla="*/ 735806 h 935831"/>
              <a:gd name="connsiteX25" fmla="*/ 2483644 w 3138487"/>
              <a:gd name="connsiteY25" fmla="*/ 740569 h 935831"/>
              <a:gd name="connsiteX26" fmla="*/ 2486024 w 3138487"/>
              <a:gd name="connsiteY26" fmla="*/ 935831 h 935831"/>
              <a:gd name="connsiteX27" fmla="*/ 3138487 w 3138487"/>
              <a:gd name="connsiteY27"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1045369 w 3138487"/>
              <a:gd name="connsiteY15" fmla="*/ 471488 h 935831"/>
              <a:gd name="connsiteX16" fmla="*/ 1131094 w 3138487"/>
              <a:gd name="connsiteY16" fmla="*/ 547688 h 935831"/>
              <a:gd name="connsiteX17" fmla="*/ 1181100 w 3138487"/>
              <a:gd name="connsiteY17" fmla="*/ 552450 h 935831"/>
              <a:gd name="connsiteX18" fmla="*/ 1185862 w 3138487"/>
              <a:gd name="connsiteY18" fmla="*/ 583406 h 935831"/>
              <a:gd name="connsiteX19" fmla="*/ 1464469 w 3138487"/>
              <a:gd name="connsiteY19" fmla="*/ 590550 h 935831"/>
              <a:gd name="connsiteX20" fmla="*/ 1490662 w 3138487"/>
              <a:gd name="connsiteY20" fmla="*/ 640556 h 935831"/>
              <a:gd name="connsiteX21" fmla="*/ 1600200 w 3138487"/>
              <a:gd name="connsiteY21" fmla="*/ 635794 h 935831"/>
              <a:gd name="connsiteX22" fmla="*/ 1614487 w 3138487"/>
              <a:gd name="connsiteY22" fmla="*/ 683419 h 935831"/>
              <a:gd name="connsiteX23" fmla="*/ 1885949 w 3138487"/>
              <a:gd name="connsiteY23" fmla="*/ 661987 h 935831"/>
              <a:gd name="connsiteX24" fmla="*/ 1883569 w 3138487"/>
              <a:gd name="connsiteY24" fmla="*/ 740568 h 935831"/>
              <a:gd name="connsiteX25" fmla="*/ 2483644 w 3138487"/>
              <a:gd name="connsiteY25" fmla="*/ 740569 h 935831"/>
              <a:gd name="connsiteX26" fmla="*/ 2486024 w 3138487"/>
              <a:gd name="connsiteY26" fmla="*/ 935831 h 935831"/>
              <a:gd name="connsiteX27" fmla="*/ 3138487 w 3138487"/>
              <a:gd name="connsiteY27"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1045369 w 3138487"/>
              <a:gd name="connsiteY15" fmla="*/ 471488 h 935831"/>
              <a:gd name="connsiteX16" fmla="*/ 1131094 w 3138487"/>
              <a:gd name="connsiteY16" fmla="*/ 547688 h 935831"/>
              <a:gd name="connsiteX17" fmla="*/ 1181100 w 3138487"/>
              <a:gd name="connsiteY17" fmla="*/ 552450 h 935831"/>
              <a:gd name="connsiteX18" fmla="*/ 1185862 w 3138487"/>
              <a:gd name="connsiteY18" fmla="*/ 583406 h 935831"/>
              <a:gd name="connsiteX19" fmla="*/ 1464469 w 3138487"/>
              <a:gd name="connsiteY19" fmla="*/ 590550 h 935831"/>
              <a:gd name="connsiteX20" fmla="*/ 1490662 w 3138487"/>
              <a:gd name="connsiteY20" fmla="*/ 671512 h 935831"/>
              <a:gd name="connsiteX21" fmla="*/ 1600200 w 3138487"/>
              <a:gd name="connsiteY21" fmla="*/ 635794 h 935831"/>
              <a:gd name="connsiteX22" fmla="*/ 1614487 w 3138487"/>
              <a:gd name="connsiteY22" fmla="*/ 683419 h 935831"/>
              <a:gd name="connsiteX23" fmla="*/ 1885949 w 3138487"/>
              <a:gd name="connsiteY23" fmla="*/ 661987 h 935831"/>
              <a:gd name="connsiteX24" fmla="*/ 1883569 w 3138487"/>
              <a:gd name="connsiteY24" fmla="*/ 740568 h 935831"/>
              <a:gd name="connsiteX25" fmla="*/ 2483644 w 3138487"/>
              <a:gd name="connsiteY25" fmla="*/ 740569 h 935831"/>
              <a:gd name="connsiteX26" fmla="*/ 2486024 w 3138487"/>
              <a:gd name="connsiteY26" fmla="*/ 935831 h 935831"/>
              <a:gd name="connsiteX27" fmla="*/ 3138487 w 3138487"/>
              <a:gd name="connsiteY27"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1045369 w 3138487"/>
              <a:gd name="connsiteY15" fmla="*/ 471488 h 935831"/>
              <a:gd name="connsiteX16" fmla="*/ 1131094 w 3138487"/>
              <a:gd name="connsiteY16" fmla="*/ 547688 h 935831"/>
              <a:gd name="connsiteX17" fmla="*/ 1181100 w 3138487"/>
              <a:gd name="connsiteY17" fmla="*/ 552450 h 935831"/>
              <a:gd name="connsiteX18" fmla="*/ 1185862 w 3138487"/>
              <a:gd name="connsiteY18" fmla="*/ 583406 h 935831"/>
              <a:gd name="connsiteX19" fmla="*/ 1464469 w 3138487"/>
              <a:gd name="connsiteY19" fmla="*/ 590550 h 935831"/>
              <a:gd name="connsiteX20" fmla="*/ 1490662 w 3138487"/>
              <a:gd name="connsiteY20" fmla="*/ 671512 h 935831"/>
              <a:gd name="connsiteX21" fmla="*/ 1614487 w 3138487"/>
              <a:gd name="connsiteY21" fmla="*/ 683419 h 935831"/>
              <a:gd name="connsiteX22" fmla="*/ 1885949 w 3138487"/>
              <a:gd name="connsiteY22" fmla="*/ 661987 h 935831"/>
              <a:gd name="connsiteX23" fmla="*/ 1883569 w 3138487"/>
              <a:gd name="connsiteY23" fmla="*/ 740568 h 935831"/>
              <a:gd name="connsiteX24" fmla="*/ 2483644 w 3138487"/>
              <a:gd name="connsiteY24" fmla="*/ 740569 h 935831"/>
              <a:gd name="connsiteX25" fmla="*/ 2486024 w 3138487"/>
              <a:gd name="connsiteY25" fmla="*/ 935831 h 935831"/>
              <a:gd name="connsiteX26" fmla="*/ 3138487 w 3138487"/>
              <a:gd name="connsiteY26"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1045369 w 3138487"/>
              <a:gd name="connsiteY15" fmla="*/ 471488 h 935831"/>
              <a:gd name="connsiteX16" fmla="*/ 1131094 w 3138487"/>
              <a:gd name="connsiteY16" fmla="*/ 547688 h 935831"/>
              <a:gd name="connsiteX17" fmla="*/ 1181100 w 3138487"/>
              <a:gd name="connsiteY17" fmla="*/ 552450 h 935831"/>
              <a:gd name="connsiteX18" fmla="*/ 1185862 w 3138487"/>
              <a:gd name="connsiteY18" fmla="*/ 583406 h 935831"/>
              <a:gd name="connsiteX19" fmla="*/ 1464469 w 3138487"/>
              <a:gd name="connsiteY19" fmla="*/ 590550 h 935831"/>
              <a:gd name="connsiteX20" fmla="*/ 1490662 w 3138487"/>
              <a:gd name="connsiteY20" fmla="*/ 671512 h 935831"/>
              <a:gd name="connsiteX21" fmla="*/ 1885949 w 3138487"/>
              <a:gd name="connsiteY21" fmla="*/ 661987 h 935831"/>
              <a:gd name="connsiteX22" fmla="*/ 1883569 w 3138487"/>
              <a:gd name="connsiteY22" fmla="*/ 740568 h 935831"/>
              <a:gd name="connsiteX23" fmla="*/ 2483644 w 3138487"/>
              <a:gd name="connsiteY23" fmla="*/ 740569 h 935831"/>
              <a:gd name="connsiteX24" fmla="*/ 2486024 w 3138487"/>
              <a:gd name="connsiteY24" fmla="*/ 935831 h 935831"/>
              <a:gd name="connsiteX25" fmla="*/ 3138487 w 3138487"/>
              <a:gd name="connsiteY25"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1045369 w 3138487"/>
              <a:gd name="connsiteY15" fmla="*/ 471488 h 935831"/>
              <a:gd name="connsiteX16" fmla="*/ 1131094 w 3138487"/>
              <a:gd name="connsiteY16" fmla="*/ 547688 h 935831"/>
              <a:gd name="connsiteX17" fmla="*/ 1181100 w 3138487"/>
              <a:gd name="connsiteY17" fmla="*/ 552450 h 935831"/>
              <a:gd name="connsiteX18" fmla="*/ 1185862 w 3138487"/>
              <a:gd name="connsiteY18" fmla="*/ 583406 h 935831"/>
              <a:gd name="connsiteX19" fmla="*/ 1447800 w 3138487"/>
              <a:gd name="connsiteY19" fmla="*/ 619125 h 935831"/>
              <a:gd name="connsiteX20" fmla="*/ 1490662 w 3138487"/>
              <a:gd name="connsiteY20" fmla="*/ 671512 h 935831"/>
              <a:gd name="connsiteX21" fmla="*/ 1885949 w 3138487"/>
              <a:gd name="connsiteY21" fmla="*/ 661987 h 935831"/>
              <a:gd name="connsiteX22" fmla="*/ 1883569 w 3138487"/>
              <a:gd name="connsiteY22" fmla="*/ 740568 h 935831"/>
              <a:gd name="connsiteX23" fmla="*/ 2483644 w 3138487"/>
              <a:gd name="connsiteY23" fmla="*/ 740569 h 935831"/>
              <a:gd name="connsiteX24" fmla="*/ 2486024 w 3138487"/>
              <a:gd name="connsiteY24" fmla="*/ 935831 h 935831"/>
              <a:gd name="connsiteX25" fmla="*/ 3138487 w 3138487"/>
              <a:gd name="connsiteY25"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131094 w 3138487"/>
              <a:gd name="connsiteY16" fmla="*/ 547688 h 935831"/>
              <a:gd name="connsiteX17" fmla="*/ 1181100 w 3138487"/>
              <a:gd name="connsiteY17" fmla="*/ 552450 h 935831"/>
              <a:gd name="connsiteX18" fmla="*/ 1185862 w 3138487"/>
              <a:gd name="connsiteY18" fmla="*/ 583406 h 935831"/>
              <a:gd name="connsiteX19" fmla="*/ 1447800 w 3138487"/>
              <a:gd name="connsiteY19" fmla="*/ 619125 h 935831"/>
              <a:gd name="connsiteX20" fmla="*/ 1490662 w 3138487"/>
              <a:gd name="connsiteY20" fmla="*/ 671512 h 935831"/>
              <a:gd name="connsiteX21" fmla="*/ 1885949 w 3138487"/>
              <a:gd name="connsiteY21" fmla="*/ 661987 h 935831"/>
              <a:gd name="connsiteX22" fmla="*/ 1883569 w 3138487"/>
              <a:gd name="connsiteY22" fmla="*/ 740568 h 935831"/>
              <a:gd name="connsiteX23" fmla="*/ 2483644 w 3138487"/>
              <a:gd name="connsiteY23" fmla="*/ 740569 h 935831"/>
              <a:gd name="connsiteX24" fmla="*/ 2486024 w 3138487"/>
              <a:gd name="connsiteY24" fmla="*/ 935831 h 935831"/>
              <a:gd name="connsiteX25" fmla="*/ 3138487 w 3138487"/>
              <a:gd name="connsiteY25"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181100 w 3138487"/>
              <a:gd name="connsiteY16" fmla="*/ 552450 h 935831"/>
              <a:gd name="connsiteX17" fmla="*/ 1185862 w 3138487"/>
              <a:gd name="connsiteY17" fmla="*/ 583406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185862 w 3138487"/>
              <a:gd name="connsiteY17" fmla="*/ 583406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447800 w 3138487"/>
              <a:gd name="connsiteY17" fmla="*/ 619125 h 935831"/>
              <a:gd name="connsiteX18" fmla="*/ 1490662 w 3138487"/>
              <a:gd name="connsiteY18" fmla="*/ 671512 h 935831"/>
              <a:gd name="connsiteX19" fmla="*/ 1885949 w 3138487"/>
              <a:gd name="connsiteY19" fmla="*/ 661987 h 935831"/>
              <a:gd name="connsiteX20" fmla="*/ 1883569 w 3138487"/>
              <a:gd name="connsiteY20" fmla="*/ 740568 h 935831"/>
              <a:gd name="connsiteX21" fmla="*/ 2483644 w 3138487"/>
              <a:gd name="connsiteY21" fmla="*/ 740569 h 935831"/>
              <a:gd name="connsiteX22" fmla="*/ 2486024 w 3138487"/>
              <a:gd name="connsiteY22" fmla="*/ 935831 h 935831"/>
              <a:gd name="connsiteX23" fmla="*/ 3138487 w 3138487"/>
              <a:gd name="connsiteY23"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347368 w 3138487"/>
              <a:gd name="connsiteY17" fmla="*/ 585493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433387 w 3138487"/>
              <a:gd name="connsiteY7" fmla="*/ 266700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388143 w 3138487"/>
              <a:gd name="connsiteY7" fmla="*/ 338137 h 935831"/>
              <a:gd name="connsiteX8" fmla="*/ 483394 w 3138487"/>
              <a:gd name="connsiteY8" fmla="*/ 266700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388143 w 3138487"/>
              <a:gd name="connsiteY7" fmla="*/ 338137 h 935831"/>
              <a:gd name="connsiteX8" fmla="*/ 469107 w 3138487"/>
              <a:gd name="connsiteY8" fmla="*/ 383381 h 935831"/>
              <a:gd name="connsiteX9" fmla="*/ 621506 w 3138487"/>
              <a:gd name="connsiteY9" fmla="*/ 35956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388143 w 3138487"/>
              <a:gd name="connsiteY7" fmla="*/ 338137 h 935831"/>
              <a:gd name="connsiteX8" fmla="*/ 469107 w 3138487"/>
              <a:gd name="connsiteY8" fmla="*/ 383381 h 935831"/>
              <a:gd name="connsiteX9" fmla="*/ 554831 w 3138487"/>
              <a:gd name="connsiteY9" fmla="*/ 416719 h 935831"/>
              <a:gd name="connsiteX10" fmla="*/ 702469 w 3138487"/>
              <a:gd name="connsiteY10" fmla="*/ 36433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388143 w 3138487"/>
              <a:gd name="connsiteY7" fmla="*/ 338137 h 935831"/>
              <a:gd name="connsiteX8" fmla="*/ 469107 w 3138487"/>
              <a:gd name="connsiteY8" fmla="*/ 383381 h 935831"/>
              <a:gd name="connsiteX9" fmla="*/ 554831 w 3138487"/>
              <a:gd name="connsiteY9" fmla="*/ 416719 h 935831"/>
              <a:gd name="connsiteX10" fmla="*/ 611982 w 3138487"/>
              <a:gd name="connsiteY10" fmla="*/ 459581 h 935831"/>
              <a:gd name="connsiteX11" fmla="*/ 721519 w 3138487"/>
              <a:gd name="connsiteY11" fmla="*/ 385763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388143 w 3138487"/>
              <a:gd name="connsiteY7" fmla="*/ 338137 h 935831"/>
              <a:gd name="connsiteX8" fmla="*/ 469107 w 3138487"/>
              <a:gd name="connsiteY8" fmla="*/ 383381 h 935831"/>
              <a:gd name="connsiteX9" fmla="*/ 554831 w 3138487"/>
              <a:gd name="connsiteY9" fmla="*/ 416719 h 935831"/>
              <a:gd name="connsiteX10" fmla="*/ 611982 w 3138487"/>
              <a:gd name="connsiteY10" fmla="*/ 459581 h 935831"/>
              <a:gd name="connsiteX11" fmla="*/ 688182 w 3138487"/>
              <a:gd name="connsiteY11" fmla="*/ 485775 h 935831"/>
              <a:gd name="connsiteX12" fmla="*/ 802481 w 3138487"/>
              <a:gd name="connsiteY12" fmla="*/ 381000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388143 w 3138487"/>
              <a:gd name="connsiteY7" fmla="*/ 338137 h 935831"/>
              <a:gd name="connsiteX8" fmla="*/ 469107 w 3138487"/>
              <a:gd name="connsiteY8" fmla="*/ 383381 h 935831"/>
              <a:gd name="connsiteX9" fmla="*/ 554831 w 3138487"/>
              <a:gd name="connsiteY9" fmla="*/ 416719 h 935831"/>
              <a:gd name="connsiteX10" fmla="*/ 611982 w 3138487"/>
              <a:gd name="connsiteY10" fmla="*/ 459581 h 935831"/>
              <a:gd name="connsiteX11" fmla="*/ 688182 w 3138487"/>
              <a:gd name="connsiteY11" fmla="*/ 485775 h 935831"/>
              <a:gd name="connsiteX12" fmla="*/ 764381 w 3138487"/>
              <a:gd name="connsiteY12" fmla="*/ 502444 h 935831"/>
              <a:gd name="connsiteX13" fmla="*/ 833437 w 3138487"/>
              <a:gd name="connsiteY13" fmla="*/ 447675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388143 w 3138487"/>
              <a:gd name="connsiteY7" fmla="*/ 338137 h 935831"/>
              <a:gd name="connsiteX8" fmla="*/ 469107 w 3138487"/>
              <a:gd name="connsiteY8" fmla="*/ 383381 h 935831"/>
              <a:gd name="connsiteX9" fmla="*/ 554831 w 3138487"/>
              <a:gd name="connsiteY9" fmla="*/ 416719 h 935831"/>
              <a:gd name="connsiteX10" fmla="*/ 611982 w 3138487"/>
              <a:gd name="connsiteY10" fmla="*/ 459581 h 935831"/>
              <a:gd name="connsiteX11" fmla="*/ 688182 w 3138487"/>
              <a:gd name="connsiteY11" fmla="*/ 485775 h 935831"/>
              <a:gd name="connsiteX12" fmla="*/ 764381 w 3138487"/>
              <a:gd name="connsiteY12" fmla="*/ 502444 h 935831"/>
              <a:gd name="connsiteX13" fmla="*/ 816769 w 3138487"/>
              <a:gd name="connsiteY13" fmla="*/ 509588 h 935831"/>
              <a:gd name="connsiteX14" fmla="*/ 885825 w 3138487"/>
              <a:gd name="connsiteY14" fmla="*/ 469106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383381 w 3138487"/>
              <a:gd name="connsiteY6" fmla="*/ 221456 h 935831"/>
              <a:gd name="connsiteX7" fmla="*/ 388143 w 3138487"/>
              <a:gd name="connsiteY7" fmla="*/ 338137 h 935831"/>
              <a:gd name="connsiteX8" fmla="*/ 469107 w 3138487"/>
              <a:gd name="connsiteY8" fmla="*/ 383381 h 935831"/>
              <a:gd name="connsiteX9" fmla="*/ 554831 w 3138487"/>
              <a:gd name="connsiteY9" fmla="*/ 416719 h 935831"/>
              <a:gd name="connsiteX10" fmla="*/ 611982 w 3138487"/>
              <a:gd name="connsiteY10" fmla="*/ 459581 h 935831"/>
              <a:gd name="connsiteX11" fmla="*/ 688182 w 3138487"/>
              <a:gd name="connsiteY11" fmla="*/ 485775 h 935831"/>
              <a:gd name="connsiteX12" fmla="*/ 764381 w 3138487"/>
              <a:gd name="connsiteY12" fmla="*/ 502444 h 935831"/>
              <a:gd name="connsiteX13" fmla="*/ 816769 w 3138487"/>
              <a:gd name="connsiteY13" fmla="*/ 509588 h 935831"/>
              <a:gd name="connsiteX14" fmla="*/ 873919 w 3138487"/>
              <a:gd name="connsiteY14" fmla="*/ 511969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330994 w 3138487"/>
              <a:gd name="connsiteY5" fmla="*/ 176213 h 935831"/>
              <a:gd name="connsiteX6" fmla="*/ 269081 w 3138487"/>
              <a:gd name="connsiteY6" fmla="*/ 285750 h 935831"/>
              <a:gd name="connsiteX7" fmla="*/ 388143 w 3138487"/>
              <a:gd name="connsiteY7" fmla="*/ 338137 h 935831"/>
              <a:gd name="connsiteX8" fmla="*/ 469107 w 3138487"/>
              <a:gd name="connsiteY8" fmla="*/ 383381 h 935831"/>
              <a:gd name="connsiteX9" fmla="*/ 554831 w 3138487"/>
              <a:gd name="connsiteY9" fmla="*/ 416719 h 935831"/>
              <a:gd name="connsiteX10" fmla="*/ 611982 w 3138487"/>
              <a:gd name="connsiteY10" fmla="*/ 459581 h 935831"/>
              <a:gd name="connsiteX11" fmla="*/ 688182 w 3138487"/>
              <a:gd name="connsiteY11" fmla="*/ 485775 h 935831"/>
              <a:gd name="connsiteX12" fmla="*/ 764381 w 3138487"/>
              <a:gd name="connsiteY12" fmla="*/ 502444 h 935831"/>
              <a:gd name="connsiteX13" fmla="*/ 816769 w 3138487"/>
              <a:gd name="connsiteY13" fmla="*/ 509588 h 935831"/>
              <a:gd name="connsiteX14" fmla="*/ 873919 w 3138487"/>
              <a:gd name="connsiteY14" fmla="*/ 511969 h 935831"/>
              <a:gd name="connsiteX15" fmla="*/ 916781 w 3138487"/>
              <a:gd name="connsiteY15" fmla="*/ 540544 h 935831"/>
              <a:gd name="connsiteX16" fmla="*/ 1216818 w 3138487"/>
              <a:gd name="connsiteY16" fmla="*/ 531019 h 935831"/>
              <a:gd name="connsiteX17" fmla="*/ 1349749 w 3138487"/>
              <a:gd name="connsiteY17" fmla="*/ 625975 h 935831"/>
              <a:gd name="connsiteX18" fmla="*/ 1447800 w 3138487"/>
              <a:gd name="connsiteY18" fmla="*/ 619125 h 935831"/>
              <a:gd name="connsiteX19" fmla="*/ 1490662 w 3138487"/>
              <a:gd name="connsiteY19" fmla="*/ 671512 h 935831"/>
              <a:gd name="connsiteX20" fmla="*/ 1885949 w 3138487"/>
              <a:gd name="connsiteY20" fmla="*/ 661987 h 935831"/>
              <a:gd name="connsiteX21" fmla="*/ 1883569 w 3138487"/>
              <a:gd name="connsiteY21" fmla="*/ 740568 h 935831"/>
              <a:gd name="connsiteX22" fmla="*/ 2483644 w 3138487"/>
              <a:gd name="connsiteY22" fmla="*/ 740569 h 935831"/>
              <a:gd name="connsiteX23" fmla="*/ 2486024 w 3138487"/>
              <a:gd name="connsiteY23" fmla="*/ 935831 h 935831"/>
              <a:gd name="connsiteX24" fmla="*/ 3138487 w 3138487"/>
              <a:gd name="connsiteY24"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76225 w 3138487"/>
              <a:gd name="connsiteY4" fmla="*/ 152400 h 935831"/>
              <a:gd name="connsiteX5" fmla="*/ 269081 w 3138487"/>
              <a:gd name="connsiteY5" fmla="*/ 285750 h 935831"/>
              <a:gd name="connsiteX6" fmla="*/ 388143 w 3138487"/>
              <a:gd name="connsiteY6" fmla="*/ 338137 h 935831"/>
              <a:gd name="connsiteX7" fmla="*/ 469107 w 3138487"/>
              <a:gd name="connsiteY7" fmla="*/ 383381 h 935831"/>
              <a:gd name="connsiteX8" fmla="*/ 554831 w 3138487"/>
              <a:gd name="connsiteY8" fmla="*/ 416719 h 935831"/>
              <a:gd name="connsiteX9" fmla="*/ 611982 w 3138487"/>
              <a:gd name="connsiteY9" fmla="*/ 459581 h 935831"/>
              <a:gd name="connsiteX10" fmla="*/ 688182 w 3138487"/>
              <a:gd name="connsiteY10" fmla="*/ 485775 h 935831"/>
              <a:gd name="connsiteX11" fmla="*/ 764381 w 3138487"/>
              <a:gd name="connsiteY11" fmla="*/ 502444 h 935831"/>
              <a:gd name="connsiteX12" fmla="*/ 816769 w 3138487"/>
              <a:gd name="connsiteY12" fmla="*/ 509588 h 935831"/>
              <a:gd name="connsiteX13" fmla="*/ 873919 w 3138487"/>
              <a:gd name="connsiteY13" fmla="*/ 511969 h 935831"/>
              <a:gd name="connsiteX14" fmla="*/ 916781 w 3138487"/>
              <a:gd name="connsiteY14" fmla="*/ 540544 h 935831"/>
              <a:gd name="connsiteX15" fmla="*/ 1216818 w 3138487"/>
              <a:gd name="connsiteY15" fmla="*/ 531019 h 935831"/>
              <a:gd name="connsiteX16" fmla="*/ 1349749 w 3138487"/>
              <a:gd name="connsiteY16" fmla="*/ 625975 h 935831"/>
              <a:gd name="connsiteX17" fmla="*/ 1447800 w 3138487"/>
              <a:gd name="connsiteY17" fmla="*/ 619125 h 935831"/>
              <a:gd name="connsiteX18" fmla="*/ 1490662 w 3138487"/>
              <a:gd name="connsiteY18" fmla="*/ 671512 h 935831"/>
              <a:gd name="connsiteX19" fmla="*/ 1885949 w 3138487"/>
              <a:gd name="connsiteY19" fmla="*/ 661987 h 935831"/>
              <a:gd name="connsiteX20" fmla="*/ 1883569 w 3138487"/>
              <a:gd name="connsiteY20" fmla="*/ 740568 h 935831"/>
              <a:gd name="connsiteX21" fmla="*/ 2483644 w 3138487"/>
              <a:gd name="connsiteY21" fmla="*/ 740569 h 935831"/>
              <a:gd name="connsiteX22" fmla="*/ 2486024 w 3138487"/>
              <a:gd name="connsiteY22" fmla="*/ 935831 h 935831"/>
              <a:gd name="connsiteX23" fmla="*/ 3138487 w 3138487"/>
              <a:gd name="connsiteY23" fmla="*/ 926306 h 935831"/>
              <a:gd name="connsiteX0" fmla="*/ 0 w 3138487"/>
              <a:gd name="connsiteY0" fmla="*/ 0 h 935831"/>
              <a:gd name="connsiteX1" fmla="*/ 90487 w 3138487"/>
              <a:gd name="connsiteY1" fmla="*/ 0 h 935831"/>
              <a:gd name="connsiteX2" fmla="*/ 90487 w 3138487"/>
              <a:gd name="connsiteY2" fmla="*/ 40481 h 935831"/>
              <a:gd name="connsiteX3" fmla="*/ 164306 w 3138487"/>
              <a:gd name="connsiteY3" fmla="*/ 40481 h 935831"/>
              <a:gd name="connsiteX4" fmla="*/ 269081 w 3138487"/>
              <a:gd name="connsiteY4" fmla="*/ 285750 h 935831"/>
              <a:gd name="connsiteX5" fmla="*/ 388143 w 3138487"/>
              <a:gd name="connsiteY5" fmla="*/ 338137 h 935831"/>
              <a:gd name="connsiteX6" fmla="*/ 469107 w 3138487"/>
              <a:gd name="connsiteY6" fmla="*/ 383381 h 935831"/>
              <a:gd name="connsiteX7" fmla="*/ 554831 w 3138487"/>
              <a:gd name="connsiteY7" fmla="*/ 416719 h 935831"/>
              <a:gd name="connsiteX8" fmla="*/ 611982 w 3138487"/>
              <a:gd name="connsiteY8" fmla="*/ 459581 h 935831"/>
              <a:gd name="connsiteX9" fmla="*/ 688182 w 3138487"/>
              <a:gd name="connsiteY9" fmla="*/ 485775 h 935831"/>
              <a:gd name="connsiteX10" fmla="*/ 764381 w 3138487"/>
              <a:gd name="connsiteY10" fmla="*/ 502444 h 935831"/>
              <a:gd name="connsiteX11" fmla="*/ 816769 w 3138487"/>
              <a:gd name="connsiteY11" fmla="*/ 509588 h 935831"/>
              <a:gd name="connsiteX12" fmla="*/ 873919 w 3138487"/>
              <a:gd name="connsiteY12" fmla="*/ 511969 h 935831"/>
              <a:gd name="connsiteX13" fmla="*/ 916781 w 3138487"/>
              <a:gd name="connsiteY13" fmla="*/ 540544 h 935831"/>
              <a:gd name="connsiteX14" fmla="*/ 1216818 w 3138487"/>
              <a:gd name="connsiteY14" fmla="*/ 531019 h 935831"/>
              <a:gd name="connsiteX15" fmla="*/ 1349749 w 3138487"/>
              <a:gd name="connsiteY15" fmla="*/ 625975 h 935831"/>
              <a:gd name="connsiteX16" fmla="*/ 1447800 w 3138487"/>
              <a:gd name="connsiteY16" fmla="*/ 619125 h 935831"/>
              <a:gd name="connsiteX17" fmla="*/ 1490662 w 3138487"/>
              <a:gd name="connsiteY17" fmla="*/ 671512 h 935831"/>
              <a:gd name="connsiteX18" fmla="*/ 1885949 w 3138487"/>
              <a:gd name="connsiteY18" fmla="*/ 661987 h 935831"/>
              <a:gd name="connsiteX19" fmla="*/ 1883569 w 3138487"/>
              <a:gd name="connsiteY19" fmla="*/ 740568 h 935831"/>
              <a:gd name="connsiteX20" fmla="*/ 2483644 w 3138487"/>
              <a:gd name="connsiteY20" fmla="*/ 740569 h 935831"/>
              <a:gd name="connsiteX21" fmla="*/ 2486024 w 3138487"/>
              <a:gd name="connsiteY21" fmla="*/ 935831 h 935831"/>
              <a:gd name="connsiteX22" fmla="*/ 3138487 w 3138487"/>
              <a:gd name="connsiteY22" fmla="*/ 926306 h 935831"/>
              <a:gd name="connsiteX0" fmla="*/ 0 w 3138487"/>
              <a:gd name="connsiteY0" fmla="*/ 0 h 935831"/>
              <a:gd name="connsiteX1" fmla="*/ 90487 w 3138487"/>
              <a:gd name="connsiteY1" fmla="*/ 0 h 935831"/>
              <a:gd name="connsiteX2" fmla="*/ 90487 w 3138487"/>
              <a:gd name="connsiteY2" fmla="*/ 40481 h 935831"/>
              <a:gd name="connsiteX3" fmla="*/ 123825 w 3138487"/>
              <a:gd name="connsiteY3" fmla="*/ 252412 h 935831"/>
              <a:gd name="connsiteX4" fmla="*/ 269081 w 3138487"/>
              <a:gd name="connsiteY4" fmla="*/ 285750 h 935831"/>
              <a:gd name="connsiteX5" fmla="*/ 388143 w 3138487"/>
              <a:gd name="connsiteY5" fmla="*/ 338137 h 935831"/>
              <a:gd name="connsiteX6" fmla="*/ 469107 w 3138487"/>
              <a:gd name="connsiteY6" fmla="*/ 383381 h 935831"/>
              <a:gd name="connsiteX7" fmla="*/ 554831 w 3138487"/>
              <a:gd name="connsiteY7" fmla="*/ 416719 h 935831"/>
              <a:gd name="connsiteX8" fmla="*/ 611982 w 3138487"/>
              <a:gd name="connsiteY8" fmla="*/ 459581 h 935831"/>
              <a:gd name="connsiteX9" fmla="*/ 688182 w 3138487"/>
              <a:gd name="connsiteY9" fmla="*/ 485775 h 935831"/>
              <a:gd name="connsiteX10" fmla="*/ 764381 w 3138487"/>
              <a:gd name="connsiteY10" fmla="*/ 502444 h 935831"/>
              <a:gd name="connsiteX11" fmla="*/ 816769 w 3138487"/>
              <a:gd name="connsiteY11" fmla="*/ 509588 h 935831"/>
              <a:gd name="connsiteX12" fmla="*/ 873919 w 3138487"/>
              <a:gd name="connsiteY12" fmla="*/ 511969 h 935831"/>
              <a:gd name="connsiteX13" fmla="*/ 916781 w 3138487"/>
              <a:gd name="connsiteY13" fmla="*/ 540544 h 935831"/>
              <a:gd name="connsiteX14" fmla="*/ 1216818 w 3138487"/>
              <a:gd name="connsiteY14" fmla="*/ 531019 h 935831"/>
              <a:gd name="connsiteX15" fmla="*/ 1349749 w 3138487"/>
              <a:gd name="connsiteY15" fmla="*/ 625975 h 935831"/>
              <a:gd name="connsiteX16" fmla="*/ 1447800 w 3138487"/>
              <a:gd name="connsiteY16" fmla="*/ 619125 h 935831"/>
              <a:gd name="connsiteX17" fmla="*/ 1490662 w 3138487"/>
              <a:gd name="connsiteY17" fmla="*/ 671512 h 935831"/>
              <a:gd name="connsiteX18" fmla="*/ 1885949 w 3138487"/>
              <a:gd name="connsiteY18" fmla="*/ 661987 h 935831"/>
              <a:gd name="connsiteX19" fmla="*/ 1883569 w 3138487"/>
              <a:gd name="connsiteY19" fmla="*/ 740568 h 935831"/>
              <a:gd name="connsiteX20" fmla="*/ 2483644 w 3138487"/>
              <a:gd name="connsiteY20" fmla="*/ 740569 h 935831"/>
              <a:gd name="connsiteX21" fmla="*/ 2486024 w 3138487"/>
              <a:gd name="connsiteY21" fmla="*/ 935831 h 935831"/>
              <a:gd name="connsiteX22" fmla="*/ 3138487 w 3138487"/>
              <a:gd name="connsiteY22" fmla="*/ 926306 h 935831"/>
              <a:gd name="connsiteX0" fmla="*/ 0 w 3138487"/>
              <a:gd name="connsiteY0" fmla="*/ 0 h 935831"/>
              <a:gd name="connsiteX1" fmla="*/ 90487 w 3138487"/>
              <a:gd name="connsiteY1" fmla="*/ 0 h 935831"/>
              <a:gd name="connsiteX2" fmla="*/ 123825 w 3138487"/>
              <a:gd name="connsiteY2" fmla="*/ 252412 h 935831"/>
              <a:gd name="connsiteX3" fmla="*/ 269081 w 3138487"/>
              <a:gd name="connsiteY3" fmla="*/ 285750 h 935831"/>
              <a:gd name="connsiteX4" fmla="*/ 388143 w 3138487"/>
              <a:gd name="connsiteY4" fmla="*/ 338137 h 935831"/>
              <a:gd name="connsiteX5" fmla="*/ 469107 w 3138487"/>
              <a:gd name="connsiteY5" fmla="*/ 383381 h 935831"/>
              <a:gd name="connsiteX6" fmla="*/ 554831 w 3138487"/>
              <a:gd name="connsiteY6" fmla="*/ 416719 h 935831"/>
              <a:gd name="connsiteX7" fmla="*/ 611982 w 3138487"/>
              <a:gd name="connsiteY7" fmla="*/ 459581 h 935831"/>
              <a:gd name="connsiteX8" fmla="*/ 688182 w 3138487"/>
              <a:gd name="connsiteY8" fmla="*/ 485775 h 935831"/>
              <a:gd name="connsiteX9" fmla="*/ 764381 w 3138487"/>
              <a:gd name="connsiteY9" fmla="*/ 502444 h 935831"/>
              <a:gd name="connsiteX10" fmla="*/ 816769 w 3138487"/>
              <a:gd name="connsiteY10" fmla="*/ 509588 h 935831"/>
              <a:gd name="connsiteX11" fmla="*/ 873919 w 3138487"/>
              <a:gd name="connsiteY11" fmla="*/ 511969 h 935831"/>
              <a:gd name="connsiteX12" fmla="*/ 916781 w 3138487"/>
              <a:gd name="connsiteY12" fmla="*/ 540544 h 935831"/>
              <a:gd name="connsiteX13" fmla="*/ 1216818 w 3138487"/>
              <a:gd name="connsiteY13" fmla="*/ 531019 h 935831"/>
              <a:gd name="connsiteX14" fmla="*/ 1349749 w 3138487"/>
              <a:gd name="connsiteY14" fmla="*/ 625975 h 935831"/>
              <a:gd name="connsiteX15" fmla="*/ 1447800 w 3138487"/>
              <a:gd name="connsiteY15" fmla="*/ 619125 h 935831"/>
              <a:gd name="connsiteX16" fmla="*/ 1490662 w 3138487"/>
              <a:gd name="connsiteY16" fmla="*/ 671512 h 935831"/>
              <a:gd name="connsiteX17" fmla="*/ 1885949 w 3138487"/>
              <a:gd name="connsiteY17" fmla="*/ 661987 h 935831"/>
              <a:gd name="connsiteX18" fmla="*/ 1883569 w 3138487"/>
              <a:gd name="connsiteY18" fmla="*/ 740568 h 935831"/>
              <a:gd name="connsiteX19" fmla="*/ 2483644 w 3138487"/>
              <a:gd name="connsiteY19" fmla="*/ 740569 h 935831"/>
              <a:gd name="connsiteX20" fmla="*/ 2486024 w 3138487"/>
              <a:gd name="connsiteY20" fmla="*/ 935831 h 935831"/>
              <a:gd name="connsiteX21" fmla="*/ 3138487 w 3138487"/>
              <a:gd name="connsiteY21" fmla="*/ 926306 h 935831"/>
              <a:gd name="connsiteX0" fmla="*/ 0 w 3138487"/>
              <a:gd name="connsiteY0" fmla="*/ 0 h 935831"/>
              <a:gd name="connsiteX1" fmla="*/ 123825 w 3138487"/>
              <a:gd name="connsiteY1" fmla="*/ 252412 h 935831"/>
              <a:gd name="connsiteX2" fmla="*/ 269081 w 3138487"/>
              <a:gd name="connsiteY2" fmla="*/ 285750 h 935831"/>
              <a:gd name="connsiteX3" fmla="*/ 388143 w 3138487"/>
              <a:gd name="connsiteY3" fmla="*/ 338137 h 935831"/>
              <a:gd name="connsiteX4" fmla="*/ 469107 w 3138487"/>
              <a:gd name="connsiteY4" fmla="*/ 383381 h 935831"/>
              <a:gd name="connsiteX5" fmla="*/ 554831 w 3138487"/>
              <a:gd name="connsiteY5" fmla="*/ 416719 h 935831"/>
              <a:gd name="connsiteX6" fmla="*/ 611982 w 3138487"/>
              <a:gd name="connsiteY6" fmla="*/ 459581 h 935831"/>
              <a:gd name="connsiteX7" fmla="*/ 688182 w 3138487"/>
              <a:gd name="connsiteY7" fmla="*/ 485775 h 935831"/>
              <a:gd name="connsiteX8" fmla="*/ 764381 w 3138487"/>
              <a:gd name="connsiteY8" fmla="*/ 502444 h 935831"/>
              <a:gd name="connsiteX9" fmla="*/ 816769 w 3138487"/>
              <a:gd name="connsiteY9" fmla="*/ 509588 h 935831"/>
              <a:gd name="connsiteX10" fmla="*/ 873919 w 3138487"/>
              <a:gd name="connsiteY10" fmla="*/ 511969 h 935831"/>
              <a:gd name="connsiteX11" fmla="*/ 916781 w 3138487"/>
              <a:gd name="connsiteY11" fmla="*/ 540544 h 935831"/>
              <a:gd name="connsiteX12" fmla="*/ 1216818 w 3138487"/>
              <a:gd name="connsiteY12" fmla="*/ 531019 h 935831"/>
              <a:gd name="connsiteX13" fmla="*/ 1349749 w 3138487"/>
              <a:gd name="connsiteY13" fmla="*/ 625975 h 935831"/>
              <a:gd name="connsiteX14" fmla="*/ 1447800 w 3138487"/>
              <a:gd name="connsiteY14" fmla="*/ 619125 h 935831"/>
              <a:gd name="connsiteX15" fmla="*/ 1490662 w 3138487"/>
              <a:gd name="connsiteY15" fmla="*/ 671512 h 935831"/>
              <a:gd name="connsiteX16" fmla="*/ 1885949 w 3138487"/>
              <a:gd name="connsiteY16" fmla="*/ 661987 h 935831"/>
              <a:gd name="connsiteX17" fmla="*/ 1883569 w 3138487"/>
              <a:gd name="connsiteY17" fmla="*/ 740568 h 935831"/>
              <a:gd name="connsiteX18" fmla="*/ 2483644 w 3138487"/>
              <a:gd name="connsiteY18" fmla="*/ 740569 h 935831"/>
              <a:gd name="connsiteX19" fmla="*/ 2486024 w 3138487"/>
              <a:gd name="connsiteY19" fmla="*/ 935831 h 935831"/>
              <a:gd name="connsiteX20" fmla="*/ 3138487 w 3138487"/>
              <a:gd name="connsiteY20" fmla="*/ 926306 h 935831"/>
              <a:gd name="connsiteX0" fmla="*/ 0 w 3186112"/>
              <a:gd name="connsiteY0" fmla="*/ 0 h 688181"/>
              <a:gd name="connsiteX1" fmla="*/ 171450 w 3186112"/>
              <a:gd name="connsiteY1" fmla="*/ 4762 h 688181"/>
              <a:gd name="connsiteX2" fmla="*/ 316706 w 3186112"/>
              <a:gd name="connsiteY2" fmla="*/ 38100 h 688181"/>
              <a:gd name="connsiteX3" fmla="*/ 435768 w 3186112"/>
              <a:gd name="connsiteY3" fmla="*/ 90487 h 688181"/>
              <a:gd name="connsiteX4" fmla="*/ 516732 w 3186112"/>
              <a:gd name="connsiteY4" fmla="*/ 135731 h 688181"/>
              <a:gd name="connsiteX5" fmla="*/ 602456 w 3186112"/>
              <a:gd name="connsiteY5" fmla="*/ 169069 h 688181"/>
              <a:gd name="connsiteX6" fmla="*/ 659607 w 3186112"/>
              <a:gd name="connsiteY6" fmla="*/ 211931 h 688181"/>
              <a:gd name="connsiteX7" fmla="*/ 735807 w 3186112"/>
              <a:gd name="connsiteY7" fmla="*/ 238125 h 688181"/>
              <a:gd name="connsiteX8" fmla="*/ 812006 w 3186112"/>
              <a:gd name="connsiteY8" fmla="*/ 254794 h 688181"/>
              <a:gd name="connsiteX9" fmla="*/ 864394 w 3186112"/>
              <a:gd name="connsiteY9" fmla="*/ 261938 h 688181"/>
              <a:gd name="connsiteX10" fmla="*/ 921544 w 3186112"/>
              <a:gd name="connsiteY10" fmla="*/ 264319 h 688181"/>
              <a:gd name="connsiteX11" fmla="*/ 964406 w 3186112"/>
              <a:gd name="connsiteY11" fmla="*/ 292894 h 688181"/>
              <a:gd name="connsiteX12" fmla="*/ 1264443 w 3186112"/>
              <a:gd name="connsiteY12" fmla="*/ 283369 h 688181"/>
              <a:gd name="connsiteX13" fmla="*/ 1397374 w 3186112"/>
              <a:gd name="connsiteY13" fmla="*/ 378325 h 688181"/>
              <a:gd name="connsiteX14" fmla="*/ 1495425 w 3186112"/>
              <a:gd name="connsiteY14" fmla="*/ 371475 h 688181"/>
              <a:gd name="connsiteX15" fmla="*/ 1538287 w 3186112"/>
              <a:gd name="connsiteY15" fmla="*/ 423862 h 688181"/>
              <a:gd name="connsiteX16" fmla="*/ 1933574 w 3186112"/>
              <a:gd name="connsiteY16" fmla="*/ 414337 h 688181"/>
              <a:gd name="connsiteX17" fmla="*/ 1931194 w 3186112"/>
              <a:gd name="connsiteY17" fmla="*/ 492918 h 688181"/>
              <a:gd name="connsiteX18" fmla="*/ 2531269 w 3186112"/>
              <a:gd name="connsiteY18" fmla="*/ 492919 h 688181"/>
              <a:gd name="connsiteX19" fmla="*/ 2533649 w 3186112"/>
              <a:gd name="connsiteY19" fmla="*/ 688181 h 688181"/>
              <a:gd name="connsiteX20" fmla="*/ 3186112 w 3186112"/>
              <a:gd name="connsiteY20" fmla="*/ 678656 h 68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86112" h="688181">
                <a:moveTo>
                  <a:pt x="0" y="0"/>
                </a:moveTo>
                <a:lnTo>
                  <a:pt x="171450" y="4762"/>
                </a:lnTo>
                <a:lnTo>
                  <a:pt x="316706" y="38100"/>
                </a:lnTo>
                <a:lnTo>
                  <a:pt x="435768" y="90487"/>
                </a:lnTo>
                <a:lnTo>
                  <a:pt x="516732" y="135731"/>
                </a:lnTo>
                <a:lnTo>
                  <a:pt x="602456" y="169069"/>
                </a:lnTo>
                <a:lnTo>
                  <a:pt x="659607" y="211931"/>
                </a:lnTo>
                <a:lnTo>
                  <a:pt x="735807" y="238125"/>
                </a:lnTo>
                <a:lnTo>
                  <a:pt x="812006" y="254794"/>
                </a:lnTo>
                <a:lnTo>
                  <a:pt x="864394" y="261938"/>
                </a:lnTo>
                <a:lnTo>
                  <a:pt x="921544" y="264319"/>
                </a:lnTo>
                <a:lnTo>
                  <a:pt x="964406" y="292894"/>
                </a:lnTo>
                <a:lnTo>
                  <a:pt x="1264443" y="283369"/>
                </a:lnTo>
                <a:lnTo>
                  <a:pt x="1397374" y="378325"/>
                </a:lnTo>
                <a:lnTo>
                  <a:pt x="1495425" y="371475"/>
                </a:lnTo>
                <a:lnTo>
                  <a:pt x="1538287" y="423862"/>
                </a:lnTo>
                <a:lnTo>
                  <a:pt x="1933574" y="414337"/>
                </a:lnTo>
                <a:cubicBezTo>
                  <a:pt x="1932781" y="440531"/>
                  <a:pt x="1931987" y="466724"/>
                  <a:pt x="1931194" y="492918"/>
                </a:cubicBezTo>
                <a:lnTo>
                  <a:pt x="2531269" y="492919"/>
                </a:lnTo>
                <a:cubicBezTo>
                  <a:pt x="2532062" y="558006"/>
                  <a:pt x="2532856" y="623094"/>
                  <a:pt x="2533649" y="688181"/>
                </a:cubicBezTo>
                <a:lnTo>
                  <a:pt x="3186112" y="678656"/>
                </a:lnTo>
              </a:path>
            </a:pathLst>
          </a:custGeom>
          <a:noFill/>
          <a:ln w="19050">
            <a:solidFill>
              <a:srgbClr val="5F595B"/>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400"/>
          </a:p>
        </p:txBody>
      </p:sp>
      <p:sp>
        <p:nvSpPr>
          <p:cNvPr id="437" name="Freeform 436"/>
          <p:cNvSpPr/>
          <p:nvPr/>
        </p:nvSpPr>
        <p:spPr>
          <a:xfrm>
            <a:off x="5240338" y="2635250"/>
            <a:ext cx="3122612" cy="1062038"/>
          </a:xfrm>
          <a:custGeom>
            <a:avLst/>
            <a:gdLst>
              <a:gd name="connsiteX0" fmla="*/ 0 w 3245644"/>
              <a:gd name="connsiteY0" fmla="*/ 0 h 888206"/>
              <a:gd name="connsiteX1" fmla="*/ 90487 w 3245644"/>
              <a:gd name="connsiteY1" fmla="*/ 0 h 888206"/>
              <a:gd name="connsiteX2" fmla="*/ 90487 w 3245644"/>
              <a:gd name="connsiteY2" fmla="*/ 40481 h 888206"/>
              <a:gd name="connsiteX3" fmla="*/ 164306 w 3245644"/>
              <a:gd name="connsiteY3" fmla="*/ 40481 h 888206"/>
              <a:gd name="connsiteX4" fmla="*/ 276225 w 3245644"/>
              <a:gd name="connsiteY4" fmla="*/ 152400 h 888206"/>
              <a:gd name="connsiteX5" fmla="*/ 330994 w 3245644"/>
              <a:gd name="connsiteY5" fmla="*/ 176213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76225 w 3245644"/>
              <a:gd name="connsiteY4" fmla="*/ 152400 h 888206"/>
              <a:gd name="connsiteX5" fmla="*/ 330994 w 3245644"/>
              <a:gd name="connsiteY5" fmla="*/ 176213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330994 w 3245644"/>
              <a:gd name="connsiteY5" fmla="*/ 176213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929778 w 3245644"/>
              <a:gd name="connsiteY16" fmla="*/ 592915 h 888206"/>
              <a:gd name="connsiteX17" fmla="*/ 1131094 w 3245644"/>
              <a:gd name="connsiteY17" fmla="*/ 547688 h 888206"/>
              <a:gd name="connsiteX18" fmla="*/ 1181100 w 3245644"/>
              <a:gd name="connsiteY18" fmla="*/ 552450 h 888206"/>
              <a:gd name="connsiteX19" fmla="*/ 1185862 w 3245644"/>
              <a:gd name="connsiteY19" fmla="*/ 583406 h 888206"/>
              <a:gd name="connsiteX20" fmla="*/ 1464469 w 3245644"/>
              <a:gd name="connsiteY20" fmla="*/ 590550 h 888206"/>
              <a:gd name="connsiteX21" fmla="*/ 1490662 w 3245644"/>
              <a:gd name="connsiteY21" fmla="*/ 640556 h 888206"/>
              <a:gd name="connsiteX22" fmla="*/ 1600200 w 3245644"/>
              <a:gd name="connsiteY22" fmla="*/ 635794 h 888206"/>
              <a:gd name="connsiteX23" fmla="*/ 1614487 w 3245644"/>
              <a:gd name="connsiteY23" fmla="*/ 683419 h 888206"/>
              <a:gd name="connsiteX24" fmla="*/ 1783556 w 3245644"/>
              <a:gd name="connsiteY24" fmla="*/ 685800 h 888206"/>
              <a:gd name="connsiteX25" fmla="*/ 1783556 w 3245644"/>
              <a:gd name="connsiteY25" fmla="*/ 733425 h 888206"/>
              <a:gd name="connsiteX26" fmla="*/ 2483644 w 3245644"/>
              <a:gd name="connsiteY26" fmla="*/ 740569 h 888206"/>
              <a:gd name="connsiteX27" fmla="*/ 2481262 w 3245644"/>
              <a:gd name="connsiteY27" fmla="*/ 888206 h 888206"/>
              <a:gd name="connsiteX28" fmla="*/ 3245644 w 3245644"/>
              <a:gd name="connsiteY28"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834528 w 3245644"/>
              <a:gd name="connsiteY16" fmla="*/ 695309 h 888206"/>
              <a:gd name="connsiteX17" fmla="*/ 1131094 w 3245644"/>
              <a:gd name="connsiteY17" fmla="*/ 547688 h 888206"/>
              <a:gd name="connsiteX18" fmla="*/ 1181100 w 3245644"/>
              <a:gd name="connsiteY18" fmla="*/ 552450 h 888206"/>
              <a:gd name="connsiteX19" fmla="*/ 1185862 w 3245644"/>
              <a:gd name="connsiteY19" fmla="*/ 583406 h 888206"/>
              <a:gd name="connsiteX20" fmla="*/ 1464469 w 3245644"/>
              <a:gd name="connsiteY20" fmla="*/ 590550 h 888206"/>
              <a:gd name="connsiteX21" fmla="*/ 1490662 w 3245644"/>
              <a:gd name="connsiteY21" fmla="*/ 640556 h 888206"/>
              <a:gd name="connsiteX22" fmla="*/ 1600200 w 3245644"/>
              <a:gd name="connsiteY22" fmla="*/ 635794 h 888206"/>
              <a:gd name="connsiteX23" fmla="*/ 1614487 w 3245644"/>
              <a:gd name="connsiteY23" fmla="*/ 683419 h 888206"/>
              <a:gd name="connsiteX24" fmla="*/ 1783556 w 3245644"/>
              <a:gd name="connsiteY24" fmla="*/ 685800 h 888206"/>
              <a:gd name="connsiteX25" fmla="*/ 1783556 w 3245644"/>
              <a:gd name="connsiteY25" fmla="*/ 733425 h 888206"/>
              <a:gd name="connsiteX26" fmla="*/ 2483644 w 3245644"/>
              <a:gd name="connsiteY26" fmla="*/ 740569 h 888206"/>
              <a:gd name="connsiteX27" fmla="*/ 2481262 w 3245644"/>
              <a:gd name="connsiteY27" fmla="*/ 888206 h 888206"/>
              <a:gd name="connsiteX28" fmla="*/ 3245644 w 3245644"/>
              <a:gd name="connsiteY28"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60709 w 3245644"/>
              <a:gd name="connsiteY16" fmla="*/ 645303 h 888206"/>
              <a:gd name="connsiteX17" fmla="*/ 834528 w 3245644"/>
              <a:gd name="connsiteY17" fmla="*/ 695309 h 888206"/>
              <a:gd name="connsiteX18" fmla="*/ 1131094 w 3245644"/>
              <a:gd name="connsiteY18" fmla="*/ 547688 h 888206"/>
              <a:gd name="connsiteX19" fmla="*/ 1181100 w 3245644"/>
              <a:gd name="connsiteY19" fmla="*/ 552450 h 888206"/>
              <a:gd name="connsiteX20" fmla="*/ 1185862 w 3245644"/>
              <a:gd name="connsiteY20" fmla="*/ 583406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1131094 w 3245644"/>
              <a:gd name="connsiteY18" fmla="*/ 547688 h 888206"/>
              <a:gd name="connsiteX19" fmla="*/ 1181100 w 3245644"/>
              <a:gd name="connsiteY19" fmla="*/ 552450 h 888206"/>
              <a:gd name="connsiteX20" fmla="*/ 1185862 w 3245644"/>
              <a:gd name="connsiteY20" fmla="*/ 583406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81100 w 3245644"/>
              <a:gd name="connsiteY19" fmla="*/ 552450 h 888206"/>
              <a:gd name="connsiteX20" fmla="*/ 1185862 w 3245644"/>
              <a:gd name="connsiteY20" fmla="*/ 583406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85862 w 3245644"/>
              <a:gd name="connsiteY20" fmla="*/ 583406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1107 w 3245644"/>
              <a:gd name="connsiteY21" fmla="*/ 7810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1107 w 3245644"/>
              <a:gd name="connsiteY21" fmla="*/ 781050 h 888206"/>
              <a:gd name="connsiteX22" fmla="*/ 1314450 w 3245644"/>
              <a:gd name="connsiteY22" fmla="*/ 795337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3489 w 3245644"/>
              <a:gd name="connsiteY21" fmla="*/ 781050 h 888206"/>
              <a:gd name="connsiteX22" fmla="*/ 1314450 w 3245644"/>
              <a:gd name="connsiteY22" fmla="*/ 795337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3489 w 3245644"/>
              <a:gd name="connsiteY21" fmla="*/ 781050 h 888206"/>
              <a:gd name="connsiteX22" fmla="*/ 1314450 w 3245644"/>
              <a:gd name="connsiteY22" fmla="*/ 795337 h 888206"/>
              <a:gd name="connsiteX23" fmla="*/ 1333500 w 3245644"/>
              <a:gd name="connsiteY23" fmla="*/ 84534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3489 w 3245644"/>
              <a:gd name="connsiteY21" fmla="*/ 781050 h 888206"/>
              <a:gd name="connsiteX22" fmla="*/ 1314450 w 3245644"/>
              <a:gd name="connsiteY22" fmla="*/ 795337 h 888206"/>
              <a:gd name="connsiteX23" fmla="*/ 1333500 w 3245644"/>
              <a:gd name="connsiteY23" fmla="*/ 845344 h 888206"/>
              <a:gd name="connsiteX24" fmla="*/ 1428749 w 3245644"/>
              <a:gd name="connsiteY24" fmla="*/ 845344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7"/>
              <a:gd name="connsiteX1" fmla="*/ 90487 w 3245644"/>
              <a:gd name="connsiteY1" fmla="*/ 0 h 888207"/>
              <a:gd name="connsiteX2" fmla="*/ 90487 w 3245644"/>
              <a:gd name="connsiteY2" fmla="*/ 40481 h 888207"/>
              <a:gd name="connsiteX3" fmla="*/ 150018 w 3245644"/>
              <a:gd name="connsiteY3" fmla="*/ 54769 h 888207"/>
              <a:gd name="connsiteX4" fmla="*/ 211932 w 3245644"/>
              <a:gd name="connsiteY4" fmla="*/ 161925 h 888207"/>
              <a:gd name="connsiteX5" fmla="*/ 292894 w 3245644"/>
              <a:gd name="connsiteY5" fmla="*/ 266700 h 888207"/>
              <a:gd name="connsiteX6" fmla="*/ 373856 w 3245644"/>
              <a:gd name="connsiteY6" fmla="*/ 419100 h 888207"/>
              <a:gd name="connsiteX7" fmla="*/ 409574 w 3245644"/>
              <a:gd name="connsiteY7" fmla="*/ 438150 h 888207"/>
              <a:gd name="connsiteX8" fmla="*/ 447675 w 3245644"/>
              <a:gd name="connsiteY8" fmla="*/ 435769 h 888207"/>
              <a:gd name="connsiteX9" fmla="*/ 457200 w 3245644"/>
              <a:gd name="connsiteY9" fmla="*/ 478632 h 888207"/>
              <a:gd name="connsiteX10" fmla="*/ 488157 w 3245644"/>
              <a:gd name="connsiteY10" fmla="*/ 500062 h 888207"/>
              <a:gd name="connsiteX11" fmla="*/ 521494 w 3245644"/>
              <a:gd name="connsiteY11" fmla="*/ 492919 h 888207"/>
              <a:gd name="connsiteX12" fmla="*/ 600074 w 3245644"/>
              <a:gd name="connsiteY12" fmla="*/ 607219 h 888207"/>
              <a:gd name="connsiteX13" fmla="*/ 659605 w 3245644"/>
              <a:gd name="connsiteY13" fmla="*/ 604838 h 888207"/>
              <a:gd name="connsiteX14" fmla="*/ 683419 w 3245644"/>
              <a:gd name="connsiteY14" fmla="*/ 621506 h 888207"/>
              <a:gd name="connsiteX15" fmla="*/ 731044 w 3245644"/>
              <a:gd name="connsiteY15" fmla="*/ 631032 h 888207"/>
              <a:gd name="connsiteX16" fmla="*/ 770234 w 3245644"/>
              <a:gd name="connsiteY16" fmla="*/ 633397 h 888207"/>
              <a:gd name="connsiteX17" fmla="*/ 834528 w 3245644"/>
              <a:gd name="connsiteY17" fmla="*/ 695309 h 888207"/>
              <a:gd name="connsiteX18" fmla="*/ 895350 w 3245644"/>
              <a:gd name="connsiteY18" fmla="*/ 735807 h 888207"/>
              <a:gd name="connsiteX19" fmla="*/ 1114425 w 3245644"/>
              <a:gd name="connsiteY19" fmla="*/ 733425 h 888207"/>
              <a:gd name="connsiteX20" fmla="*/ 1121569 w 3245644"/>
              <a:gd name="connsiteY20" fmla="*/ 776288 h 888207"/>
              <a:gd name="connsiteX21" fmla="*/ 1233489 w 3245644"/>
              <a:gd name="connsiteY21" fmla="*/ 781050 h 888207"/>
              <a:gd name="connsiteX22" fmla="*/ 1314450 w 3245644"/>
              <a:gd name="connsiteY22" fmla="*/ 795337 h 888207"/>
              <a:gd name="connsiteX23" fmla="*/ 1333500 w 3245644"/>
              <a:gd name="connsiteY23" fmla="*/ 845344 h 888207"/>
              <a:gd name="connsiteX24" fmla="*/ 1428749 w 3245644"/>
              <a:gd name="connsiteY24" fmla="*/ 845344 h 888207"/>
              <a:gd name="connsiteX25" fmla="*/ 1459706 w 3245644"/>
              <a:gd name="connsiteY25" fmla="*/ 888207 h 888207"/>
              <a:gd name="connsiteX26" fmla="*/ 1783556 w 3245644"/>
              <a:gd name="connsiteY26" fmla="*/ 733425 h 888207"/>
              <a:gd name="connsiteX27" fmla="*/ 2483644 w 3245644"/>
              <a:gd name="connsiteY27" fmla="*/ 740569 h 888207"/>
              <a:gd name="connsiteX28" fmla="*/ 2481262 w 3245644"/>
              <a:gd name="connsiteY28" fmla="*/ 888206 h 888207"/>
              <a:gd name="connsiteX29" fmla="*/ 3245644 w 3245644"/>
              <a:gd name="connsiteY29" fmla="*/ 888206 h 888207"/>
              <a:gd name="connsiteX0" fmla="*/ 0 w 3245644"/>
              <a:gd name="connsiteY0" fmla="*/ 0 h 888207"/>
              <a:gd name="connsiteX1" fmla="*/ 90487 w 3245644"/>
              <a:gd name="connsiteY1" fmla="*/ 0 h 888207"/>
              <a:gd name="connsiteX2" fmla="*/ 90487 w 3245644"/>
              <a:gd name="connsiteY2" fmla="*/ 40481 h 888207"/>
              <a:gd name="connsiteX3" fmla="*/ 150018 w 3245644"/>
              <a:gd name="connsiteY3" fmla="*/ 54769 h 888207"/>
              <a:gd name="connsiteX4" fmla="*/ 211932 w 3245644"/>
              <a:gd name="connsiteY4" fmla="*/ 161925 h 888207"/>
              <a:gd name="connsiteX5" fmla="*/ 292894 w 3245644"/>
              <a:gd name="connsiteY5" fmla="*/ 266700 h 888207"/>
              <a:gd name="connsiteX6" fmla="*/ 373856 w 3245644"/>
              <a:gd name="connsiteY6" fmla="*/ 419100 h 888207"/>
              <a:gd name="connsiteX7" fmla="*/ 409574 w 3245644"/>
              <a:gd name="connsiteY7" fmla="*/ 438150 h 888207"/>
              <a:gd name="connsiteX8" fmla="*/ 447675 w 3245644"/>
              <a:gd name="connsiteY8" fmla="*/ 435769 h 888207"/>
              <a:gd name="connsiteX9" fmla="*/ 457200 w 3245644"/>
              <a:gd name="connsiteY9" fmla="*/ 478632 h 888207"/>
              <a:gd name="connsiteX10" fmla="*/ 488157 w 3245644"/>
              <a:gd name="connsiteY10" fmla="*/ 500062 h 888207"/>
              <a:gd name="connsiteX11" fmla="*/ 521494 w 3245644"/>
              <a:gd name="connsiteY11" fmla="*/ 492919 h 888207"/>
              <a:gd name="connsiteX12" fmla="*/ 600074 w 3245644"/>
              <a:gd name="connsiteY12" fmla="*/ 607219 h 888207"/>
              <a:gd name="connsiteX13" fmla="*/ 659605 w 3245644"/>
              <a:gd name="connsiteY13" fmla="*/ 604838 h 888207"/>
              <a:gd name="connsiteX14" fmla="*/ 683419 w 3245644"/>
              <a:gd name="connsiteY14" fmla="*/ 621506 h 888207"/>
              <a:gd name="connsiteX15" fmla="*/ 731044 w 3245644"/>
              <a:gd name="connsiteY15" fmla="*/ 631032 h 888207"/>
              <a:gd name="connsiteX16" fmla="*/ 770234 w 3245644"/>
              <a:gd name="connsiteY16" fmla="*/ 633397 h 888207"/>
              <a:gd name="connsiteX17" fmla="*/ 834528 w 3245644"/>
              <a:gd name="connsiteY17" fmla="*/ 695309 h 888207"/>
              <a:gd name="connsiteX18" fmla="*/ 895350 w 3245644"/>
              <a:gd name="connsiteY18" fmla="*/ 735807 h 888207"/>
              <a:gd name="connsiteX19" fmla="*/ 1114425 w 3245644"/>
              <a:gd name="connsiteY19" fmla="*/ 733425 h 888207"/>
              <a:gd name="connsiteX20" fmla="*/ 1121569 w 3245644"/>
              <a:gd name="connsiteY20" fmla="*/ 776288 h 888207"/>
              <a:gd name="connsiteX21" fmla="*/ 1233489 w 3245644"/>
              <a:gd name="connsiteY21" fmla="*/ 781050 h 888207"/>
              <a:gd name="connsiteX22" fmla="*/ 1314450 w 3245644"/>
              <a:gd name="connsiteY22" fmla="*/ 795337 h 888207"/>
              <a:gd name="connsiteX23" fmla="*/ 1333500 w 3245644"/>
              <a:gd name="connsiteY23" fmla="*/ 845344 h 888207"/>
              <a:gd name="connsiteX24" fmla="*/ 1428749 w 3245644"/>
              <a:gd name="connsiteY24" fmla="*/ 845344 h 888207"/>
              <a:gd name="connsiteX25" fmla="*/ 1459706 w 3245644"/>
              <a:gd name="connsiteY25" fmla="*/ 888207 h 888207"/>
              <a:gd name="connsiteX26" fmla="*/ 1507331 w 3245644"/>
              <a:gd name="connsiteY26" fmla="*/ 888206 h 888207"/>
              <a:gd name="connsiteX27" fmla="*/ 2483644 w 3245644"/>
              <a:gd name="connsiteY27" fmla="*/ 740569 h 888207"/>
              <a:gd name="connsiteX28" fmla="*/ 2481262 w 3245644"/>
              <a:gd name="connsiteY28" fmla="*/ 888206 h 888207"/>
              <a:gd name="connsiteX29" fmla="*/ 3245644 w 3245644"/>
              <a:gd name="connsiteY29" fmla="*/ 888206 h 888207"/>
              <a:gd name="connsiteX0" fmla="*/ 0 w 3245644"/>
              <a:gd name="connsiteY0" fmla="*/ 0 h 888207"/>
              <a:gd name="connsiteX1" fmla="*/ 90487 w 3245644"/>
              <a:gd name="connsiteY1" fmla="*/ 0 h 888207"/>
              <a:gd name="connsiteX2" fmla="*/ 90487 w 3245644"/>
              <a:gd name="connsiteY2" fmla="*/ 40481 h 888207"/>
              <a:gd name="connsiteX3" fmla="*/ 150018 w 3245644"/>
              <a:gd name="connsiteY3" fmla="*/ 54769 h 888207"/>
              <a:gd name="connsiteX4" fmla="*/ 211932 w 3245644"/>
              <a:gd name="connsiteY4" fmla="*/ 161925 h 888207"/>
              <a:gd name="connsiteX5" fmla="*/ 292894 w 3245644"/>
              <a:gd name="connsiteY5" fmla="*/ 266700 h 888207"/>
              <a:gd name="connsiteX6" fmla="*/ 373856 w 3245644"/>
              <a:gd name="connsiteY6" fmla="*/ 419100 h 888207"/>
              <a:gd name="connsiteX7" fmla="*/ 409574 w 3245644"/>
              <a:gd name="connsiteY7" fmla="*/ 438150 h 888207"/>
              <a:gd name="connsiteX8" fmla="*/ 447675 w 3245644"/>
              <a:gd name="connsiteY8" fmla="*/ 435769 h 888207"/>
              <a:gd name="connsiteX9" fmla="*/ 457200 w 3245644"/>
              <a:gd name="connsiteY9" fmla="*/ 478632 h 888207"/>
              <a:gd name="connsiteX10" fmla="*/ 488157 w 3245644"/>
              <a:gd name="connsiteY10" fmla="*/ 500062 h 888207"/>
              <a:gd name="connsiteX11" fmla="*/ 521494 w 3245644"/>
              <a:gd name="connsiteY11" fmla="*/ 492919 h 888207"/>
              <a:gd name="connsiteX12" fmla="*/ 600074 w 3245644"/>
              <a:gd name="connsiteY12" fmla="*/ 607219 h 888207"/>
              <a:gd name="connsiteX13" fmla="*/ 659605 w 3245644"/>
              <a:gd name="connsiteY13" fmla="*/ 604838 h 888207"/>
              <a:gd name="connsiteX14" fmla="*/ 683419 w 3245644"/>
              <a:gd name="connsiteY14" fmla="*/ 621506 h 888207"/>
              <a:gd name="connsiteX15" fmla="*/ 731044 w 3245644"/>
              <a:gd name="connsiteY15" fmla="*/ 631032 h 888207"/>
              <a:gd name="connsiteX16" fmla="*/ 770234 w 3245644"/>
              <a:gd name="connsiteY16" fmla="*/ 633397 h 888207"/>
              <a:gd name="connsiteX17" fmla="*/ 834528 w 3245644"/>
              <a:gd name="connsiteY17" fmla="*/ 695309 h 888207"/>
              <a:gd name="connsiteX18" fmla="*/ 895350 w 3245644"/>
              <a:gd name="connsiteY18" fmla="*/ 735807 h 888207"/>
              <a:gd name="connsiteX19" fmla="*/ 1114425 w 3245644"/>
              <a:gd name="connsiteY19" fmla="*/ 733425 h 888207"/>
              <a:gd name="connsiteX20" fmla="*/ 1121569 w 3245644"/>
              <a:gd name="connsiteY20" fmla="*/ 776288 h 888207"/>
              <a:gd name="connsiteX21" fmla="*/ 1233489 w 3245644"/>
              <a:gd name="connsiteY21" fmla="*/ 781050 h 888207"/>
              <a:gd name="connsiteX22" fmla="*/ 1314450 w 3245644"/>
              <a:gd name="connsiteY22" fmla="*/ 795337 h 888207"/>
              <a:gd name="connsiteX23" fmla="*/ 1333500 w 3245644"/>
              <a:gd name="connsiteY23" fmla="*/ 845344 h 888207"/>
              <a:gd name="connsiteX24" fmla="*/ 1428749 w 3245644"/>
              <a:gd name="connsiteY24" fmla="*/ 845344 h 888207"/>
              <a:gd name="connsiteX25" fmla="*/ 1459706 w 3245644"/>
              <a:gd name="connsiteY25" fmla="*/ 888207 h 888207"/>
              <a:gd name="connsiteX26" fmla="*/ 1507331 w 3245644"/>
              <a:gd name="connsiteY26" fmla="*/ 888206 h 888207"/>
              <a:gd name="connsiteX27" fmla="*/ 1760834 w 3245644"/>
              <a:gd name="connsiteY27" fmla="*/ 852471 h 888207"/>
              <a:gd name="connsiteX28" fmla="*/ 2483644 w 3245644"/>
              <a:gd name="connsiteY28" fmla="*/ 740569 h 888207"/>
              <a:gd name="connsiteX29" fmla="*/ 2481262 w 3245644"/>
              <a:gd name="connsiteY29" fmla="*/ 888206 h 888207"/>
              <a:gd name="connsiteX30" fmla="*/ 3245644 w 3245644"/>
              <a:gd name="connsiteY30" fmla="*/ 888206 h 888207"/>
              <a:gd name="connsiteX0" fmla="*/ 0 w 3245644"/>
              <a:gd name="connsiteY0" fmla="*/ 0 h 907240"/>
              <a:gd name="connsiteX1" fmla="*/ 90487 w 3245644"/>
              <a:gd name="connsiteY1" fmla="*/ 0 h 907240"/>
              <a:gd name="connsiteX2" fmla="*/ 90487 w 3245644"/>
              <a:gd name="connsiteY2" fmla="*/ 40481 h 907240"/>
              <a:gd name="connsiteX3" fmla="*/ 150018 w 3245644"/>
              <a:gd name="connsiteY3" fmla="*/ 54769 h 907240"/>
              <a:gd name="connsiteX4" fmla="*/ 211932 w 3245644"/>
              <a:gd name="connsiteY4" fmla="*/ 161925 h 907240"/>
              <a:gd name="connsiteX5" fmla="*/ 292894 w 3245644"/>
              <a:gd name="connsiteY5" fmla="*/ 266700 h 907240"/>
              <a:gd name="connsiteX6" fmla="*/ 373856 w 3245644"/>
              <a:gd name="connsiteY6" fmla="*/ 419100 h 907240"/>
              <a:gd name="connsiteX7" fmla="*/ 409574 w 3245644"/>
              <a:gd name="connsiteY7" fmla="*/ 438150 h 907240"/>
              <a:gd name="connsiteX8" fmla="*/ 447675 w 3245644"/>
              <a:gd name="connsiteY8" fmla="*/ 435769 h 907240"/>
              <a:gd name="connsiteX9" fmla="*/ 457200 w 3245644"/>
              <a:gd name="connsiteY9" fmla="*/ 478632 h 907240"/>
              <a:gd name="connsiteX10" fmla="*/ 488157 w 3245644"/>
              <a:gd name="connsiteY10" fmla="*/ 500062 h 907240"/>
              <a:gd name="connsiteX11" fmla="*/ 521494 w 3245644"/>
              <a:gd name="connsiteY11" fmla="*/ 492919 h 907240"/>
              <a:gd name="connsiteX12" fmla="*/ 600074 w 3245644"/>
              <a:gd name="connsiteY12" fmla="*/ 607219 h 907240"/>
              <a:gd name="connsiteX13" fmla="*/ 659605 w 3245644"/>
              <a:gd name="connsiteY13" fmla="*/ 604838 h 907240"/>
              <a:gd name="connsiteX14" fmla="*/ 683419 w 3245644"/>
              <a:gd name="connsiteY14" fmla="*/ 621506 h 907240"/>
              <a:gd name="connsiteX15" fmla="*/ 731044 w 3245644"/>
              <a:gd name="connsiteY15" fmla="*/ 631032 h 907240"/>
              <a:gd name="connsiteX16" fmla="*/ 770234 w 3245644"/>
              <a:gd name="connsiteY16" fmla="*/ 633397 h 907240"/>
              <a:gd name="connsiteX17" fmla="*/ 834528 w 3245644"/>
              <a:gd name="connsiteY17" fmla="*/ 695309 h 907240"/>
              <a:gd name="connsiteX18" fmla="*/ 895350 w 3245644"/>
              <a:gd name="connsiteY18" fmla="*/ 735807 h 907240"/>
              <a:gd name="connsiteX19" fmla="*/ 1114425 w 3245644"/>
              <a:gd name="connsiteY19" fmla="*/ 733425 h 907240"/>
              <a:gd name="connsiteX20" fmla="*/ 1121569 w 3245644"/>
              <a:gd name="connsiteY20" fmla="*/ 776288 h 907240"/>
              <a:gd name="connsiteX21" fmla="*/ 1233489 w 3245644"/>
              <a:gd name="connsiteY21" fmla="*/ 781050 h 907240"/>
              <a:gd name="connsiteX22" fmla="*/ 1314450 w 3245644"/>
              <a:gd name="connsiteY22" fmla="*/ 795337 h 907240"/>
              <a:gd name="connsiteX23" fmla="*/ 1333500 w 3245644"/>
              <a:gd name="connsiteY23" fmla="*/ 845344 h 907240"/>
              <a:gd name="connsiteX24" fmla="*/ 1428749 w 3245644"/>
              <a:gd name="connsiteY24" fmla="*/ 845344 h 907240"/>
              <a:gd name="connsiteX25" fmla="*/ 1459706 w 3245644"/>
              <a:gd name="connsiteY25" fmla="*/ 888207 h 907240"/>
              <a:gd name="connsiteX26" fmla="*/ 1507331 w 3245644"/>
              <a:gd name="connsiteY26" fmla="*/ 888206 h 907240"/>
              <a:gd name="connsiteX27" fmla="*/ 1513184 w 3245644"/>
              <a:gd name="connsiteY27" fmla="*/ 907240 h 907240"/>
              <a:gd name="connsiteX28" fmla="*/ 2483644 w 3245644"/>
              <a:gd name="connsiteY28" fmla="*/ 740569 h 907240"/>
              <a:gd name="connsiteX29" fmla="*/ 2481262 w 3245644"/>
              <a:gd name="connsiteY29" fmla="*/ 888206 h 907240"/>
              <a:gd name="connsiteX30" fmla="*/ 3245644 w 3245644"/>
              <a:gd name="connsiteY30" fmla="*/ 888206 h 907240"/>
              <a:gd name="connsiteX0" fmla="*/ 0 w 3245644"/>
              <a:gd name="connsiteY0" fmla="*/ 0 h 907240"/>
              <a:gd name="connsiteX1" fmla="*/ 90487 w 3245644"/>
              <a:gd name="connsiteY1" fmla="*/ 0 h 907240"/>
              <a:gd name="connsiteX2" fmla="*/ 90487 w 3245644"/>
              <a:gd name="connsiteY2" fmla="*/ 40481 h 907240"/>
              <a:gd name="connsiteX3" fmla="*/ 150018 w 3245644"/>
              <a:gd name="connsiteY3" fmla="*/ 54769 h 907240"/>
              <a:gd name="connsiteX4" fmla="*/ 211932 w 3245644"/>
              <a:gd name="connsiteY4" fmla="*/ 161925 h 907240"/>
              <a:gd name="connsiteX5" fmla="*/ 292894 w 3245644"/>
              <a:gd name="connsiteY5" fmla="*/ 266700 h 907240"/>
              <a:gd name="connsiteX6" fmla="*/ 373856 w 3245644"/>
              <a:gd name="connsiteY6" fmla="*/ 419100 h 907240"/>
              <a:gd name="connsiteX7" fmla="*/ 409574 w 3245644"/>
              <a:gd name="connsiteY7" fmla="*/ 438150 h 907240"/>
              <a:gd name="connsiteX8" fmla="*/ 447675 w 3245644"/>
              <a:gd name="connsiteY8" fmla="*/ 435769 h 907240"/>
              <a:gd name="connsiteX9" fmla="*/ 457200 w 3245644"/>
              <a:gd name="connsiteY9" fmla="*/ 478632 h 907240"/>
              <a:gd name="connsiteX10" fmla="*/ 488157 w 3245644"/>
              <a:gd name="connsiteY10" fmla="*/ 500062 h 907240"/>
              <a:gd name="connsiteX11" fmla="*/ 521494 w 3245644"/>
              <a:gd name="connsiteY11" fmla="*/ 492919 h 907240"/>
              <a:gd name="connsiteX12" fmla="*/ 600074 w 3245644"/>
              <a:gd name="connsiteY12" fmla="*/ 607219 h 907240"/>
              <a:gd name="connsiteX13" fmla="*/ 659605 w 3245644"/>
              <a:gd name="connsiteY13" fmla="*/ 604838 h 907240"/>
              <a:gd name="connsiteX14" fmla="*/ 683419 w 3245644"/>
              <a:gd name="connsiteY14" fmla="*/ 621506 h 907240"/>
              <a:gd name="connsiteX15" fmla="*/ 731044 w 3245644"/>
              <a:gd name="connsiteY15" fmla="*/ 631032 h 907240"/>
              <a:gd name="connsiteX16" fmla="*/ 770234 w 3245644"/>
              <a:gd name="connsiteY16" fmla="*/ 633397 h 907240"/>
              <a:gd name="connsiteX17" fmla="*/ 834528 w 3245644"/>
              <a:gd name="connsiteY17" fmla="*/ 695309 h 907240"/>
              <a:gd name="connsiteX18" fmla="*/ 895350 w 3245644"/>
              <a:gd name="connsiteY18" fmla="*/ 735807 h 907240"/>
              <a:gd name="connsiteX19" fmla="*/ 1114425 w 3245644"/>
              <a:gd name="connsiteY19" fmla="*/ 733425 h 907240"/>
              <a:gd name="connsiteX20" fmla="*/ 1121569 w 3245644"/>
              <a:gd name="connsiteY20" fmla="*/ 776288 h 907240"/>
              <a:gd name="connsiteX21" fmla="*/ 1233489 w 3245644"/>
              <a:gd name="connsiteY21" fmla="*/ 781050 h 907240"/>
              <a:gd name="connsiteX22" fmla="*/ 1314450 w 3245644"/>
              <a:gd name="connsiteY22" fmla="*/ 795337 h 907240"/>
              <a:gd name="connsiteX23" fmla="*/ 1333500 w 3245644"/>
              <a:gd name="connsiteY23" fmla="*/ 845344 h 907240"/>
              <a:gd name="connsiteX24" fmla="*/ 1428749 w 3245644"/>
              <a:gd name="connsiteY24" fmla="*/ 845344 h 907240"/>
              <a:gd name="connsiteX25" fmla="*/ 1459706 w 3245644"/>
              <a:gd name="connsiteY25" fmla="*/ 888207 h 907240"/>
              <a:gd name="connsiteX26" fmla="*/ 1507331 w 3245644"/>
              <a:gd name="connsiteY26" fmla="*/ 888206 h 907240"/>
              <a:gd name="connsiteX27" fmla="*/ 1513184 w 3245644"/>
              <a:gd name="connsiteY27" fmla="*/ 907240 h 907240"/>
              <a:gd name="connsiteX28" fmla="*/ 1727497 w 3245644"/>
              <a:gd name="connsiteY28" fmla="*/ 864377 h 907240"/>
              <a:gd name="connsiteX29" fmla="*/ 2483644 w 3245644"/>
              <a:gd name="connsiteY29" fmla="*/ 740569 h 907240"/>
              <a:gd name="connsiteX30" fmla="*/ 2481262 w 3245644"/>
              <a:gd name="connsiteY30" fmla="*/ 888206 h 907240"/>
              <a:gd name="connsiteX31" fmla="*/ 3245644 w 3245644"/>
              <a:gd name="connsiteY31" fmla="*/ 888206 h 907240"/>
              <a:gd name="connsiteX0" fmla="*/ 0 w 3245644"/>
              <a:gd name="connsiteY0" fmla="*/ 0 h 907240"/>
              <a:gd name="connsiteX1" fmla="*/ 90487 w 3245644"/>
              <a:gd name="connsiteY1" fmla="*/ 0 h 907240"/>
              <a:gd name="connsiteX2" fmla="*/ 90487 w 3245644"/>
              <a:gd name="connsiteY2" fmla="*/ 40481 h 907240"/>
              <a:gd name="connsiteX3" fmla="*/ 150018 w 3245644"/>
              <a:gd name="connsiteY3" fmla="*/ 54769 h 907240"/>
              <a:gd name="connsiteX4" fmla="*/ 211932 w 3245644"/>
              <a:gd name="connsiteY4" fmla="*/ 161925 h 907240"/>
              <a:gd name="connsiteX5" fmla="*/ 292894 w 3245644"/>
              <a:gd name="connsiteY5" fmla="*/ 266700 h 907240"/>
              <a:gd name="connsiteX6" fmla="*/ 373856 w 3245644"/>
              <a:gd name="connsiteY6" fmla="*/ 419100 h 907240"/>
              <a:gd name="connsiteX7" fmla="*/ 409574 w 3245644"/>
              <a:gd name="connsiteY7" fmla="*/ 438150 h 907240"/>
              <a:gd name="connsiteX8" fmla="*/ 447675 w 3245644"/>
              <a:gd name="connsiteY8" fmla="*/ 435769 h 907240"/>
              <a:gd name="connsiteX9" fmla="*/ 457200 w 3245644"/>
              <a:gd name="connsiteY9" fmla="*/ 478632 h 907240"/>
              <a:gd name="connsiteX10" fmla="*/ 488157 w 3245644"/>
              <a:gd name="connsiteY10" fmla="*/ 500062 h 907240"/>
              <a:gd name="connsiteX11" fmla="*/ 521494 w 3245644"/>
              <a:gd name="connsiteY11" fmla="*/ 492919 h 907240"/>
              <a:gd name="connsiteX12" fmla="*/ 600074 w 3245644"/>
              <a:gd name="connsiteY12" fmla="*/ 607219 h 907240"/>
              <a:gd name="connsiteX13" fmla="*/ 659605 w 3245644"/>
              <a:gd name="connsiteY13" fmla="*/ 604838 h 907240"/>
              <a:gd name="connsiteX14" fmla="*/ 683419 w 3245644"/>
              <a:gd name="connsiteY14" fmla="*/ 621506 h 907240"/>
              <a:gd name="connsiteX15" fmla="*/ 731044 w 3245644"/>
              <a:gd name="connsiteY15" fmla="*/ 631032 h 907240"/>
              <a:gd name="connsiteX16" fmla="*/ 770234 w 3245644"/>
              <a:gd name="connsiteY16" fmla="*/ 633397 h 907240"/>
              <a:gd name="connsiteX17" fmla="*/ 834528 w 3245644"/>
              <a:gd name="connsiteY17" fmla="*/ 695309 h 907240"/>
              <a:gd name="connsiteX18" fmla="*/ 895350 w 3245644"/>
              <a:gd name="connsiteY18" fmla="*/ 735807 h 907240"/>
              <a:gd name="connsiteX19" fmla="*/ 1114425 w 3245644"/>
              <a:gd name="connsiteY19" fmla="*/ 733425 h 907240"/>
              <a:gd name="connsiteX20" fmla="*/ 1121569 w 3245644"/>
              <a:gd name="connsiteY20" fmla="*/ 776288 h 907240"/>
              <a:gd name="connsiteX21" fmla="*/ 1233489 w 3245644"/>
              <a:gd name="connsiteY21" fmla="*/ 781050 h 907240"/>
              <a:gd name="connsiteX22" fmla="*/ 1314450 w 3245644"/>
              <a:gd name="connsiteY22" fmla="*/ 795337 h 907240"/>
              <a:gd name="connsiteX23" fmla="*/ 1333500 w 3245644"/>
              <a:gd name="connsiteY23" fmla="*/ 845344 h 907240"/>
              <a:gd name="connsiteX24" fmla="*/ 1428749 w 3245644"/>
              <a:gd name="connsiteY24" fmla="*/ 845344 h 907240"/>
              <a:gd name="connsiteX25" fmla="*/ 1459706 w 3245644"/>
              <a:gd name="connsiteY25" fmla="*/ 888207 h 907240"/>
              <a:gd name="connsiteX26" fmla="*/ 1507331 w 3245644"/>
              <a:gd name="connsiteY26" fmla="*/ 888206 h 907240"/>
              <a:gd name="connsiteX27" fmla="*/ 1513184 w 3245644"/>
              <a:gd name="connsiteY27" fmla="*/ 907240 h 907240"/>
              <a:gd name="connsiteX28" fmla="*/ 1553666 w 3245644"/>
              <a:gd name="connsiteY28" fmla="*/ 907239 h 907240"/>
              <a:gd name="connsiteX29" fmla="*/ 2483644 w 3245644"/>
              <a:gd name="connsiteY29" fmla="*/ 740569 h 907240"/>
              <a:gd name="connsiteX30" fmla="*/ 2481262 w 3245644"/>
              <a:gd name="connsiteY30" fmla="*/ 888206 h 907240"/>
              <a:gd name="connsiteX31" fmla="*/ 3245644 w 3245644"/>
              <a:gd name="connsiteY31" fmla="*/ 888206 h 907240"/>
              <a:gd name="connsiteX0" fmla="*/ 0 w 3245644"/>
              <a:gd name="connsiteY0" fmla="*/ 0 h 907240"/>
              <a:gd name="connsiteX1" fmla="*/ 90487 w 3245644"/>
              <a:gd name="connsiteY1" fmla="*/ 0 h 907240"/>
              <a:gd name="connsiteX2" fmla="*/ 90487 w 3245644"/>
              <a:gd name="connsiteY2" fmla="*/ 40481 h 907240"/>
              <a:gd name="connsiteX3" fmla="*/ 150018 w 3245644"/>
              <a:gd name="connsiteY3" fmla="*/ 54769 h 907240"/>
              <a:gd name="connsiteX4" fmla="*/ 211932 w 3245644"/>
              <a:gd name="connsiteY4" fmla="*/ 161925 h 907240"/>
              <a:gd name="connsiteX5" fmla="*/ 292894 w 3245644"/>
              <a:gd name="connsiteY5" fmla="*/ 266700 h 907240"/>
              <a:gd name="connsiteX6" fmla="*/ 373856 w 3245644"/>
              <a:gd name="connsiteY6" fmla="*/ 419100 h 907240"/>
              <a:gd name="connsiteX7" fmla="*/ 409574 w 3245644"/>
              <a:gd name="connsiteY7" fmla="*/ 438150 h 907240"/>
              <a:gd name="connsiteX8" fmla="*/ 447675 w 3245644"/>
              <a:gd name="connsiteY8" fmla="*/ 435769 h 907240"/>
              <a:gd name="connsiteX9" fmla="*/ 457200 w 3245644"/>
              <a:gd name="connsiteY9" fmla="*/ 478632 h 907240"/>
              <a:gd name="connsiteX10" fmla="*/ 488157 w 3245644"/>
              <a:gd name="connsiteY10" fmla="*/ 500062 h 907240"/>
              <a:gd name="connsiteX11" fmla="*/ 521494 w 3245644"/>
              <a:gd name="connsiteY11" fmla="*/ 492919 h 907240"/>
              <a:gd name="connsiteX12" fmla="*/ 600074 w 3245644"/>
              <a:gd name="connsiteY12" fmla="*/ 607219 h 907240"/>
              <a:gd name="connsiteX13" fmla="*/ 659605 w 3245644"/>
              <a:gd name="connsiteY13" fmla="*/ 604838 h 907240"/>
              <a:gd name="connsiteX14" fmla="*/ 683419 w 3245644"/>
              <a:gd name="connsiteY14" fmla="*/ 621506 h 907240"/>
              <a:gd name="connsiteX15" fmla="*/ 731044 w 3245644"/>
              <a:gd name="connsiteY15" fmla="*/ 631032 h 907240"/>
              <a:gd name="connsiteX16" fmla="*/ 770234 w 3245644"/>
              <a:gd name="connsiteY16" fmla="*/ 633397 h 907240"/>
              <a:gd name="connsiteX17" fmla="*/ 834528 w 3245644"/>
              <a:gd name="connsiteY17" fmla="*/ 695309 h 907240"/>
              <a:gd name="connsiteX18" fmla="*/ 895350 w 3245644"/>
              <a:gd name="connsiteY18" fmla="*/ 735807 h 907240"/>
              <a:gd name="connsiteX19" fmla="*/ 1114425 w 3245644"/>
              <a:gd name="connsiteY19" fmla="*/ 733425 h 907240"/>
              <a:gd name="connsiteX20" fmla="*/ 1121569 w 3245644"/>
              <a:gd name="connsiteY20" fmla="*/ 776288 h 907240"/>
              <a:gd name="connsiteX21" fmla="*/ 1233489 w 3245644"/>
              <a:gd name="connsiteY21" fmla="*/ 781050 h 907240"/>
              <a:gd name="connsiteX22" fmla="*/ 1314450 w 3245644"/>
              <a:gd name="connsiteY22" fmla="*/ 795337 h 907240"/>
              <a:gd name="connsiteX23" fmla="*/ 1333500 w 3245644"/>
              <a:gd name="connsiteY23" fmla="*/ 845344 h 907240"/>
              <a:gd name="connsiteX24" fmla="*/ 1428749 w 3245644"/>
              <a:gd name="connsiteY24" fmla="*/ 845344 h 907240"/>
              <a:gd name="connsiteX25" fmla="*/ 1459706 w 3245644"/>
              <a:gd name="connsiteY25" fmla="*/ 888207 h 907240"/>
              <a:gd name="connsiteX26" fmla="*/ 1507331 w 3245644"/>
              <a:gd name="connsiteY26" fmla="*/ 888206 h 907240"/>
              <a:gd name="connsiteX27" fmla="*/ 1513184 w 3245644"/>
              <a:gd name="connsiteY27" fmla="*/ 907240 h 907240"/>
              <a:gd name="connsiteX28" fmla="*/ 1553666 w 3245644"/>
              <a:gd name="connsiteY28" fmla="*/ 907239 h 907240"/>
              <a:gd name="connsiteX29" fmla="*/ 1613197 w 3245644"/>
              <a:gd name="connsiteY29" fmla="*/ 900095 h 907240"/>
              <a:gd name="connsiteX30" fmla="*/ 2483644 w 3245644"/>
              <a:gd name="connsiteY30" fmla="*/ 740569 h 907240"/>
              <a:gd name="connsiteX31" fmla="*/ 2481262 w 3245644"/>
              <a:gd name="connsiteY31" fmla="*/ 888206 h 907240"/>
              <a:gd name="connsiteX32" fmla="*/ 3245644 w 3245644"/>
              <a:gd name="connsiteY32" fmla="*/ 888206 h 907240"/>
              <a:gd name="connsiteX0" fmla="*/ 0 w 3245644"/>
              <a:gd name="connsiteY0" fmla="*/ 0 h 954864"/>
              <a:gd name="connsiteX1" fmla="*/ 90487 w 3245644"/>
              <a:gd name="connsiteY1" fmla="*/ 0 h 954864"/>
              <a:gd name="connsiteX2" fmla="*/ 90487 w 3245644"/>
              <a:gd name="connsiteY2" fmla="*/ 40481 h 954864"/>
              <a:gd name="connsiteX3" fmla="*/ 150018 w 3245644"/>
              <a:gd name="connsiteY3" fmla="*/ 54769 h 954864"/>
              <a:gd name="connsiteX4" fmla="*/ 211932 w 3245644"/>
              <a:gd name="connsiteY4" fmla="*/ 161925 h 954864"/>
              <a:gd name="connsiteX5" fmla="*/ 292894 w 3245644"/>
              <a:gd name="connsiteY5" fmla="*/ 266700 h 954864"/>
              <a:gd name="connsiteX6" fmla="*/ 373856 w 3245644"/>
              <a:gd name="connsiteY6" fmla="*/ 419100 h 954864"/>
              <a:gd name="connsiteX7" fmla="*/ 409574 w 3245644"/>
              <a:gd name="connsiteY7" fmla="*/ 438150 h 954864"/>
              <a:gd name="connsiteX8" fmla="*/ 447675 w 3245644"/>
              <a:gd name="connsiteY8" fmla="*/ 435769 h 954864"/>
              <a:gd name="connsiteX9" fmla="*/ 457200 w 3245644"/>
              <a:gd name="connsiteY9" fmla="*/ 478632 h 954864"/>
              <a:gd name="connsiteX10" fmla="*/ 488157 w 3245644"/>
              <a:gd name="connsiteY10" fmla="*/ 500062 h 954864"/>
              <a:gd name="connsiteX11" fmla="*/ 521494 w 3245644"/>
              <a:gd name="connsiteY11" fmla="*/ 492919 h 954864"/>
              <a:gd name="connsiteX12" fmla="*/ 600074 w 3245644"/>
              <a:gd name="connsiteY12" fmla="*/ 607219 h 954864"/>
              <a:gd name="connsiteX13" fmla="*/ 659605 w 3245644"/>
              <a:gd name="connsiteY13" fmla="*/ 604838 h 954864"/>
              <a:gd name="connsiteX14" fmla="*/ 683419 w 3245644"/>
              <a:gd name="connsiteY14" fmla="*/ 621506 h 954864"/>
              <a:gd name="connsiteX15" fmla="*/ 731044 w 3245644"/>
              <a:gd name="connsiteY15" fmla="*/ 631032 h 954864"/>
              <a:gd name="connsiteX16" fmla="*/ 770234 w 3245644"/>
              <a:gd name="connsiteY16" fmla="*/ 633397 h 954864"/>
              <a:gd name="connsiteX17" fmla="*/ 834528 w 3245644"/>
              <a:gd name="connsiteY17" fmla="*/ 695309 h 954864"/>
              <a:gd name="connsiteX18" fmla="*/ 895350 w 3245644"/>
              <a:gd name="connsiteY18" fmla="*/ 735807 h 954864"/>
              <a:gd name="connsiteX19" fmla="*/ 1114425 w 3245644"/>
              <a:gd name="connsiteY19" fmla="*/ 733425 h 954864"/>
              <a:gd name="connsiteX20" fmla="*/ 1121569 w 3245644"/>
              <a:gd name="connsiteY20" fmla="*/ 776288 h 954864"/>
              <a:gd name="connsiteX21" fmla="*/ 1233489 w 3245644"/>
              <a:gd name="connsiteY21" fmla="*/ 781050 h 954864"/>
              <a:gd name="connsiteX22" fmla="*/ 1314450 w 3245644"/>
              <a:gd name="connsiteY22" fmla="*/ 795337 h 954864"/>
              <a:gd name="connsiteX23" fmla="*/ 1333500 w 3245644"/>
              <a:gd name="connsiteY23" fmla="*/ 845344 h 954864"/>
              <a:gd name="connsiteX24" fmla="*/ 1428749 w 3245644"/>
              <a:gd name="connsiteY24" fmla="*/ 845344 h 954864"/>
              <a:gd name="connsiteX25" fmla="*/ 1459706 w 3245644"/>
              <a:gd name="connsiteY25" fmla="*/ 888207 h 954864"/>
              <a:gd name="connsiteX26" fmla="*/ 1507331 w 3245644"/>
              <a:gd name="connsiteY26" fmla="*/ 888206 h 954864"/>
              <a:gd name="connsiteX27" fmla="*/ 1513184 w 3245644"/>
              <a:gd name="connsiteY27" fmla="*/ 907240 h 954864"/>
              <a:gd name="connsiteX28" fmla="*/ 1553666 w 3245644"/>
              <a:gd name="connsiteY28" fmla="*/ 907239 h 954864"/>
              <a:gd name="connsiteX29" fmla="*/ 1558428 w 3245644"/>
              <a:gd name="connsiteY29" fmla="*/ 954864 h 954864"/>
              <a:gd name="connsiteX30" fmla="*/ 2483644 w 3245644"/>
              <a:gd name="connsiteY30" fmla="*/ 740569 h 954864"/>
              <a:gd name="connsiteX31" fmla="*/ 2481262 w 3245644"/>
              <a:gd name="connsiteY31" fmla="*/ 888206 h 954864"/>
              <a:gd name="connsiteX32" fmla="*/ 3245644 w 3245644"/>
              <a:gd name="connsiteY32" fmla="*/ 888206 h 954864"/>
              <a:gd name="connsiteX0" fmla="*/ 0 w 3245644"/>
              <a:gd name="connsiteY0" fmla="*/ 0 h 954864"/>
              <a:gd name="connsiteX1" fmla="*/ 90487 w 3245644"/>
              <a:gd name="connsiteY1" fmla="*/ 0 h 954864"/>
              <a:gd name="connsiteX2" fmla="*/ 90487 w 3245644"/>
              <a:gd name="connsiteY2" fmla="*/ 40481 h 954864"/>
              <a:gd name="connsiteX3" fmla="*/ 150018 w 3245644"/>
              <a:gd name="connsiteY3" fmla="*/ 54769 h 954864"/>
              <a:gd name="connsiteX4" fmla="*/ 211932 w 3245644"/>
              <a:gd name="connsiteY4" fmla="*/ 161925 h 954864"/>
              <a:gd name="connsiteX5" fmla="*/ 292894 w 3245644"/>
              <a:gd name="connsiteY5" fmla="*/ 266700 h 954864"/>
              <a:gd name="connsiteX6" fmla="*/ 373856 w 3245644"/>
              <a:gd name="connsiteY6" fmla="*/ 419100 h 954864"/>
              <a:gd name="connsiteX7" fmla="*/ 409574 w 3245644"/>
              <a:gd name="connsiteY7" fmla="*/ 438150 h 954864"/>
              <a:gd name="connsiteX8" fmla="*/ 447675 w 3245644"/>
              <a:gd name="connsiteY8" fmla="*/ 435769 h 954864"/>
              <a:gd name="connsiteX9" fmla="*/ 457200 w 3245644"/>
              <a:gd name="connsiteY9" fmla="*/ 478632 h 954864"/>
              <a:gd name="connsiteX10" fmla="*/ 488157 w 3245644"/>
              <a:gd name="connsiteY10" fmla="*/ 500062 h 954864"/>
              <a:gd name="connsiteX11" fmla="*/ 521494 w 3245644"/>
              <a:gd name="connsiteY11" fmla="*/ 492919 h 954864"/>
              <a:gd name="connsiteX12" fmla="*/ 600074 w 3245644"/>
              <a:gd name="connsiteY12" fmla="*/ 607219 h 954864"/>
              <a:gd name="connsiteX13" fmla="*/ 659605 w 3245644"/>
              <a:gd name="connsiteY13" fmla="*/ 604838 h 954864"/>
              <a:gd name="connsiteX14" fmla="*/ 683419 w 3245644"/>
              <a:gd name="connsiteY14" fmla="*/ 621506 h 954864"/>
              <a:gd name="connsiteX15" fmla="*/ 731044 w 3245644"/>
              <a:gd name="connsiteY15" fmla="*/ 631032 h 954864"/>
              <a:gd name="connsiteX16" fmla="*/ 770234 w 3245644"/>
              <a:gd name="connsiteY16" fmla="*/ 633397 h 954864"/>
              <a:gd name="connsiteX17" fmla="*/ 834528 w 3245644"/>
              <a:gd name="connsiteY17" fmla="*/ 695309 h 954864"/>
              <a:gd name="connsiteX18" fmla="*/ 895350 w 3245644"/>
              <a:gd name="connsiteY18" fmla="*/ 735807 h 954864"/>
              <a:gd name="connsiteX19" fmla="*/ 1114425 w 3245644"/>
              <a:gd name="connsiteY19" fmla="*/ 733425 h 954864"/>
              <a:gd name="connsiteX20" fmla="*/ 1121569 w 3245644"/>
              <a:gd name="connsiteY20" fmla="*/ 776288 h 954864"/>
              <a:gd name="connsiteX21" fmla="*/ 1233489 w 3245644"/>
              <a:gd name="connsiteY21" fmla="*/ 781050 h 954864"/>
              <a:gd name="connsiteX22" fmla="*/ 1314450 w 3245644"/>
              <a:gd name="connsiteY22" fmla="*/ 795337 h 954864"/>
              <a:gd name="connsiteX23" fmla="*/ 1333500 w 3245644"/>
              <a:gd name="connsiteY23" fmla="*/ 845344 h 954864"/>
              <a:gd name="connsiteX24" fmla="*/ 1428749 w 3245644"/>
              <a:gd name="connsiteY24" fmla="*/ 845344 h 954864"/>
              <a:gd name="connsiteX25" fmla="*/ 1459706 w 3245644"/>
              <a:gd name="connsiteY25" fmla="*/ 888207 h 954864"/>
              <a:gd name="connsiteX26" fmla="*/ 1507331 w 3245644"/>
              <a:gd name="connsiteY26" fmla="*/ 888206 h 954864"/>
              <a:gd name="connsiteX27" fmla="*/ 1513184 w 3245644"/>
              <a:gd name="connsiteY27" fmla="*/ 907240 h 954864"/>
              <a:gd name="connsiteX28" fmla="*/ 1553666 w 3245644"/>
              <a:gd name="connsiteY28" fmla="*/ 907239 h 954864"/>
              <a:gd name="connsiteX29" fmla="*/ 1558428 w 3245644"/>
              <a:gd name="connsiteY29" fmla="*/ 954864 h 954864"/>
              <a:gd name="connsiteX30" fmla="*/ 1732259 w 3245644"/>
              <a:gd name="connsiteY30" fmla="*/ 912002 h 954864"/>
              <a:gd name="connsiteX31" fmla="*/ 2483644 w 3245644"/>
              <a:gd name="connsiteY31" fmla="*/ 740569 h 954864"/>
              <a:gd name="connsiteX32" fmla="*/ 2481262 w 3245644"/>
              <a:gd name="connsiteY32" fmla="*/ 888206 h 954864"/>
              <a:gd name="connsiteX33" fmla="*/ 3245644 w 3245644"/>
              <a:gd name="connsiteY33" fmla="*/ 888206 h 954864"/>
              <a:gd name="connsiteX0" fmla="*/ 0 w 3245644"/>
              <a:gd name="connsiteY0" fmla="*/ 0 h 954864"/>
              <a:gd name="connsiteX1" fmla="*/ 90487 w 3245644"/>
              <a:gd name="connsiteY1" fmla="*/ 0 h 954864"/>
              <a:gd name="connsiteX2" fmla="*/ 90487 w 3245644"/>
              <a:gd name="connsiteY2" fmla="*/ 40481 h 954864"/>
              <a:gd name="connsiteX3" fmla="*/ 150018 w 3245644"/>
              <a:gd name="connsiteY3" fmla="*/ 54769 h 954864"/>
              <a:gd name="connsiteX4" fmla="*/ 211932 w 3245644"/>
              <a:gd name="connsiteY4" fmla="*/ 161925 h 954864"/>
              <a:gd name="connsiteX5" fmla="*/ 292894 w 3245644"/>
              <a:gd name="connsiteY5" fmla="*/ 266700 h 954864"/>
              <a:gd name="connsiteX6" fmla="*/ 373856 w 3245644"/>
              <a:gd name="connsiteY6" fmla="*/ 419100 h 954864"/>
              <a:gd name="connsiteX7" fmla="*/ 409574 w 3245644"/>
              <a:gd name="connsiteY7" fmla="*/ 438150 h 954864"/>
              <a:gd name="connsiteX8" fmla="*/ 447675 w 3245644"/>
              <a:gd name="connsiteY8" fmla="*/ 435769 h 954864"/>
              <a:gd name="connsiteX9" fmla="*/ 457200 w 3245644"/>
              <a:gd name="connsiteY9" fmla="*/ 478632 h 954864"/>
              <a:gd name="connsiteX10" fmla="*/ 488157 w 3245644"/>
              <a:gd name="connsiteY10" fmla="*/ 500062 h 954864"/>
              <a:gd name="connsiteX11" fmla="*/ 521494 w 3245644"/>
              <a:gd name="connsiteY11" fmla="*/ 492919 h 954864"/>
              <a:gd name="connsiteX12" fmla="*/ 600074 w 3245644"/>
              <a:gd name="connsiteY12" fmla="*/ 607219 h 954864"/>
              <a:gd name="connsiteX13" fmla="*/ 659605 w 3245644"/>
              <a:gd name="connsiteY13" fmla="*/ 604838 h 954864"/>
              <a:gd name="connsiteX14" fmla="*/ 683419 w 3245644"/>
              <a:gd name="connsiteY14" fmla="*/ 621506 h 954864"/>
              <a:gd name="connsiteX15" fmla="*/ 731044 w 3245644"/>
              <a:gd name="connsiteY15" fmla="*/ 631032 h 954864"/>
              <a:gd name="connsiteX16" fmla="*/ 770234 w 3245644"/>
              <a:gd name="connsiteY16" fmla="*/ 633397 h 954864"/>
              <a:gd name="connsiteX17" fmla="*/ 834528 w 3245644"/>
              <a:gd name="connsiteY17" fmla="*/ 695309 h 954864"/>
              <a:gd name="connsiteX18" fmla="*/ 895350 w 3245644"/>
              <a:gd name="connsiteY18" fmla="*/ 735807 h 954864"/>
              <a:gd name="connsiteX19" fmla="*/ 1114425 w 3245644"/>
              <a:gd name="connsiteY19" fmla="*/ 733425 h 954864"/>
              <a:gd name="connsiteX20" fmla="*/ 1121569 w 3245644"/>
              <a:gd name="connsiteY20" fmla="*/ 776288 h 954864"/>
              <a:gd name="connsiteX21" fmla="*/ 1233489 w 3245644"/>
              <a:gd name="connsiteY21" fmla="*/ 781050 h 954864"/>
              <a:gd name="connsiteX22" fmla="*/ 1314450 w 3245644"/>
              <a:gd name="connsiteY22" fmla="*/ 795337 h 954864"/>
              <a:gd name="connsiteX23" fmla="*/ 1333500 w 3245644"/>
              <a:gd name="connsiteY23" fmla="*/ 845344 h 954864"/>
              <a:gd name="connsiteX24" fmla="*/ 1428749 w 3245644"/>
              <a:gd name="connsiteY24" fmla="*/ 845344 h 954864"/>
              <a:gd name="connsiteX25" fmla="*/ 1459706 w 3245644"/>
              <a:gd name="connsiteY25" fmla="*/ 888207 h 954864"/>
              <a:gd name="connsiteX26" fmla="*/ 1507331 w 3245644"/>
              <a:gd name="connsiteY26" fmla="*/ 888206 h 954864"/>
              <a:gd name="connsiteX27" fmla="*/ 1513184 w 3245644"/>
              <a:gd name="connsiteY27" fmla="*/ 907240 h 954864"/>
              <a:gd name="connsiteX28" fmla="*/ 1553666 w 3245644"/>
              <a:gd name="connsiteY28" fmla="*/ 907239 h 954864"/>
              <a:gd name="connsiteX29" fmla="*/ 1558428 w 3245644"/>
              <a:gd name="connsiteY29" fmla="*/ 954864 h 954864"/>
              <a:gd name="connsiteX30" fmla="*/ 1672728 w 3245644"/>
              <a:gd name="connsiteY30" fmla="*/ 952483 h 954864"/>
              <a:gd name="connsiteX31" fmla="*/ 2483644 w 3245644"/>
              <a:gd name="connsiteY31" fmla="*/ 740569 h 954864"/>
              <a:gd name="connsiteX32" fmla="*/ 2481262 w 3245644"/>
              <a:gd name="connsiteY32" fmla="*/ 888206 h 954864"/>
              <a:gd name="connsiteX33" fmla="*/ 3245644 w 3245644"/>
              <a:gd name="connsiteY33" fmla="*/ 888206 h 954864"/>
              <a:gd name="connsiteX0" fmla="*/ 0 w 3245644"/>
              <a:gd name="connsiteY0" fmla="*/ 0 h 954864"/>
              <a:gd name="connsiteX1" fmla="*/ 90487 w 3245644"/>
              <a:gd name="connsiteY1" fmla="*/ 0 h 954864"/>
              <a:gd name="connsiteX2" fmla="*/ 90487 w 3245644"/>
              <a:gd name="connsiteY2" fmla="*/ 40481 h 954864"/>
              <a:gd name="connsiteX3" fmla="*/ 150018 w 3245644"/>
              <a:gd name="connsiteY3" fmla="*/ 54769 h 954864"/>
              <a:gd name="connsiteX4" fmla="*/ 211932 w 3245644"/>
              <a:gd name="connsiteY4" fmla="*/ 161925 h 954864"/>
              <a:gd name="connsiteX5" fmla="*/ 292894 w 3245644"/>
              <a:gd name="connsiteY5" fmla="*/ 266700 h 954864"/>
              <a:gd name="connsiteX6" fmla="*/ 373856 w 3245644"/>
              <a:gd name="connsiteY6" fmla="*/ 419100 h 954864"/>
              <a:gd name="connsiteX7" fmla="*/ 409574 w 3245644"/>
              <a:gd name="connsiteY7" fmla="*/ 438150 h 954864"/>
              <a:gd name="connsiteX8" fmla="*/ 447675 w 3245644"/>
              <a:gd name="connsiteY8" fmla="*/ 435769 h 954864"/>
              <a:gd name="connsiteX9" fmla="*/ 457200 w 3245644"/>
              <a:gd name="connsiteY9" fmla="*/ 478632 h 954864"/>
              <a:gd name="connsiteX10" fmla="*/ 488157 w 3245644"/>
              <a:gd name="connsiteY10" fmla="*/ 500062 h 954864"/>
              <a:gd name="connsiteX11" fmla="*/ 521494 w 3245644"/>
              <a:gd name="connsiteY11" fmla="*/ 492919 h 954864"/>
              <a:gd name="connsiteX12" fmla="*/ 600074 w 3245644"/>
              <a:gd name="connsiteY12" fmla="*/ 607219 h 954864"/>
              <a:gd name="connsiteX13" fmla="*/ 659605 w 3245644"/>
              <a:gd name="connsiteY13" fmla="*/ 604838 h 954864"/>
              <a:gd name="connsiteX14" fmla="*/ 683419 w 3245644"/>
              <a:gd name="connsiteY14" fmla="*/ 621506 h 954864"/>
              <a:gd name="connsiteX15" fmla="*/ 731044 w 3245644"/>
              <a:gd name="connsiteY15" fmla="*/ 631032 h 954864"/>
              <a:gd name="connsiteX16" fmla="*/ 770234 w 3245644"/>
              <a:gd name="connsiteY16" fmla="*/ 633397 h 954864"/>
              <a:gd name="connsiteX17" fmla="*/ 834528 w 3245644"/>
              <a:gd name="connsiteY17" fmla="*/ 695309 h 954864"/>
              <a:gd name="connsiteX18" fmla="*/ 895350 w 3245644"/>
              <a:gd name="connsiteY18" fmla="*/ 735807 h 954864"/>
              <a:gd name="connsiteX19" fmla="*/ 1114425 w 3245644"/>
              <a:gd name="connsiteY19" fmla="*/ 733425 h 954864"/>
              <a:gd name="connsiteX20" fmla="*/ 1121569 w 3245644"/>
              <a:gd name="connsiteY20" fmla="*/ 776288 h 954864"/>
              <a:gd name="connsiteX21" fmla="*/ 1233489 w 3245644"/>
              <a:gd name="connsiteY21" fmla="*/ 781050 h 954864"/>
              <a:gd name="connsiteX22" fmla="*/ 1314450 w 3245644"/>
              <a:gd name="connsiteY22" fmla="*/ 795337 h 954864"/>
              <a:gd name="connsiteX23" fmla="*/ 1333500 w 3245644"/>
              <a:gd name="connsiteY23" fmla="*/ 845344 h 954864"/>
              <a:gd name="connsiteX24" fmla="*/ 1428749 w 3245644"/>
              <a:gd name="connsiteY24" fmla="*/ 845344 h 954864"/>
              <a:gd name="connsiteX25" fmla="*/ 1459706 w 3245644"/>
              <a:gd name="connsiteY25" fmla="*/ 888207 h 954864"/>
              <a:gd name="connsiteX26" fmla="*/ 1507331 w 3245644"/>
              <a:gd name="connsiteY26" fmla="*/ 888206 h 954864"/>
              <a:gd name="connsiteX27" fmla="*/ 1513184 w 3245644"/>
              <a:gd name="connsiteY27" fmla="*/ 907240 h 954864"/>
              <a:gd name="connsiteX28" fmla="*/ 1553666 w 3245644"/>
              <a:gd name="connsiteY28" fmla="*/ 907239 h 954864"/>
              <a:gd name="connsiteX29" fmla="*/ 1558428 w 3245644"/>
              <a:gd name="connsiteY29" fmla="*/ 954864 h 954864"/>
              <a:gd name="connsiteX30" fmla="*/ 1672728 w 3245644"/>
              <a:gd name="connsiteY30" fmla="*/ 952483 h 954864"/>
              <a:gd name="connsiteX31" fmla="*/ 1837034 w 3245644"/>
              <a:gd name="connsiteY31" fmla="*/ 904858 h 954864"/>
              <a:gd name="connsiteX32" fmla="*/ 2483644 w 3245644"/>
              <a:gd name="connsiteY32" fmla="*/ 740569 h 954864"/>
              <a:gd name="connsiteX33" fmla="*/ 2481262 w 3245644"/>
              <a:gd name="connsiteY33" fmla="*/ 888206 h 954864"/>
              <a:gd name="connsiteX34" fmla="*/ 3245644 w 3245644"/>
              <a:gd name="connsiteY34" fmla="*/ 888206 h 954864"/>
              <a:gd name="connsiteX0" fmla="*/ 0 w 3245644"/>
              <a:gd name="connsiteY0" fmla="*/ 0 h 1023920"/>
              <a:gd name="connsiteX1" fmla="*/ 90487 w 3245644"/>
              <a:gd name="connsiteY1" fmla="*/ 0 h 1023920"/>
              <a:gd name="connsiteX2" fmla="*/ 90487 w 3245644"/>
              <a:gd name="connsiteY2" fmla="*/ 40481 h 1023920"/>
              <a:gd name="connsiteX3" fmla="*/ 150018 w 3245644"/>
              <a:gd name="connsiteY3" fmla="*/ 54769 h 1023920"/>
              <a:gd name="connsiteX4" fmla="*/ 211932 w 3245644"/>
              <a:gd name="connsiteY4" fmla="*/ 161925 h 1023920"/>
              <a:gd name="connsiteX5" fmla="*/ 292894 w 3245644"/>
              <a:gd name="connsiteY5" fmla="*/ 266700 h 1023920"/>
              <a:gd name="connsiteX6" fmla="*/ 373856 w 3245644"/>
              <a:gd name="connsiteY6" fmla="*/ 419100 h 1023920"/>
              <a:gd name="connsiteX7" fmla="*/ 409574 w 3245644"/>
              <a:gd name="connsiteY7" fmla="*/ 438150 h 1023920"/>
              <a:gd name="connsiteX8" fmla="*/ 447675 w 3245644"/>
              <a:gd name="connsiteY8" fmla="*/ 435769 h 1023920"/>
              <a:gd name="connsiteX9" fmla="*/ 457200 w 3245644"/>
              <a:gd name="connsiteY9" fmla="*/ 478632 h 1023920"/>
              <a:gd name="connsiteX10" fmla="*/ 488157 w 3245644"/>
              <a:gd name="connsiteY10" fmla="*/ 500062 h 1023920"/>
              <a:gd name="connsiteX11" fmla="*/ 521494 w 3245644"/>
              <a:gd name="connsiteY11" fmla="*/ 492919 h 1023920"/>
              <a:gd name="connsiteX12" fmla="*/ 600074 w 3245644"/>
              <a:gd name="connsiteY12" fmla="*/ 607219 h 1023920"/>
              <a:gd name="connsiteX13" fmla="*/ 659605 w 3245644"/>
              <a:gd name="connsiteY13" fmla="*/ 604838 h 1023920"/>
              <a:gd name="connsiteX14" fmla="*/ 683419 w 3245644"/>
              <a:gd name="connsiteY14" fmla="*/ 621506 h 1023920"/>
              <a:gd name="connsiteX15" fmla="*/ 731044 w 3245644"/>
              <a:gd name="connsiteY15" fmla="*/ 631032 h 1023920"/>
              <a:gd name="connsiteX16" fmla="*/ 770234 w 3245644"/>
              <a:gd name="connsiteY16" fmla="*/ 633397 h 1023920"/>
              <a:gd name="connsiteX17" fmla="*/ 834528 w 3245644"/>
              <a:gd name="connsiteY17" fmla="*/ 695309 h 1023920"/>
              <a:gd name="connsiteX18" fmla="*/ 895350 w 3245644"/>
              <a:gd name="connsiteY18" fmla="*/ 735807 h 1023920"/>
              <a:gd name="connsiteX19" fmla="*/ 1114425 w 3245644"/>
              <a:gd name="connsiteY19" fmla="*/ 733425 h 1023920"/>
              <a:gd name="connsiteX20" fmla="*/ 1121569 w 3245644"/>
              <a:gd name="connsiteY20" fmla="*/ 776288 h 1023920"/>
              <a:gd name="connsiteX21" fmla="*/ 1233489 w 3245644"/>
              <a:gd name="connsiteY21" fmla="*/ 781050 h 1023920"/>
              <a:gd name="connsiteX22" fmla="*/ 1314450 w 3245644"/>
              <a:gd name="connsiteY22" fmla="*/ 795337 h 1023920"/>
              <a:gd name="connsiteX23" fmla="*/ 1333500 w 3245644"/>
              <a:gd name="connsiteY23" fmla="*/ 845344 h 1023920"/>
              <a:gd name="connsiteX24" fmla="*/ 1428749 w 3245644"/>
              <a:gd name="connsiteY24" fmla="*/ 845344 h 1023920"/>
              <a:gd name="connsiteX25" fmla="*/ 1459706 w 3245644"/>
              <a:gd name="connsiteY25" fmla="*/ 888207 h 1023920"/>
              <a:gd name="connsiteX26" fmla="*/ 1507331 w 3245644"/>
              <a:gd name="connsiteY26" fmla="*/ 888206 h 1023920"/>
              <a:gd name="connsiteX27" fmla="*/ 1513184 w 3245644"/>
              <a:gd name="connsiteY27" fmla="*/ 907240 h 1023920"/>
              <a:gd name="connsiteX28" fmla="*/ 1553666 w 3245644"/>
              <a:gd name="connsiteY28" fmla="*/ 907239 h 1023920"/>
              <a:gd name="connsiteX29" fmla="*/ 1558428 w 3245644"/>
              <a:gd name="connsiteY29" fmla="*/ 954864 h 1023920"/>
              <a:gd name="connsiteX30" fmla="*/ 1672728 w 3245644"/>
              <a:gd name="connsiteY30" fmla="*/ 952483 h 1023920"/>
              <a:gd name="connsiteX31" fmla="*/ 1667965 w 3245644"/>
              <a:gd name="connsiteY31" fmla="*/ 1023920 h 1023920"/>
              <a:gd name="connsiteX32" fmla="*/ 2483644 w 3245644"/>
              <a:gd name="connsiteY32" fmla="*/ 740569 h 1023920"/>
              <a:gd name="connsiteX33" fmla="*/ 2481262 w 3245644"/>
              <a:gd name="connsiteY33" fmla="*/ 888206 h 1023920"/>
              <a:gd name="connsiteX34" fmla="*/ 3245644 w 3245644"/>
              <a:gd name="connsiteY34" fmla="*/ 888206 h 1023920"/>
              <a:gd name="connsiteX0" fmla="*/ 0 w 3245644"/>
              <a:gd name="connsiteY0" fmla="*/ 0 h 1023920"/>
              <a:gd name="connsiteX1" fmla="*/ 90487 w 3245644"/>
              <a:gd name="connsiteY1" fmla="*/ 0 h 1023920"/>
              <a:gd name="connsiteX2" fmla="*/ 90487 w 3245644"/>
              <a:gd name="connsiteY2" fmla="*/ 40481 h 1023920"/>
              <a:gd name="connsiteX3" fmla="*/ 150018 w 3245644"/>
              <a:gd name="connsiteY3" fmla="*/ 54769 h 1023920"/>
              <a:gd name="connsiteX4" fmla="*/ 211932 w 3245644"/>
              <a:gd name="connsiteY4" fmla="*/ 161925 h 1023920"/>
              <a:gd name="connsiteX5" fmla="*/ 292894 w 3245644"/>
              <a:gd name="connsiteY5" fmla="*/ 266700 h 1023920"/>
              <a:gd name="connsiteX6" fmla="*/ 373856 w 3245644"/>
              <a:gd name="connsiteY6" fmla="*/ 419100 h 1023920"/>
              <a:gd name="connsiteX7" fmla="*/ 409574 w 3245644"/>
              <a:gd name="connsiteY7" fmla="*/ 438150 h 1023920"/>
              <a:gd name="connsiteX8" fmla="*/ 447675 w 3245644"/>
              <a:gd name="connsiteY8" fmla="*/ 435769 h 1023920"/>
              <a:gd name="connsiteX9" fmla="*/ 457200 w 3245644"/>
              <a:gd name="connsiteY9" fmla="*/ 478632 h 1023920"/>
              <a:gd name="connsiteX10" fmla="*/ 488157 w 3245644"/>
              <a:gd name="connsiteY10" fmla="*/ 500062 h 1023920"/>
              <a:gd name="connsiteX11" fmla="*/ 521494 w 3245644"/>
              <a:gd name="connsiteY11" fmla="*/ 492919 h 1023920"/>
              <a:gd name="connsiteX12" fmla="*/ 600074 w 3245644"/>
              <a:gd name="connsiteY12" fmla="*/ 607219 h 1023920"/>
              <a:gd name="connsiteX13" fmla="*/ 659605 w 3245644"/>
              <a:gd name="connsiteY13" fmla="*/ 604838 h 1023920"/>
              <a:gd name="connsiteX14" fmla="*/ 683419 w 3245644"/>
              <a:gd name="connsiteY14" fmla="*/ 621506 h 1023920"/>
              <a:gd name="connsiteX15" fmla="*/ 731044 w 3245644"/>
              <a:gd name="connsiteY15" fmla="*/ 631032 h 1023920"/>
              <a:gd name="connsiteX16" fmla="*/ 770234 w 3245644"/>
              <a:gd name="connsiteY16" fmla="*/ 633397 h 1023920"/>
              <a:gd name="connsiteX17" fmla="*/ 834528 w 3245644"/>
              <a:gd name="connsiteY17" fmla="*/ 695309 h 1023920"/>
              <a:gd name="connsiteX18" fmla="*/ 895350 w 3245644"/>
              <a:gd name="connsiteY18" fmla="*/ 735807 h 1023920"/>
              <a:gd name="connsiteX19" fmla="*/ 1114425 w 3245644"/>
              <a:gd name="connsiteY19" fmla="*/ 733425 h 1023920"/>
              <a:gd name="connsiteX20" fmla="*/ 1121569 w 3245644"/>
              <a:gd name="connsiteY20" fmla="*/ 776288 h 1023920"/>
              <a:gd name="connsiteX21" fmla="*/ 1233489 w 3245644"/>
              <a:gd name="connsiteY21" fmla="*/ 781050 h 1023920"/>
              <a:gd name="connsiteX22" fmla="*/ 1314450 w 3245644"/>
              <a:gd name="connsiteY22" fmla="*/ 795337 h 1023920"/>
              <a:gd name="connsiteX23" fmla="*/ 1333500 w 3245644"/>
              <a:gd name="connsiteY23" fmla="*/ 845344 h 1023920"/>
              <a:gd name="connsiteX24" fmla="*/ 1428749 w 3245644"/>
              <a:gd name="connsiteY24" fmla="*/ 845344 h 1023920"/>
              <a:gd name="connsiteX25" fmla="*/ 1459706 w 3245644"/>
              <a:gd name="connsiteY25" fmla="*/ 888207 h 1023920"/>
              <a:gd name="connsiteX26" fmla="*/ 1507331 w 3245644"/>
              <a:gd name="connsiteY26" fmla="*/ 888206 h 1023920"/>
              <a:gd name="connsiteX27" fmla="*/ 1513184 w 3245644"/>
              <a:gd name="connsiteY27" fmla="*/ 907240 h 1023920"/>
              <a:gd name="connsiteX28" fmla="*/ 1553666 w 3245644"/>
              <a:gd name="connsiteY28" fmla="*/ 907239 h 1023920"/>
              <a:gd name="connsiteX29" fmla="*/ 1558428 w 3245644"/>
              <a:gd name="connsiteY29" fmla="*/ 954864 h 1023920"/>
              <a:gd name="connsiteX30" fmla="*/ 1672728 w 3245644"/>
              <a:gd name="connsiteY30" fmla="*/ 952483 h 1023920"/>
              <a:gd name="connsiteX31" fmla="*/ 1667965 w 3245644"/>
              <a:gd name="connsiteY31" fmla="*/ 1023920 h 1023920"/>
              <a:gd name="connsiteX32" fmla="*/ 1964532 w 3245644"/>
              <a:gd name="connsiteY32" fmla="*/ 1019175 h 1023920"/>
              <a:gd name="connsiteX33" fmla="*/ 2481262 w 3245644"/>
              <a:gd name="connsiteY33" fmla="*/ 888206 h 1023920"/>
              <a:gd name="connsiteX34" fmla="*/ 3245644 w 3245644"/>
              <a:gd name="connsiteY34" fmla="*/ 888206 h 1023920"/>
              <a:gd name="connsiteX0" fmla="*/ 0 w 3245644"/>
              <a:gd name="connsiteY0" fmla="*/ 0 h 1023920"/>
              <a:gd name="connsiteX1" fmla="*/ 90487 w 3245644"/>
              <a:gd name="connsiteY1" fmla="*/ 0 h 1023920"/>
              <a:gd name="connsiteX2" fmla="*/ 90487 w 3245644"/>
              <a:gd name="connsiteY2" fmla="*/ 40481 h 1023920"/>
              <a:gd name="connsiteX3" fmla="*/ 150018 w 3245644"/>
              <a:gd name="connsiteY3" fmla="*/ 54769 h 1023920"/>
              <a:gd name="connsiteX4" fmla="*/ 211932 w 3245644"/>
              <a:gd name="connsiteY4" fmla="*/ 161925 h 1023920"/>
              <a:gd name="connsiteX5" fmla="*/ 292894 w 3245644"/>
              <a:gd name="connsiteY5" fmla="*/ 266700 h 1023920"/>
              <a:gd name="connsiteX6" fmla="*/ 373856 w 3245644"/>
              <a:gd name="connsiteY6" fmla="*/ 419100 h 1023920"/>
              <a:gd name="connsiteX7" fmla="*/ 409574 w 3245644"/>
              <a:gd name="connsiteY7" fmla="*/ 438150 h 1023920"/>
              <a:gd name="connsiteX8" fmla="*/ 447675 w 3245644"/>
              <a:gd name="connsiteY8" fmla="*/ 435769 h 1023920"/>
              <a:gd name="connsiteX9" fmla="*/ 457200 w 3245644"/>
              <a:gd name="connsiteY9" fmla="*/ 478632 h 1023920"/>
              <a:gd name="connsiteX10" fmla="*/ 488157 w 3245644"/>
              <a:gd name="connsiteY10" fmla="*/ 500062 h 1023920"/>
              <a:gd name="connsiteX11" fmla="*/ 521494 w 3245644"/>
              <a:gd name="connsiteY11" fmla="*/ 492919 h 1023920"/>
              <a:gd name="connsiteX12" fmla="*/ 600074 w 3245644"/>
              <a:gd name="connsiteY12" fmla="*/ 607219 h 1023920"/>
              <a:gd name="connsiteX13" fmla="*/ 659605 w 3245644"/>
              <a:gd name="connsiteY13" fmla="*/ 604838 h 1023920"/>
              <a:gd name="connsiteX14" fmla="*/ 683419 w 3245644"/>
              <a:gd name="connsiteY14" fmla="*/ 621506 h 1023920"/>
              <a:gd name="connsiteX15" fmla="*/ 731044 w 3245644"/>
              <a:gd name="connsiteY15" fmla="*/ 631032 h 1023920"/>
              <a:gd name="connsiteX16" fmla="*/ 770234 w 3245644"/>
              <a:gd name="connsiteY16" fmla="*/ 633397 h 1023920"/>
              <a:gd name="connsiteX17" fmla="*/ 834528 w 3245644"/>
              <a:gd name="connsiteY17" fmla="*/ 695309 h 1023920"/>
              <a:gd name="connsiteX18" fmla="*/ 895350 w 3245644"/>
              <a:gd name="connsiteY18" fmla="*/ 735807 h 1023920"/>
              <a:gd name="connsiteX19" fmla="*/ 1114425 w 3245644"/>
              <a:gd name="connsiteY19" fmla="*/ 733425 h 1023920"/>
              <a:gd name="connsiteX20" fmla="*/ 1121569 w 3245644"/>
              <a:gd name="connsiteY20" fmla="*/ 776288 h 1023920"/>
              <a:gd name="connsiteX21" fmla="*/ 1233489 w 3245644"/>
              <a:gd name="connsiteY21" fmla="*/ 781050 h 1023920"/>
              <a:gd name="connsiteX22" fmla="*/ 1314450 w 3245644"/>
              <a:gd name="connsiteY22" fmla="*/ 795337 h 1023920"/>
              <a:gd name="connsiteX23" fmla="*/ 1333500 w 3245644"/>
              <a:gd name="connsiteY23" fmla="*/ 845344 h 1023920"/>
              <a:gd name="connsiteX24" fmla="*/ 1428749 w 3245644"/>
              <a:gd name="connsiteY24" fmla="*/ 845344 h 1023920"/>
              <a:gd name="connsiteX25" fmla="*/ 1459706 w 3245644"/>
              <a:gd name="connsiteY25" fmla="*/ 888207 h 1023920"/>
              <a:gd name="connsiteX26" fmla="*/ 1507331 w 3245644"/>
              <a:gd name="connsiteY26" fmla="*/ 888206 h 1023920"/>
              <a:gd name="connsiteX27" fmla="*/ 1513184 w 3245644"/>
              <a:gd name="connsiteY27" fmla="*/ 907240 h 1023920"/>
              <a:gd name="connsiteX28" fmla="*/ 1553666 w 3245644"/>
              <a:gd name="connsiteY28" fmla="*/ 907239 h 1023920"/>
              <a:gd name="connsiteX29" fmla="*/ 1558428 w 3245644"/>
              <a:gd name="connsiteY29" fmla="*/ 954864 h 1023920"/>
              <a:gd name="connsiteX30" fmla="*/ 1672728 w 3245644"/>
              <a:gd name="connsiteY30" fmla="*/ 952483 h 1023920"/>
              <a:gd name="connsiteX31" fmla="*/ 1667965 w 3245644"/>
              <a:gd name="connsiteY31" fmla="*/ 1023920 h 1023920"/>
              <a:gd name="connsiteX32" fmla="*/ 1964532 w 3245644"/>
              <a:gd name="connsiteY32" fmla="*/ 1019175 h 1023920"/>
              <a:gd name="connsiteX33" fmla="*/ 2101353 w 3245644"/>
              <a:gd name="connsiteY33" fmla="*/ 981058 h 1023920"/>
              <a:gd name="connsiteX34" fmla="*/ 2481262 w 3245644"/>
              <a:gd name="connsiteY34" fmla="*/ 888206 h 1023920"/>
              <a:gd name="connsiteX35" fmla="*/ 3245644 w 3245644"/>
              <a:gd name="connsiteY35" fmla="*/ 888206 h 1023920"/>
              <a:gd name="connsiteX0" fmla="*/ 0 w 3245644"/>
              <a:gd name="connsiteY0" fmla="*/ 0 h 1088215"/>
              <a:gd name="connsiteX1" fmla="*/ 90487 w 3245644"/>
              <a:gd name="connsiteY1" fmla="*/ 0 h 1088215"/>
              <a:gd name="connsiteX2" fmla="*/ 90487 w 3245644"/>
              <a:gd name="connsiteY2" fmla="*/ 40481 h 1088215"/>
              <a:gd name="connsiteX3" fmla="*/ 150018 w 3245644"/>
              <a:gd name="connsiteY3" fmla="*/ 54769 h 1088215"/>
              <a:gd name="connsiteX4" fmla="*/ 211932 w 3245644"/>
              <a:gd name="connsiteY4" fmla="*/ 161925 h 1088215"/>
              <a:gd name="connsiteX5" fmla="*/ 292894 w 3245644"/>
              <a:gd name="connsiteY5" fmla="*/ 266700 h 1088215"/>
              <a:gd name="connsiteX6" fmla="*/ 373856 w 3245644"/>
              <a:gd name="connsiteY6" fmla="*/ 419100 h 1088215"/>
              <a:gd name="connsiteX7" fmla="*/ 409574 w 3245644"/>
              <a:gd name="connsiteY7" fmla="*/ 438150 h 1088215"/>
              <a:gd name="connsiteX8" fmla="*/ 447675 w 3245644"/>
              <a:gd name="connsiteY8" fmla="*/ 435769 h 1088215"/>
              <a:gd name="connsiteX9" fmla="*/ 457200 w 3245644"/>
              <a:gd name="connsiteY9" fmla="*/ 478632 h 1088215"/>
              <a:gd name="connsiteX10" fmla="*/ 488157 w 3245644"/>
              <a:gd name="connsiteY10" fmla="*/ 500062 h 1088215"/>
              <a:gd name="connsiteX11" fmla="*/ 521494 w 3245644"/>
              <a:gd name="connsiteY11" fmla="*/ 492919 h 1088215"/>
              <a:gd name="connsiteX12" fmla="*/ 600074 w 3245644"/>
              <a:gd name="connsiteY12" fmla="*/ 607219 h 1088215"/>
              <a:gd name="connsiteX13" fmla="*/ 659605 w 3245644"/>
              <a:gd name="connsiteY13" fmla="*/ 604838 h 1088215"/>
              <a:gd name="connsiteX14" fmla="*/ 683419 w 3245644"/>
              <a:gd name="connsiteY14" fmla="*/ 621506 h 1088215"/>
              <a:gd name="connsiteX15" fmla="*/ 731044 w 3245644"/>
              <a:gd name="connsiteY15" fmla="*/ 631032 h 1088215"/>
              <a:gd name="connsiteX16" fmla="*/ 770234 w 3245644"/>
              <a:gd name="connsiteY16" fmla="*/ 633397 h 1088215"/>
              <a:gd name="connsiteX17" fmla="*/ 834528 w 3245644"/>
              <a:gd name="connsiteY17" fmla="*/ 695309 h 1088215"/>
              <a:gd name="connsiteX18" fmla="*/ 895350 w 3245644"/>
              <a:gd name="connsiteY18" fmla="*/ 735807 h 1088215"/>
              <a:gd name="connsiteX19" fmla="*/ 1114425 w 3245644"/>
              <a:gd name="connsiteY19" fmla="*/ 733425 h 1088215"/>
              <a:gd name="connsiteX20" fmla="*/ 1121569 w 3245644"/>
              <a:gd name="connsiteY20" fmla="*/ 776288 h 1088215"/>
              <a:gd name="connsiteX21" fmla="*/ 1233489 w 3245644"/>
              <a:gd name="connsiteY21" fmla="*/ 781050 h 1088215"/>
              <a:gd name="connsiteX22" fmla="*/ 1314450 w 3245644"/>
              <a:gd name="connsiteY22" fmla="*/ 795337 h 1088215"/>
              <a:gd name="connsiteX23" fmla="*/ 1333500 w 3245644"/>
              <a:gd name="connsiteY23" fmla="*/ 845344 h 1088215"/>
              <a:gd name="connsiteX24" fmla="*/ 1428749 w 3245644"/>
              <a:gd name="connsiteY24" fmla="*/ 845344 h 1088215"/>
              <a:gd name="connsiteX25" fmla="*/ 1459706 w 3245644"/>
              <a:gd name="connsiteY25" fmla="*/ 888207 h 1088215"/>
              <a:gd name="connsiteX26" fmla="*/ 1507331 w 3245644"/>
              <a:gd name="connsiteY26" fmla="*/ 888206 h 1088215"/>
              <a:gd name="connsiteX27" fmla="*/ 1513184 w 3245644"/>
              <a:gd name="connsiteY27" fmla="*/ 907240 h 1088215"/>
              <a:gd name="connsiteX28" fmla="*/ 1553666 w 3245644"/>
              <a:gd name="connsiteY28" fmla="*/ 907239 h 1088215"/>
              <a:gd name="connsiteX29" fmla="*/ 1558428 w 3245644"/>
              <a:gd name="connsiteY29" fmla="*/ 954864 h 1088215"/>
              <a:gd name="connsiteX30" fmla="*/ 1672728 w 3245644"/>
              <a:gd name="connsiteY30" fmla="*/ 952483 h 1088215"/>
              <a:gd name="connsiteX31" fmla="*/ 1667965 w 3245644"/>
              <a:gd name="connsiteY31" fmla="*/ 1023920 h 1088215"/>
              <a:gd name="connsiteX32" fmla="*/ 1964532 w 3245644"/>
              <a:gd name="connsiteY32" fmla="*/ 1019175 h 1088215"/>
              <a:gd name="connsiteX33" fmla="*/ 1960859 w 3245644"/>
              <a:gd name="connsiteY33" fmla="*/ 1088215 h 1088215"/>
              <a:gd name="connsiteX34" fmla="*/ 2481262 w 3245644"/>
              <a:gd name="connsiteY34" fmla="*/ 888206 h 1088215"/>
              <a:gd name="connsiteX35" fmla="*/ 3245644 w 3245644"/>
              <a:gd name="connsiteY35" fmla="*/ 888206 h 1088215"/>
              <a:gd name="connsiteX0" fmla="*/ 0 w 3245644"/>
              <a:gd name="connsiteY0" fmla="*/ 0 h 1088215"/>
              <a:gd name="connsiteX1" fmla="*/ 90487 w 3245644"/>
              <a:gd name="connsiteY1" fmla="*/ 0 h 1088215"/>
              <a:gd name="connsiteX2" fmla="*/ 90487 w 3245644"/>
              <a:gd name="connsiteY2" fmla="*/ 40481 h 1088215"/>
              <a:gd name="connsiteX3" fmla="*/ 150018 w 3245644"/>
              <a:gd name="connsiteY3" fmla="*/ 54769 h 1088215"/>
              <a:gd name="connsiteX4" fmla="*/ 211932 w 3245644"/>
              <a:gd name="connsiteY4" fmla="*/ 161925 h 1088215"/>
              <a:gd name="connsiteX5" fmla="*/ 292894 w 3245644"/>
              <a:gd name="connsiteY5" fmla="*/ 266700 h 1088215"/>
              <a:gd name="connsiteX6" fmla="*/ 373856 w 3245644"/>
              <a:gd name="connsiteY6" fmla="*/ 419100 h 1088215"/>
              <a:gd name="connsiteX7" fmla="*/ 409574 w 3245644"/>
              <a:gd name="connsiteY7" fmla="*/ 438150 h 1088215"/>
              <a:gd name="connsiteX8" fmla="*/ 447675 w 3245644"/>
              <a:gd name="connsiteY8" fmla="*/ 435769 h 1088215"/>
              <a:gd name="connsiteX9" fmla="*/ 457200 w 3245644"/>
              <a:gd name="connsiteY9" fmla="*/ 478632 h 1088215"/>
              <a:gd name="connsiteX10" fmla="*/ 488157 w 3245644"/>
              <a:gd name="connsiteY10" fmla="*/ 500062 h 1088215"/>
              <a:gd name="connsiteX11" fmla="*/ 521494 w 3245644"/>
              <a:gd name="connsiteY11" fmla="*/ 492919 h 1088215"/>
              <a:gd name="connsiteX12" fmla="*/ 600074 w 3245644"/>
              <a:gd name="connsiteY12" fmla="*/ 607219 h 1088215"/>
              <a:gd name="connsiteX13" fmla="*/ 659605 w 3245644"/>
              <a:gd name="connsiteY13" fmla="*/ 604838 h 1088215"/>
              <a:gd name="connsiteX14" fmla="*/ 683419 w 3245644"/>
              <a:gd name="connsiteY14" fmla="*/ 621506 h 1088215"/>
              <a:gd name="connsiteX15" fmla="*/ 731044 w 3245644"/>
              <a:gd name="connsiteY15" fmla="*/ 631032 h 1088215"/>
              <a:gd name="connsiteX16" fmla="*/ 770234 w 3245644"/>
              <a:gd name="connsiteY16" fmla="*/ 633397 h 1088215"/>
              <a:gd name="connsiteX17" fmla="*/ 834528 w 3245644"/>
              <a:gd name="connsiteY17" fmla="*/ 695309 h 1088215"/>
              <a:gd name="connsiteX18" fmla="*/ 895350 w 3245644"/>
              <a:gd name="connsiteY18" fmla="*/ 735807 h 1088215"/>
              <a:gd name="connsiteX19" fmla="*/ 1114425 w 3245644"/>
              <a:gd name="connsiteY19" fmla="*/ 733425 h 1088215"/>
              <a:gd name="connsiteX20" fmla="*/ 1121569 w 3245644"/>
              <a:gd name="connsiteY20" fmla="*/ 776288 h 1088215"/>
              <a:gd name="connsiteX21" fmla="*/ 1233489 w 3245644"/>
              <a:gd name="connsiteY21" fmla="*/ 781050 h 1088215"/>
              <a:gd name="connsiteX22" fmla="*/ 1314450 w 3245644"/>
              <a:gd name="connsiteY22" fmla="*/ 795337 h 1088215"/>
              <a:gd name="connsiteX23" fmla="*/ 1333500 w 3245644"/>
              <a:gd name="connsiteY23" fmla="*/ 845344 h 1088215"/>
              <a:gd name="connsiteX24" fmla="*/ 1428749 w 3245644"/>
              <a:gd name="connsiteY24" fmla="*/ 845344 h 1088215"/>
              <a:gd name="connsiteX25" fmla="*/ 1459706 w 3245644"/>
              <a:gd name="connsiteY25" fmla="*/ 888207 h 1088215"/>
              <a:gd name="connsiteX26" fmla="*/ 1507331 w 3245644"/>
              <a:gd name="connsiteY26" fmla="*/ 888206 h 1088215"/>
              <a:gd name="connsiteX27" fmla="*/ 1513184 w 3245644"/>
              <a:gd name="connsiteY27" fmla="*/ 907240 h 1088215"/>
              <a:gd name="connsiteX28" fmla="*/ 1553666 w 3245644"/>
              <a:gd name="connsiteY28" fmla="*/ 907239 h 1088215"/>
              <a:gd name="connsiteX29" fmla="*/ 1558428 w 3245644"/>
              <a:gd name="connsiteY29" fmla="*/ 954864 h 1088215"/>
              <a:gd name="connsiteX30" fmla="*/ 1672728 w 3245644"/>
              <a:gd name="connsiteY30" fmla="*/ 952483 h 1088215"/>
              <a:gd name="connsiteX31" fmla="*/ 1667965 w 3245644"/>
              <a:gd name="connsiteY31" fmla="*/ 1023920 h 1088215"/>
              <a:gd name="connsiteX32" fmla="*/ 1964532 w 3245644"/>
              <a:gd name="connsiteY32" fmla="*/ 1019175 h 1088215"/>
              <a:gd name="connsiteX33" fmla="*/ 1960859 w 3245644"/>
              <a:gd name="connsiteY33" fmla="*/ 1088215 h 1088215"/>
              <a:gd name="connsiteX34" fmla="*/ 2474118 w 3245644"/>
              <a:gd name="connsiteY34" fmla="*/ 1076325 h 1088215"/>
              <a:gd name="connsiteX35" fmla="*/ 3245644 w 3245644"/>
              <a:gd name="connsiteY35" fmla="*/ 888206 h 1088215"/>
              <a:gd name="connsiteX0" fmla="*/ 0 w 3121819"/>
              <a:gd name="connsiteY0" fmla="*/ 0 h 1088215"/>
              <a:gd name="connsiteX1" fmla="*/ 90487 w 3121819"/>
              <a:gd name="connsiteY1" fmla="*/ 0 h 1088215"/>
              <a:gd name="connsiteX2" fmla="*/ 90487 w 3121819"/>
              <a:gd name="connsiteY2" fmla="*/ 40481 h 1088215"/>
              <a:gd name="connsiteX3" fmla="*/ 150018 w 3121819"/>
              <a:gd name="connsiteY3" fmla="*/ 54769 h 1088215"/>
              <a:gd name="connsiteX4" fmla="*/ 211932 w 3121819"/>
              <a:gd name="connsiteY4" fmla="*/ 161925 h 1088215"/>
              <a:gd name="connsiteX5" fmla="*/ 292894 w 3121819"/>
              <a:gd name="connsiteY5" fmla="*/ 266700 h 1088215"/>
              <a:gd name="connsiteX6" fmla="*/ 373856 w 3121819"/>
              <a:gd name="connsiteY6" fmla="*/ 419100 h 1088215"/>
              <a:gd name="connsiteX7" fmla="*/ 409574 w 3121819"/>
              <a:gd name="connsiteY7" fmla="*/ 438150 h 1088215"/>
              <a:gd name="connsiteX8" fmla="*/ 447675 w 3121819"/>
              <a:gd name="connsiteY8" fmla="*/ 435769 h 1088215"/>
              <a:gd name="connsiteX9" fmla="*/ 457200 w 3121819"/>
              <a:gd name="connsiteY9" fmla="*/ 478632 h 1088215"/>
              <a:gd name="connsiteX10" fmla="*/ 488157 w 3121819"/>
              <a:gd name="connsiteY10" fmla="*/ 500062 h 1088215"/>
              <a:gd name="connsiteX11" fmla="*/ 521494 w 3121819"/>
              <a:gd name="connsiteY11" fmla="*/ 492919 h 1088215"/>
              <a:gd name="connsiteX12" fmla="*/ 600074 w 3121819"/>
              <a:gd name="connsiteY12" fmla="*/ 607219 h 1088215"/>
              <a:gd name="connsiteX13" fmla="*/ 659605 w 3121819"/>
              <a:gd name="connsiteY13" fmla="*/ 604838 h 1088215"/>
              <a:gd name="connsiteX14" fmla="*/ 683419 w 3121819"/>
              <a:gd name="connsiteY14" fmla="*/ 621506 h 1088215"/>
              <a:gd name="connsiteX15" fmla="*/ 731044 w 3121819"/>
              <a:gd name="connsiteY15" fmla="*/ 631032 h 1088215"/>
              <a:gd name="connsiteX16" fmla="*/ 770234 w 3121819"/>
              <a:gd name="connsiteY16" fmla="*/ 633397 h 1088215"/>
              <a:gd name="connsiteX17" fmla="*/ 834528 w 3121819"/>
              <a:gd name="connsiteY17" fmla="*/ 695309 h 1088215"/>
              <a:gd name="connsiteX18" fmla="*/ 895350 w 3121819"/>
              <a:gd name="connsiteY18" fmla="*/ 735807 h 1088215"/>
              <a:gd name="connsiteX19" fmla="*/ 1114425 w 3121819"/>
              <a:gd name="connsiteY19" fmla="*/ 733425 h 1088215"/>
              <a:gd name="connsiteX20" fmla="*/ 1121569 w 3121819"/>
              <a:gd name="connsiteY20" fmla="*/ 776288 h 1088215"/>
              <a:gd name="connsiteX21" fmla="*/ 1233489 w 3121819"/>
              <a:gd name="connsiteY21" fmla="*/ 781050 h 1088215"/>
              <a:gd name="connsiteX22" fmla="*/ 1314450 w 3121819"/>
              <a:gd name="connsiteY22" fmla="*/ 795337 h 1088215"/>
              <a:gd name="connsiteX23" fmla="*/ 1333500 w 3121819"/>
              <a:gd name="connsiteY23" fmla="*/ 845344 h 1088215"/>
              <a:gd name="connsiteX24" fmla="*/ 1428749 w 3121819"/>
              <a:gd name="connsiteY24" fmla="*/ 845344 h 1088215"/>
              <a:gd name="connsiteX25" fmla="*/ 1459706 w 3121819"/>
              <a:gd name="connsiteY25" fmla="*/ 888207 h 1088215"/>
              <a:gd name="connsiteX26" fmla="*/ 1507331 w 3121819"/>
              <a:gd name="connsiteY26" fmla="*/ 888206 h 1088215"/>
              <a:gd name="connsiteX27" fmla="*/ 1513184 w 3121819"/>
              <a:gd name="connsiteY27" fmla="*/ 907240 h 1088215"/>
              <a:gd name="connsiteX28" fmla="*/ 1553666 w 3121819"/>
              <a:gd name="connsiteY28" fmla="*/ 907239 h 1088215"/>
              <a:gd name="connsiteX29" fmla="*/ 1558428 w 3121819"/>
              <a:gd name="connsiteY29" fmla="*/ 954864 h 1088215"/>
              <a:gd name="connsiteX30" fmla="*/ 1672728 w 3121819"/>
              <a:gd name="connsiteY30" fmla="*/ 952483 h 1088215"/>
              <a:gd name="connsiteX31" fmla="*/ 1667965 w 3121819"/>
              <a:gd name="connsiteY31" fmla="*/ 1023920 h 1088215"/>
              <a:gd name="connsiteX32" fmla="*/ 1964532 w 3121819"/>
              <a:gd name="connsiteY32" fmla="*/ 1019175 h 1088215"/>
              <a:gd name="connsiteX33" fmla="*/ 1960859 w 3121819"/>
              <a:gd name="connsiteY33" fmla="*/ 1088215 h 1088215"/>
              <a:gd name="connsiteX34" fmla="*/ 2474118 w 3121819"/>
              <a:gd name="connsiteY34" fmla="*/ 1076325 h 1088215"/>
              <a:gd name="connsiteX35" fmla="*/ 3121819 w 3121819"/>
              <a:gd name="connsiteY35" fmla="*/ 1073943 h 1088215"/>
              <a:gd name="connsiteX0" fmla="*/ 0 w 3121819"/>
              <a:gd name="connsiteY0" fmla="*/ 0 h 1088215"/>
              <a:gd name="connsiteX1" fmla="*/ 90487 w 3121819"/>
              <a:gd name="connsiteY1" fmla="*/ 0 h 1088215"/>
              <a:gd name="connsiteX2" fmla="*/ 90487 w 3121819"/>
              <a:gd name="connsiteY2" fmla="*/ 40481 h 1088215"/>
              <a:gd name="connsiteX3" fmla="*/ 150018 w 3121819"/>
              <a:gd name="connsiteY3" fmla="*/ 54769 h 1088215"/>
              <a:gd name="connsiteX4" fmla="*/ 211932 w 3121819"/>
              <a:gd name="connsiteY4" fmla="*/ 161925 h 1088215"/>
              <a:gd name="connsiteX5" fmla="*/ 292894 w 3121819"/>
              <a:gd name="connsiteY5" fmla="*/ 266700 h 1088215"/>
              <a:gd name="connsiteX6" fmla="*/ 373856 w 3121819"/>
              <a:gd name="connsiteY6" fmla="*/ 419100 h 1088215"/>
              <a:gd name="connsiteX7" fmla="*/ 409574 w 3121819"/>
              <a:gd name="connsiteY7" fmla="*/ 438150 h 1088215"/>
              <a:gd name="connsiteX8" fmla="*/ 447675 w 3121819"/>
              <a:gd name="connsiteY8" fmla="*/ 435769 h 1088215"/>
              <a:gd name="connsiteX9" fmla="*/ 457200 w 3121819"/>
              <a:gd name="connsiteY9" fmla="*/ 478632 h 1088215"/>
              <a:gd name="connsiteX10" fmla="*/ 488157 w 3121819"/>
              <a:gd name="connsiteY10" fmla="*/ 500062 h 1088215"/>
              <a:gd name="connsiteX11" fmla="*/ 521494 w 3121819"/>
              <a:gd name="connsiteY11" fmla="*/ 492919 h 1088215"/>
              <a:gd name="connsiteX12" fmla="*/ 600074 w 3121819"/>
              <a:gd name="connsiteY12" fmla="*/ 607219 h 1088215"/>
              <a:gd name="connsiteX13" fmla="*/ 659605 w 3121819"/>
              <a:gd name="connsiteY13" fmla="*/ 604838 h 1088215"/>
              <a:gd name="connsiteX14" fmla="*/ 683419 w 3121819"/>
              <a:gd name="connsiteY14" fmla="*/ 621506 h 1088215"/>
              <a:gd name="connsiteX15" fmla="*/ 731044 w 3121819"/>
              <a:gd name="connsiteY15" fmla="*/ 631032 h 1088215"/>
              <a:gd name="connsiteX16" fmla="*/ 770234 w 3121819"/>
              <a:gd name="connsiteY16" fmla="*/ 633397 h 1088215"/>
              <a:gd name="connsiteX17" fmla="*/ 834528 w 3121819"/>
              <a:gd name="connsiteY17" fmla="*/ 695309 h 1088215"/>
              <a:gd name="connsiteX18" fmla="*/ 895350 w 3121819"/>
              <a:gd name="connsiteY18" fmla="*/ 735807 h 1088215"/>
              <a:gd name="connsiteX19" fmla="*/ 1114425 w 3121819"/>
              <a:gd name="connsiteY19" fmla="*/ 733425 h 1088215"/>
              <a:gd name="connsiteX20" fmla="*/ 1121569 w 3121819"/>
              <a:gd name="connsiteY20" fmla="*/ 776288 h 1088215"/>
              <a:gd name="connsiteX21" fmla="*/ 1233489 w 3121819"/>
              <a:gd name="connsiteY21" fmla="*/ 781050 h 1088215"/>
              <a:gd name="connsiteX22" fmla="*/ 1314450 w 3121819"/>
              <a:gd name="connsiteY22" fmla="*/ 795337 h 1088215"/>
              <a:gd name="connsiteX23" fmla="*/ 1333500 w 3121819"/>
              <a:gd name="connsiteY23" fmla="*/ 845344 h 1088215"/>
              <a:gd name="connsiteX24" fmla="*/ 1428749 w 3121819"/>
              <a:gd name="connsiteY24" fmla="*/ 845344 h 1088215"/>
              <a:gd name="connsiteX25" fmla="*/ 1459706 w 3121819"/>
              <a:gd name="connsiteY25" fmla="*/ 888207 h 1088215"/>
              <a:gd name="connsiteX26" fmla="*/ 1507331 w 3121819"/>
              <a:gd name="connsiteY26" fmla="*/ 888206 h 1088215"/>
              <a:gd name="connsiteX27" fmla="*/ 1513184 w 3121819"/>
              <a:gd name="connsiteY27" fmla="*/ 907240 h 1088215"/>
              <a:gd name="connsiteX28" fmla="*/ 1553666 w 3121819"/>
              <a:gd name="connsiteY28" fmla="*/ 907239 h 1088215"/>
              <a:gd name="connsiteX29" fmla="*/ 1558428 w 3121819"/>
              <a:gd name="connsiteY29" fmla="*/ 954864 h 1088215"/>
              <a:gd name="connsiteX30" fmla="*/ 1672728 w 3121819"/>
              <a:gd name="connsiteY30" fmla="*/ 952483 h 1088215"/>
              <a:gd name="connsiteX31" fmla="*/ 1667965 w 3121819"/>
              <a:gd name="connsiteY31" fmla="*/ 1023920 h 1088215"/>
              <a:gd name="connsiteX32" fmla="*/ 1964532 w 3121819"/>
              <a:gd name="connsiteY32" fmla="*/ 1019175 h 1088215"/>
              <a:gd name="connsiteX33" fmla="*/ 1960859 w 3121819"/>
              <a:gd name="connsiteY33" fmla="*/ 1088215 h 1088215"/>
              <a:gd name="connsiteX34" fmla="*/ 2474118 w 3121819"/>
              <a:gd name="connsiteY34" fmla="*/ 1076325 h 1088215"/>
              <a:gd name="connsiteX35" fmla="*/ 3121819 w 3121819"/>
              <a:gd name="connsiteY35" fmla="*/ 1059655 h 1088215"/>
              <a:gd name="connsiteX0" fmla="*/ 0 w 3121819"/>
              <a:gd name="connsiteY0" fmla="*/ 0 h 1088215"/>
              <a:gd name="connsiteX1" fmla="*/ 90487 w 3121819"/>
              <a:gd name="connsiteY1" fmla="*/ 0 h 1088215"/>
              <a:gd name="connsiteX2" fmla="*/ 90487 w 3121819"/>
              <a:gd name="connsiteY2" fmla="*/ 40481 h 1088215"/>
              <a:gd name="connsiteX3" fmla="*/ 150018 w 3121819"/>
              <a:gd name="connsiteY3" fmla="*/ 54769 h 1088215"/>
              <a:gd name="connsiteX4" fmla="*/ 211932 w 3121819"/>
              <a:gd name="connsiteY4" fmla="*/ 161925 h 1088215"/>
              <a:gd name="connsiteX5" fmla="*/ 292894 w 3121819"/>
              <a:gd name="connsiteY5" fmla="*/ 266700 h 1088215"/>
              <a:gd name="connsiteX6" fmla="*/ 373856 w 3121819"/>
              <a:gd name="connsiteY6" fmla="*/ 419100 h 1088215"/>
              <a:gd name="connsiteX7" fmla="*/ 409574 w 3121819"/>
              <a:gd name="connsiteY7" fmla="*/ 438150 h 1088215"/>
              <a:gd name="connsiteX8" fmla="*/ 447675 w 3121819"/>
              <a:gd name="connsiteY8" fmla="*/ 435769 h 1088215"/>
              <a:gd name="connsiteX9" fmla="*/ 457200 w 3121819"/>
              <a:gd name="connsiteY9" fmla="*/ 478632 h 1088215"/>
              <a:gd name="connsiteX10" fmla="*/ 488157 w 3121819"/>
              <a:gd name="connsiteY10" fmla="*/ 500062 h 1088215"/>
              <a:gd name="connsiteX11" fmla="*/ 521494 w 3121819"/>
              <a:gd name="connsiteY11" fmla="*/ 492919 h 1088215"/>
              <a:gd name="connsiteX12" fmla="*/ 600074 w 3121819"/>
              <a:gd name="connsiteY12" fmla="*/ 607219 h 1088215"/>
              <a:gd name="connsiteX13" fmla="*/ 659605 w 3121819"/>
              <a:gd name="connsiteY13" fmla="*/ 604838 h 1088215"/>
              <a:gd name="connsiteX14" fmla="*/ 683419 w 3121819"/>
              <a:gd name="connsiteY14" fmla="*/ 621506 h 1088215"/>
              <a:gd name="connsiteX15" fmla="*/ 731044 w 3121819"/>
              <a:gd name="connsiteY15" fmla="*/ 631032 h 1088215"/>
              <a:gd name="connsiteX16" fmla="*/ 770234 w 3121819"/>
              <a:gd name="connsiteY16" fmla="*/ 633397 h 1088215"/>
              <a:gd name="connsiteX17" fmla="*/ 834528 w 3121819"/>
              <a:gd name="connsiteY17" fmla="*/ 695309 h 1088215"/>
              <a:gd name="connsiteX18" fmla="*/ 895350 w 3121819"/>
              <a:gd name="connsiteY18" fmla="*/ 735807 h 1088215"/>
              <a:gd name="connsiteX19" fmla="*/ 1114425 w 3121819"/>
              <a:gd name="connsiteY19" fmla="*/ 733425 h 1088215"/>
              <a:gd name="connsiteX20" fmla="*/ 1121569 w 3121819"/>
              <a:gd name="connsiteY20" fmla="*/ 776288 h 1088215"/>
              <a:gd name="connsiteX21" fmla="*/ 1233489 w 3121819"/>
              <a:gd name="connsiteY21" fmla="*/ 781050 h 1088215"/>
              <a:gd name="connsiteX22" fmla="*/ 1314450 w 3121819"/>
              <a:gd name="connsiteY22" fmla="*/ 795337 h 1088215"/>
              <a:gd name="connsiteX23" fmla="*/ 1333500 w 3121819"/>
              <a:gd name="connsiteY23" fmla="*/ 845344 h 1088215"/>
              <a:gd name="connsiteX24" fmla="*/ 1428749 w 3121819"/>
              <a:gd name="connsiteY24" fmla="*/ 845344 h 1088215"/>
              <a:gd name="connsiteX25" fmla="*/ 1459706 w 3121819"/>
              <a:gd name="connsiteY25" fmla="*/ 888207 h 1088215"/>
              <a:gd name="connsiteX26" fmla="*/ 1507331 w 3121819"/>
              <a:gd name="connsiteY26" fmla="*/ 888206 h 1088215"/>
              <a:gd name="connsiteX27" fmla="*/ 1513184 w 3121819"/>
              <a:gd name="connsiteY27" fmla="*/ 907240 h 1088215"/>
              <a:gd name="connsiteX28" fmla="*/ 1553666 w 3121819"/>
              <a:gd name="connsiteY28" fmla="*/ 907239 h 1088215"/>
              <a:gd name="connsiteX29" fmla="*/ 1558428 w 3121819"/>
              <a:gd name="connsiteY29" fmla="*/ 954864 h 1088215"/>
              <a:gd name="connsiteX30" fmla="*/ 1672728 w 3121819"/>
              <a:gd name="connsiteY30" fmla="*/ 952483 h 1088215"/>
              <a:gd name="connsiteX31" fmla="*/ 1667965 w 3121819"/>
              <a:gd name="connsiteY31" fmla="*/ 1023920 h 1088215"/>
              <a:gd name="connsiteX32" fmla="*/ 1964532 w 3121819"/>
              <a:gd name="connsiteY32" fmla="*/ 1019175 h 1088215"/>
              <a:gd name="connsiteX33" fmla="*/ 1960859 w 3121819"/>
              <a:gd name="connsiteY33" fmla="*/ 1088215 h 1088215"/>
              <a:gd name="connsiteX34" fmla="*/ 2369343 w 3121819"/>
              <a:gd name="connsiteY34" fmla="*/ 1059657 h 1088215"/>
              <a:gd name="connsiteX35" fmla="*/ 3121819 w 3121819"/>
              <a:gd name="connsiteY35" fmla="*/ 1059655 h 1088215"/>
              <a:gd name="connsiteX0" fmla="*/ 0 w 3121819"/>
              <a:gd name="connsiteY0" fmla="*/ 0 h 1088215"/>
              <a:gd name="connsiteX1" fmla="*/ 90487 w 3121819"/>
              <a:gd name="connsiteY1" fmla="*/ 0 h 1088215"/>
              <a:gd name="connsiteX2" fmla="*/ 90487 w 3121819"/>
              <a:gd name="connsiteY2" fmla="*/ 40481 h 1088215"/>
              <a:gd name="connsiteX3" fmla="*/ 150018 w 3121819"/>
              <a:gd name="connsiteY3" fmla="*/ 54769 h 1088215"/>
              <a:gd name="connsiteX4" fmla="*/ 211932 w 3121819"/>
              <a:gd name="connsiteY4" fmla="*/ 161925 h 1088215"/>
              <a:gd name="connsiteX5" fmla="*/ 292894 w 3121819"/>
              <a:gd name="connsiteY5" fmla="*/ 266700 h 1088215"/>
              <a:gd name="connsiteX6" fmla="*/ 373856 w 3121819"/>
              <a:gd name="connsiteY6" fmla="*/ 419100 h 1088215"/>
              <a:gd name="connsiteX7" fmla="*/ 409574 w 3121819"/>
              <a:gd name="connsiteY7" fmla="*/ 438150 h 1088215"/>
              <a:gd name="connsiteX8" fmla="*/ 447675 w 3121819"/>
              <a:gd name="connsiteY8" fmla="*/ 435769 h 1088215"/>
              <a:gd name="connsiteX9" fmla="*/ 457200 w 3121819"/>
              <a:gd name="connsiteY9" fmla="*/ 478632 h 1088215"/>
              <a:gd name="connsiteX10" fmla="*/ 488157 w 3121819"/>
              <a:gd name="connsiteY10" fmla="*/ 500062 h 1088215"/>
              <a:gd name="connsiteX11" fmla="*/ 521494 w 3121819"/>
              <a:gd name="connsiteY11" fmla="*/ 492919 h 1088215"/>
              <a:gd name="connsiteX12" fmla="*/ 600074 w 3121819"/>
              <a:gd name="connsiteY12" fmla="*/ 607219 h 1088215"/>
              <a:gd name="connsiteX13" fmla="*/ 659605 w 3121819"/>
              <a:gd name="connsiteY13" fmla="*/ 604838 h 1088215"/>
              <a:gd name="connsiteX14" fmla="*/ 683419 w 3121819"/>
              <a:gd name="connsiteY14" fmla="*/ 621506 h 1088215"/>
              <a:gd name="connsiteX15" fmla="*/ 731044 w 3121819"/>
              <a:gd name="connsiteY15" fmla="*/ 631032 h 1088215"/>
              <a:gd name="connsiteX16" fmla="*/ 770234 w 3121819"/>
              <a:gd name="connsiteY16" fmla="*/ 633397 h 1088215"/>
              <a:gd name="connsiteX17" fmla="*/ 834528 w 3121819"/>
              <a:gd name="connsiteY17" fmla="*/ 695309 h 1088215"/>
              <a:gd name="connsiteX18" fmla="*/ 895350 w 3121819"/>
              <a:gd name="connsiteY18" fmla="*/ 735807 h 1088215"/>
              <a:gd name="connsiteX19" fmla="*/ 1114425 w 3121819"/>
              <a:gd name="connsiteY19" fmla="*/ 733425 h 1088215"/>
              <a:gd name="connsiteX20" fmla="*/ 1121569 w 3121819"/>
              <a:gd name="connsiteY20" fmla="*/ 776288 h 1088215"/>
              <a:gd name="connsiteX21" fmla="*/ 1233489 w 3121819"/>
              <a:gd name="connsiteY21" fmla="*/ 781050 h 1088215"/>
              <a:gd name="connsiteX22" fmla="*/ 1314450 w 3121819"/>
              <a:gd name="connsiteY22" fmla="*/ 795337 h 1088215"/>
              <a:gd name="connsiteX23" fmla="*/ 1333500 w 3121819"/>
              <a:gd name="connsiteY23" fmla="*/ 845344 h 1088215"/>
              <a:gd name="connsiteX24" fmla="*/ 1428749 w 3121819"/>
              <a:gd name="connsiteY24" fmla="*/ 845344 h 1088215"/>
              <a:gd name="connsiteX25" fmla="*/ 1459706 w 3121819"/>
              <a:gd name="connsiteY25" fmla="*/ 888207 h 1088215"/>
              <a:gd name="connsiteX26" fmla="*/ 1507331 w 3121819"/>
              <a:gd name="connsiteY26" fmla="*/ 888206 h 1088215"/>
              <a:gd name="connsiteX27" fmla="*/ 1513184 w 3121819"/>
              <a:gd name="connsiteY27" fmla="*/ 907240 h 1088215"/>
              <a:gd name="connsiteX28" fmla="*/ 1553666 w 3121819"/>
              <a:gd name="connsiteY28" fmla="*/ 907239 h 1088215"/>
              <a:gd name="connsiteX29" fmla="*/ 1558428 w 3121819"/>
              <a:gd name="connsiteY29" fmla="*/ 954864 h 1088215"/>
              <a:gd name="connsiteX30" fmla="*/ 1672728 w 3121819"/>
              <a:gd name="connsiteY30" fmla="*/ 952483 h 1088215"/>
              <a:gd name="connsiteX31" fmla="*/ 1667965 w 3121819"/>
              <a:gd name="connsiteY31" fmla="*/ 1023920 h 1088215"/>
              <a:gd name="connsiteX32" fmla="*/ 2133601 w 3121819"/>
              <a:gd name="connsiteY32" fmla="*/ 966787 h 1088215"/>
              <a:gd name="connsiteX33" fmla="*/ 1960859 w 3121819"/>
              <a:gd name="connsiteY33" fmla="*/ 1088215 h 1088215"/>
              <a:gd name="connsiteX34" fmla="*/ 2369343 w 3121819"/>
              <a:gd name="connsiteY34" fmla="*/ 1059657 h 1088215"/>
              <a:gd name="connsiteX35" fmla="*/ 3121819 w 3121819"/>
              <a:gd name="connsiteY35" fmla="*/ 1059655 h 1088215"/>
              <a:gd name="connsiteX0" fmla="*/ 0 w 3121819"/>
              <a:gd name="connsiteY0" fmla="*/ 0 h 1059657"/>
              <a:gd name="connsiteX1" fmla="*/ 90487 w 3121819"/>
              <a:gd name="connsiteY1" fmla="*/ 0 h 1059657"/>
              <a:gd name="connsiteX2" fmla="*/ 90487 w 3121819"/>
              <a:gd name="connsiteY2" fmla="*/ 40481 h 1059657"/>
              <a:gd name="connsiteX3" fmla="*/ 150018 w 3121819"/>
              <a:gd name="connsiteY3" fmla="*/ 54769 h 1059657"/>
              <a:gd name="connsiteX4" fmla="*/ 211932 w 3121819"/>
              <a:gd name="connsiteY4" fmla="*/ 161925 h 1059657"/>
              <a:gd name="connsiteX5" fmla="*/ 292894 w 3121819"/>
              <a:gd name="connsiteY5" fmla="*/ 266700 h 1059657"/>
              <a:gd name="connsiteX6" fmla="*/ 373856 w 3121819"/>
              <a:gd name="connsiteY6" fmla="*/ 419100 h 1059657"/>
              <a:gd name="connsiteX7" fmla="*/ 409574 w 3121819"/>
              <a:gd name="connsiteY7" fmla="*/ 438150 h 1059657"/>
              <a:gd name="connsiteX8" fmla="*/ 447675 w 3121819"/>
              <a:gd name="connsiteY8" fmla="*/ 435769 h 1059657"/>
              <a:gd name="connsiteX9" fmla="*/ 457200 w 3121819"/>
              <a:gd name="connsiteY9" fmla="*/ 478632 h 1059657"/>
              <a:gd name="connsiteX10" fmla="*/ 488157 w 3121819"/>
              <a:gd name="connsiteY10" fmla="*/ 500062 h 1059657"/>
              <a:gd name="connsiteX11" fmla="*/ 521494 w 3121819"/>
              <a:gd name="connsiteY11" fmla="*/ 492919 h 1059657"/>
              <a:gd name="connsiteX12" fmla="*/ 600074 w 3121819"/>
              <a:gd name="connsiteY12" fmla="*/ 607219 h 1059657"/>
              <a:gd name="connsiteX13" fmla="*/ 659605 w 3121819"/>
              <a:gd name="connsiteY13" fmla="*/ 604838 h 1059657"/>
              <a:gd name="connsiteX14" fmla="*/ 683419 w 3121819"/>
              <a:gd name="connsiteY14" fmla="*/ 621506 h 1059657"/>
              <a:gd name="connsiteX15" fmla="*/ 731044 w 3121819"/>
              <a:gd name="connsiteY15" fmla="*/ 631032 h 1059657"/>
              <a:gd name="connsiteX16" fmla="*/ 770234 w 3121819"/>
              <a:gd name="connsiteY16" fmla="*/ 633397 h 1059657"/>
              <a:gd name="connsiteX17" fmla="*/ 834528 w 3121819"/>
              <a:gd name="connsiteY17" fmla="*/ 695309 h 1059657"/>
              <a:gd name="connsiteX18" fmla="*/ 895350 w 3121819"/>
              <a:gd name="connsiteY18" fmla="*/ 735807 h 1059657"/>
              <a:gd name="connsiteX19" fmla="*/ 1114425 w 3121819"/>
              <a:gd name="connsiteY19" fmla="*/ 733425 h 1059657"/>
              <a:gd name="connsiteX20" fmla="*/ 1121569 w 3121819"/>
              <a:gd name="connsiteY20" fmla="*/ 776288 h 1059657"/>
              <a:gd name="connsiteX21" fmla="*/ 1233489 w 3121819"/>
              <a:gd name="connsiteY21" fmla="*/ 781050 h 1059657"/>
              <a:gd name="connsiteX22" fmla="*/ 1314450 w 3121819"/>
              <a:gd name="connsiteY22" fmla="*/ 795337 h 1059657"/>
              <a:gd name="connsiteX23" fmla="*/ 1333500 w 3121819"/>
              <a:gd name="connsiteY23" fmla="*/ 845344 h 1059657"/>
              <a:gd name="connsiteX24" fmla="*/ 1428749 w 3121819"/>
              <a:gd name="connsiteY24" fmla="*/ 845344 h 1059657"/>
              <a:gd name="connsiteX25" fmla="*/ 1459706 w 3121819"/>
              <a:gd name="connsiteY25" fmla="*/ 888207 h 1059657"/>
              <a:gd name="connsiteX26" fmla="*/ 1507331 w 3121819"/>
              <a:gd name="connsiteY26" fmla="*/ 888206 h 1059657"/>
              <a:gd name="connsiteX27" fmla="*/ 1513184 w 3121819"/>
              <a:gd name="connsiteY27" fmla="*/ 907240 h 1059657"/>
              <a:gd name="connsiteX28" fmla="*/ 1553666 w 3121819"/>
              <a:gd name="connsiteY28" fmla="*/ 907239 h 1059657"/>
              <a:gd name="connsiteX29" fmla="*/ 1558428 w 3121819"/>
              <a:gd name="connsiteY29" fmla="*/ 954864 h 1059657"/>
              <a:gd name="connsiteX30" fmla="*/ 1672728 w 3121819"/>
              <a:gd name="connsiteY30" fmla="*/ 952483 h 1059657"/>
              <a:gd name="connsiteX31" fmla="*/ 1667965 w 3121819"/>
              <a:gd name="connsiteY31" fmla="*/ 1023920 h 1059657"/>
              <a:gd name="connsiteX32" fmla="*/ 2133601 w 3121819"/>
              <a:gd name="connsiteY32" fmla="*/ 966787 h 1059657"/>
              <a:gd name="connsiteX33" fmla="*/ 2353766 w 3121819"/>
              <a:gd name="connsiteY33" fmla="*/ 962008 h 1059657"/>
              <a:gd name="connsiteX34" fmla="*/ 2369343 w 3121819"/>
              <a:gd name="connsiteY34" fmla="*/ 1059657 h 1059657"/>
              <a:gd name="connsiteX35" fmla="*/ 3121819 w 3121819"/>
              <a:gd name="connsiteY35" fmla="*/ 1059655 h 1059657"/>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3500 w 3121819"/>
              <a:gd name="connsiteY23" fmla="*/ 845344 h 1062038"/>
              <a:gd name="connsiteX24" fmla="*/ 1428749 w 3121819"/>
              <a:gd name="connsiteY24" fmla="*/ 845344 h 1062038"/>
              <a:gd name="connsiteX25" fmla="*/ 1459706 w 3121819"/>
              <a:gd name="connsiteY25" fmla="*/ 888207 h 1062038"/>
              <a:gd name="connsiteX26" fmla="*/ 1507331 w 3121819"/>
              <a:gd name="connsiteY26" fmla="*/ 888206 h 1062038"/>
              <a:gd name="connsiteX27" fmla="*/ 1513184 w 3121819"/>
              <a:gd name="connsiteY27" fmla="*/ 907240 h 1062038"/>
              <a:gd name="connsiteX28" fmla="*/ 1553666 w 3121819"/>
              <a:gd name="connsiteY28" fmla="*/ 907239 h 1062038"/>
              <a:gd name="connsiteX29" fmla="*/ 1558428 w 3121819"/>
              <a:gd name="connsiteY29" fmla="*/ 954864 h 1062038"/>
              <a:gd name="connsiteX30" fmla="*/ 1672728 w 3121819"/>
              <a:gd name="connsiteY30" fmla="*/ 952483 h 1062038"/>
              <a:gd name="connsiteX31" fmla="*/ 1667965 w 3121819"/>
              <a:gd name="connsiteY31" fmla="*/ 1023920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3500 w 3121819"/>
              <a:gd name="connsiteY23" fmla="*/ 845344 h 1062038"/>
              <a:gd name="connsiteX24" fmla="*/ 1428749 w 3121819"/>
              <a:gd name="connsiteY24" fmla="*/ 845344 h 1062038"/>
              <a:gd name="connsiteX25" fmla="*/ 1459706 w 3121819"/>
              <a:gd name="connsiteY25" fmla="*/ 888207 h 1062038"/>
              <a:gd name="connsiteX26" fmla="*/ 1507331 w 3121819"/>
              <a:gd name="connsiteY26" fmla="*/ 888206 h 1062038"/>
              <a:gd name="connsiteX27" fmla="*/ 1513184 w 3121819"/>
              <a:gd name="connsiteY27" fmla="*/ 907240 h 1062038"/>
              <a:gd name="connsiteX28" fmla="*/ 1553666 w 3121819"/>
              <a:gd name="connsiteY28" fmla="*/ 907239 h 1062038"/>
              <a:gd name="connsiteX29" fmla="*/ 1558428 w 3121819"/>
              <a:gd name="connsiteY29" fmla="*/ 954864 h 1062038"/>
              <a:gd name="connsiteX30" fmla="*/ 1672728 w 3121819"/>
              <a:gd name="connsiteY30" fmla="*/ 952483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3500 w 3121819"/>
              <a:gd name="connsiteY23" fmla="*/ 845344 h 1062038"/>
              <a:gd name="connsiteX24" fmla="*/ 1428749 w 3121819"/>
              <a:gd name="connsiteY24" fmla="*/ 845344 h 1062038"/>
              <a:gd name="connsiteX25" fmla="*/ 1459706 w 3121819"/>
              <a:gd name="connsiteY25" fmla="*/ 888207 h 1062038"/>
              <a:gd name="connsiteX26" fmla="*/ 1507331 w 3121819"/>
              <a:gd name="connsiteY26" fmla="*/ 888206 h 1062038"/>
              <a:gd name="connsiteX27" fmla="*/ 1513184 w 3121819"/>
              <a:gd name="connsiteY27" fmla="*/ 907240 h 1062038"/>
              <a:gd name="connsiteX28" fmla="*/ 1553666 w 3121819"/>
              <a:gd name="connsiteY28" fmla="*/ 907239 h 1062038"/>
              <a:gd name="connsiteX29" fmla="*/ 2068015 w 3121819"/>
              <a:gd name="connsiteY29" fmla="*/ 835801 h 1062038"/>
              <a:gd name="connsiteX30" fmla="*/ 1672728 w 3121819"/>
              <a:gd name="connsiteY30" fmla="*/ 952483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3500 w 3121819"/>
              <a:gd name="connsiteY23" fmla="*/ 845344 h 1062038"/>
              <a:gd name="connsiteX24" fmla="*/ 1428749 w 3121819"/>
              <a:gd name="connsiteY24" fmla="*/ 845344 h 1062038"/>
              <a:gd name="connsiteX25" fmla="*/ 1459706 w 3121819"/>
              <a:gd name="connsiteY25" fmla="*/ 888207 h 1062038"/>
              <a:gd name="connsiteX26" fmla="*/ 1507331 w 3121819"/>
              <a:gd name="connsiteY26" fmla="*/ 888206 h 1062038"/>
              <a:gd name="connsiteX27" fmla="*/ 1513184 w 3121819"/>
              <a:gd name="connsiteY27" fmla="*/ 907240 h 1062038"/>
              <a:gd name="connsiteX28" fmla="*/ 1553666 w 3121819"/>
              <a:gd name="connsiteY28" fmla="*/ 907239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3500 w 3121819"/>
              <a:gd name="connsiteY23" fmla="*/ 845344 h 1062038"/>
              <a:gd name="connsiteX24" fmla="*/ 1428749 w 3121819"/>
              <a:gd name="connsiteY24" fmla="*/ 845344 h 1062038"/>
              <a:gd name="connsiteX25" fmla="*/ 1459706 w 3121819"/>
              <a:gd name="connsiteY25" fmla="*/ 888207 h 1062038"/>
              <a:gd name="connsiteX26" fmla="*/ 1507331 w 3121819"/>
              <a:gd name="connsiteY26" fmla="*/ 888206 h 1062038"/>
              <a:gd name="connsiteX27" fmla="*/ 1513184 w 3121819"/>
              <a:gd name="connsiteY27" fmla="*/ 907240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3500 w 3121819"/>
              <a:gd name="connsiteY23" fmla="*/ 845344 h 1062038"/>
              <a:gd name="connsiteX24" fmla="*/ 1428749 w 3121819"/>
              <a:gd name="connsiteY24" fmla="*/ 845344 h 1062038"/>
              <a:gd name="connsiteX25" fmla="*/ 1459706 w 3121819"/>
              <a:gd name="connsiteY25" fmla="*/ 888207 h 1062038"/>
              <a:gd name="connsiteX26" fmla="*/ 1507331 w 3121819"/>
              <a:gd name="connsiteY26" fmla="*/ 8882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3500 w 3121819"/>
              <a:gd name="connsiteY23" fmla="*/ 845344 h 1062038"/>
              <a:gd name="connsiteX24" fmla="*/ 1428749 w 3121819"/>
              <a:gd name="connsiteY24" fmla="*/ 845344 h 1062038"/>
              <a:gd name="connsiteX25" fmla="*/ 1459706 w 3121819"/>
              <a:gd name="connsiteY25" fmla="*/ 888207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3500 w 3121819"/>
              <a:gd name="connsiteY23" fmla="*/ 845344 h 1062038"/>
              <a:gd name="connsiteX24" fmla="*/ 1428749 w 3121819"/>
              <a:gd name="connsiteY24" fmla="*/ 845344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3500 w 3121819"/>
              <a:gd name="connsiteY23" fmla="*/ 845344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14450 w 3121819"/>
              <a:gd name="connsiteY22" fmla="*/ 795337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33489 w 3121819"/>
              <a:gd name="connsiteY21" fmla="*/ 781050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121569 w 3121819"/>
              <a:gd name="connsiteY20" fmla="*/ 776288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14425 w 3121819"/>
              <a:gd name="connsiteY19" fmla="*/ 733425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895350 w 3121819"/>
              <a:gd name="connsiteY18" fmla="*/ 7358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834528 w 3121819"/>
              <a:gd name="connsiteY17" fmla="*/ 6953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770234 w 3121819"/>
              <a:gd name="connsiteY16" fmla="*/ 6333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731044 w 3121819"/>
              <a:gd name="connsiteY15" fmla="*/ 631032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683419 w 3121819"/>
              <a:gd name="connsiteY14" fmla="*/ 621506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659605 w 3121819"/>
              <a:gd name="connsiteY13" fmla="*/ 604838 h 1062038"/>
              <a:gd name="connsiteX14" fmla="*/ 921544 w 3121819"/>
              <a:gd name="connsiteY14" fmla="*/ 531019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00074 w 3121819"/>
              <a:gd name="connsiteY12" fmla="*/ 607219 h 1062038"/>
              <a:gd name="connsiteX13" fmla="*/ 778667 w 3121819"/>
              <a:gd name="connsiteY13" fmla="*/ 397669 h 1062038"/>
              <a:gd name="connsiteX14" fmla="*/ 921544 w 3121819"/>
              <a:gd name="connsiteY14" fmla="*/ 531019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521494 w 3121819"/>
              <a:gd name="connsiteY11" fmla="*/ 492919 h 1062038"/>
              <a:gd name="connsiteX12" fmla="*/ 676274 w 3121819"/>
              <a:gd name="connsiteY12" fmla="*/ 400050 h 1062038"/>
              <a:gd name="connsiteX13" fmla="*/ 778667 w 3121819"/>
              <a:gd name="connsiteY13" fmla="*/ 397669 h 1062038"/>
              <a:gd name="connsiteX14" fmla="*/ 921544 w 3121819"/>
              <a:gd name="connsiteY14" fmla="*/ 531019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488157 w 3121819"/>
              <a:gd name="connsiteY10" fmla="*/ 500062 h 1062038"/>
              <a:gd name="connsiteX11" fmla="*/ 621506 w 3121819"/>
              <a:gd name="connsiteY11" fmla="*/ 335757 h 1062038"/>
              <a:gd name="connsiteX12" fmla="*/ 676274 w 3121819"/>
              <a:gd name="connsiteY12" fmla="*/ 400050 h 1062038"/>
              <a:gd name="connsiteX13" fmla="*/ 778667 w 3121819"/>
              <a:gd name="connsiteY13" fmla="*/ 397669 h 1062038"/>
              <a:gd name="connsiteX14" fmla="*/ 921544 w 3121819"/>
              <a:gd name="connsiteY14" fmla="*/ 531019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457200 w 3121819"/>
              <a:gd name="connsiteY9" fmla="*/ 478632 h 1062038"/>
              <a:gd name="connsiteX10" fmla="*/ 569120 w 3121819"/>
              <a:gd name="connsiteY10" fmla="*/ 321468 h 1062038"/>
              <a:gd name="connsiteX11" fmla="*/ 621506 w 3121819"/>
              <a:gd name="connsiteY11" fmla="*/ 335757 h 1062038"/>
              <a:gd name="connsiteX12" fmla="*/ 676274 w 3121819"/>
              <a:gd name="connsiteY12" fmla="*/ 400050 h 1062038"/>
              <a:gd name="connsiteX13" fmla="*/ 778667 w 3121819"/>
              <a:gd name="connsiteY13" fmla="*/ 397669 h 1062038"/>
              <a:gd name="connsiteX14" fmla="*/ 921544 w 3121819"/>
              <a:gd name="connsiteY14" fmla="*/ 531019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435769 h 1062038"/>
              <a:gd name="connsiteX9" fmla="*/ 500062 w 3121819"/>
              <a:gd name="connsiteY9" fmla="*/ 276226 h 1062038"/>
              <a:gd name="connsiteX10" fmla="*/ 569120 w 3121819"/>
              <a:gd name="connsiteY10" fmla="*/ 321468 h 1062038"/>
              <a:gd name="connsiteX11" fmla="*/ 621506 w 3121819"/>
              <a:gd name="connsiteY11" fmla="*/ 335757 h 1062038"/>
              <a:gd name="connsiteX12" fmla="*/ 676274 w 3121819"/>
              <a:gd name="connsiteY12" fmla="*/ 400050 h 1062038"/>
              <a:gd name="connsiteX13" fmla="*/ 778667 w 3121819"/>
              <a:gd name="connsiteY13" fmla="*/ 397669 h 1062038"/>
              <a:gd name="connsiteX14" fmla="*/ 921544 w 3121819"/>
              <a:gd name="connsiteY14" fmla="*/ 531019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409574 w 3121819"/>
              <a:gd name="connsiteY7" fmla="*/ 438150 h 1062038"/>
              <a:gd name="connsiteX8" fmla="*/ 447675 w 3121819"/>
              <a:gd name="connsiteY8" fmla="*/ 228600 h 1062038"/>
              <a:gd name="connsiteX9" fmla="*/ 500062 w 3121819"/>
              <a:gd name="connsiteY9" fmla="*/ 276226 h 1062038"/>
              <a:gd name="connsiteX10" fmla="*/ 569120 w 3121819"/>
              <a:gd name="connsiteY10" fmla="*/ 321468 h 1062038"/>
              <a:gd name="connsiteX11" fmla="*/ 621506 w 3121819"/>
              <a:gd name="connsiteY11" fmla="*/ 335757 h 1062038"/>
              <a:gd name="connsiteX12" fmla="*/ 676274 w 3121819"/>
              <a:gd name="connsiteY12" fmla="*/ 400050 h 1062038"/>
              <a:gd name="connsiteX13" fmla="*/ 778667 w 3121819"/>
              <a:gd name="connsiteY13" fmla="*/ 397669 h 1062038"/>
              <a:gd name="connsiteX14" fmla="*/ 921544 w 3121819"/>
              <a:gd name="connsiteY14" fmla="*/ 531019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3856 w 3121819"/>
              <a:gd name="connsiteY6" fmla="*/ 419100 h 1062038"/>
              <a:gd name="connsiteX7" fmla="*/ 378618 w 3121819"/>
              <a:gd name="connsiteY7" fmla="*/ 145256 h 1062038"/>
              <a:gd name="connsiteX8" fmla="*/ 447675 w 3121819"/>
              <a:gd name="connsiteY8" fmla="*/ 228600 h 1062038"/>
              <a:gd name="connsiteX9" fmla="*/ 500062 w 3121819"/>
              <a:gd name="connsiteY9" fmla="*/ 276226 h 1062038"/>
              <a:gd name="connsiteX10" fmla="*/ 569120 w 3121819"/>
              <a:gd name="connsiteY10" fmla="*/ 321468 h 1062038"/>
              <a:gd name="connsiteX11" fmla="*/ 621506 w 3121819"/>
              <a:gd name="connsiteY11" fmla="*/ 335757 h 1062038"/>
              <a:gd name="connsiteX12" fmla="*/ 676274 w 3121819"/>
              <a:gd name="connsiteY12" fmla="*/ 400050 h 1062038"/>
              <a:gd name="connsiteX13" fmla="*/ 778667 w 3121819"/>
              <a:gd name="connsiteY13" fmla="*/ 397669 h 1062038"/>
              <a:gd name="connsiteX14" fmla="*/ 921544 w 3121819"/>
              <a:gd name="connsiteY14" fmla="*/ 531019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04800 w 3121819"/>
              <a:gd name="connsiteY6" fmla="*/ 107156 h 1062038"/>
              <a:gd name="connsiteX7" fmla="*/ 378618 w 3121819"/>
              <a:gd name="connsiteY7" fmla="*/ 145256 h 1062038"/>
              <a:gd name="connsiteX8" fmla="*/ 447675 w 3121819"/>
              <a:gd name="connsiteY8" fmla="*/ 228600 h 1062038"/>
              <a:gd name="connsiteX9" fmla="*/ 500062 w 3121819"/>
              <a:gd name="connsiteY9" fmla="*/ 276226 h 1062038"/>
              <a:gd name="connsiteX10" fmla="*/ 569120 w 3121819"/>
              <a:gd name="connsiteY10" fmla="*/ 321468 h 1062038"/>
              <a:gd name="connsiteX11" fmla="*/ 621506 w 3121819"/>
              <a:gd name="connsiteY11" fmla="*/ 335757 h 1062038"/>
              <a:gd name="connsiteX12" fmla="*/ 676274 w 3121819"/>
              <a:gd name="connsiteY12" fmla="*/ 400050 h 1062038"/>
              <a:gd name="connsiteX13" fmla="*/ 778667 w 3121819"/>
              <a:gd name="connsiteY13" fmla="*/ 397669 h 1062038"/>
              <a:gd name="connsiteX14" fmla="*/ 921544 w 3121819"/>
              <a:gd name="connsiteY14" fmla="*/ 531019 h 1062038"/>
              <a:gd name="connsiteX15" fmla="*/ 931069 w 3121819"/>
              <a:gd name="connsiteY15" fmla="*/ 557213 h 1062038"/>
              <a:gd name="connsiteX16" fmla="*/ 965497 w 3121819"/>
              <a:gd name="connsiteY16" fmla="*/ 557197 h 1062038"/>
              <a:gd name="connsiteX17" fmla="*/ 1027409 w 3121819"/>
              <a:gd name="connsiteY17" fmla="*/ 619109 h 1062038"/>
              <a:gd name="connsiteX18" fmla="*/ 1109663 w 3121819"/>
              <a:gd name="connsiteY18" fmla="*/ 621507 h 1062038"/>
              <a:gd name="connsiteX19" fmla="*/ 1147762 w 3121819"/>
              <a:gd name="connsiteY19" fmla="*/ 654844 h 1062038"/>
              <a:gd name="connsiteX20" fmla="*/ 1221582 w 3121819"/>
              <a:gd name="connsiteY20" fmla="*/ 654844 h 1062038"/>
              <a:gd name="connsiteX21" fmla="*/ 1257301 w 3121819"/>
              <a:gd name="connsiteY21" fmla="*/ 695325 h 1062038"/>
              <a:gd name="connsiteX22" fmla="*/ 1309687 w 3121819"/>
              <a:gd name="connsiteY22" fmla="*/ 688181 h 1062038"/>
              <a:gd name="connsiteX23" fmla="*/ 1338263 w 3121819"/>
              <a:gd name="connsiteY23" fmla="*/ 704850 h 1062038"/>
              <a:gd name="connsiteX24" fmla="*/ 1469230 w 3121819"/>
              <a:gd name="connsiteY24" fmla="*/ 702469 h 1062038"/>
              <a:gd name="connsiteX25" fmla="*/ 1473993 w 3121819"/>
              <a:gd name="connsiteY25" fmla="*/ 738188 h 1062038"/>
              <a:gd name="connsiteX26" fmla="*/ 1657350 w 3121819"/>
              <a:gd name="connsiteY26" fmla="*/ 735806 h 1062038"/>
              <a:gd name="connsiteX27" fmla="*/ 1675109 w 3121819"/>
              <a:gd name="connsiteY27" fmla="*/ 790559 h 1062038"/>
              <a:gd name="connsiteX28" fmla="*/ 1701303 w 3121819"/>
              <a:gd name="connsiteY28" fmla="*/ 845326 h 1062038"/>
              <a:gd name="connsiteX29" fmla="*/ 2068015 w 3121819"/>
              <a:gd name="connsiteY29" fmla="*/ 835801 h 1062038"/>
              <a:gd name="connsiteX30" fmla="*/ 2060872 w 3121819"/>
              <a:gd name="connsiteY30" fmla="*/ 892952 h 1062038"/>
              <a:gd name="connsiteX31" fmla="*/ 2139453 w 3121819"/>
              <a:gd name="connsiteY31" fmla="*/ 895332 h 1062038"/>
              <a:gd name="connsiteX32" fmla="*/ 2133601 w 3121819"/>
              <a:gd name="connsiteY32" fmla="*/ 966787 h 1062038"/>
              <a:gd name="connsiteX33" fmla="*/ 2353766 w 3121819"/>
              <a:gd name="connsiteY33" fmla="*/ 962008 h 1062038"/>
              <a:gd name="connsiteX34" fmla="*/ 2357437 w 3121819"/>
              <a:gd name="connsiteY34" fmla="*/ 1062038 h 1062038"/>
              <a:gd name="connsiteX35" fmla="*/ 3121819 w 3121819"/>
              <a:gd name="connsiteY35"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92894 w 3121819"/>
              <a:gd name="connsiteY5" fmla="*/ 266700 h 1062038"/>
              <a:gd name="connsiteX6" fmla="*/ 378618 w 3121819"/>
              <a:gd name="connsiteY6" fmla="*/ 145256 h 1062038"/>
              <a:gd name="connsiteX7" fmla="*/ 447675 w 3121819"/>
              <a:gd name="connsiteY7" fmla="*/ 228600 h 1062038"/>
              <a:gd name="connsiteX8" fmla="*/ 500062 w 3121819"/>
              <a:gd name="connsiteY8" fmla="*/ 276226 h 1062038"/>
              <a:gd name="connsiteX9" fmla="*/ 569120 w 3121819"/>
              <a:gd name="connsiteY9" fmla="*/ 321468 h 1062038"/>
              <a:gd name="connsiteX10" fmla="*/ 621506 w 3121819"/>
              <a:gd name="connsiteY10" fmla="*/ 335757 h 1062038"/>
              <a:gd name="connsiteX11" fmla="*/ 676274 w 3121819"/>
              <a:gd name="connsiteY11" fmla="*/ 400050 h 1062038"/>
              <a:gd name="connsiteX12" fmla="*/ 778667 w 3121819"/>
              <a:gd name="connsiteY12" fmla="*/ 397669 h 1062038"/>
              <a:gd name="connsiteX13" fmla="*/ 921544 w 3121819"/>
              <a:gd name="connsiteY13" fmla="*/ 531019 h 1062038"/>
              <a:gd name="connsiteX14" fmla="*/ 931069 w 3121819"/>
              <a:gd name="connsiteY14" fmla="*/ 557213 h 1062038"/>
              <a:gd name="connsiteX15" fmla="*/ 965497 w 3121819"/>
              <a:gd name="connsiteY15" fmla="*/ 557197 h 1062038"/>
              <a:gd name="connsiteX16" fmla="*/ 1027409 w 3121819"/>
              <a:gd name="connsiteY16" fmla="*/ 619109 h 1062038"/>
              <a:gd name="connsiteX17" fmla="*/ 1109663 w 3121819"/>
              <a:gd name="connsiteY17" fmla="*/ 621507 h 1062038"/>
              <a:gd name="connsiteX18" fmla="*/ 1147762 w 3121819"/>
              <a:gd name="connsiteY18" fmla="*/ 654844 h 1062038"/>
              <a:gd name="connsiteX19" fmla="*/ 1221582 w 3121819"/>
              <a:gd name="connsiteY19" fmla="*/ 654844 h 1062038"/>
              <a:gd name="connsiteX20" fmla="*/ 1257301 w 3121819"/>
              <a:gd name="connsiteY20" fmla="*/ 695325 h 1062038"/>
              <a:gd name="connsiteX21" fmla="*/ 1309687 w 3121819"/>
              <a:gd name="connsiteY21" fmla="*/ 688181 h 1062038"/>
              <a:gd name="connsiteX22" fmla="*/ 1338263 w 3121819"/>
              <a:gd name="connsiteY22" fmla="*/ 704850 h 1062038"/>
              <a:gd name="connsiteX23" fmla="*/ 1469230 w 3121819"/>
              <a:gd name="connsiteY23" fmla="*/ 702469 h 1062038"/>
              <a:gd name="connsiteX24" fmla="*/ 1473993 w 3121819"/>
              <a:gd name="connsiteY24" fmla="*/ 738188 h 1062038"/>
              <a:gd name="connsiteX25" fmla="*/ 1657350 w 3121819"/>
              <a:gd name="connsiteY25" fmla="*/ 735806 h 1062038"/>
              <a:gd name="connsiteX26" fmla="*/ 1675109 w 3121819"/>
              <a:gd name="connsiteY26" fmla="*/ 790559 h 1062038"/>
              <a:gd name="connsiteX27" fmla="*/ 1701303 w 3121819"/>
              <a:gd name="connsiteY27" fmla="*/ 845326 h 1062038"/>
              <a:gd name="connsiteX28" fmla="*/ 2068015 w 3121819"/>
              <a:gd name="connsiteY28" fmla="*/ 835801 h 1062038"/>
              <a:gd name="connsiteX29" fmla="*/ 2060872 w 3121819"/>
              <a:gd name="connsiteY29" fmla="*/ 892952 h 1062038"/>
              <a:gd name="connsiteX30" fmla="*/ 2139453 w 3121819"/>
              <a:gd name="connsiteY30" fmla="*/ 895332 h 1062038"/>
              <a:gd name="connsiteX31" fmla="*/ 2133601 w 3121819"/>
              <a:gd name="connsiteY31" fmla="*/ 966787 h 1062038"/>
              <a:gd name="connsiteX32" fmla="*/ 2353766 w 3121819"/>
              <a:gd name="connsiteY32" fmla="*/ 962008 h 1062038"/>
              <a:gd name="connsiteX33" fmla="*/ 2357437 w 3121819"/>
              <a:gd name="connsiteY33" fmla="*/ 1062038 h 1062038"/>
              <a:gd name="connsiteX34" fmla="*/ 3121819 w 3121819"/>
              <a:gd name="connsiteY34"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11932 w 3121819"/>
              <a:gd name="connsiteY4" fmla="*/ 161925 h 1062038"/>
              <a:gd name="connsiteX5" fmla="*/ 273844 w 3121819"/>
              <a:gd name="connsiteY5" fmla="*/ 64294 h 1062038"/>
              <a:gd name="connsiteX6" fmla="*/ 378618 w 3121819"/>
              <a:gd name="connsiteY6" fmla="*/ 145256 h 1062038"/>
              <a:gd name="connsiteX7" fmla="*/ 447675 w 3121819"/>
              <a:gd name="connsiteY7" fmla="*/ 228600 h 1062038"/>
              <a:gd name="connsiteX8" fmla="*/ 500062 w 3121819"/>
              <a:gd name="connsiteY8" fmla="*/ 276226 h 1062038"/>
              <a:gd name="connsiteX9" fmla="*/ 569120 w 3121819"/>
              <a:gd name="connsiteY9" fmla="*/ 321468 h 1062038"/>
              <a:gd name="connsiteX10" fmla="*/ 621506 w 3121819"/>
              <a:gd name="connsiteY10" fmla="*/ 335757 h 1062038"/>
              <a:gd name="connsiteX11" fmla="*/ 676274 w 3121819"/>
              <a:gd name="connsiteY11" fmla="*/ 400050 h 1062038"/>
              <a:gd name="connsiteX12" fmla="*/ 778667 w 3121819"/>
              <a:gd name="connsiteY12" fmla="*/ 397669 h 1062038"/>
              <a:gd name="connsiteX13" fmla="*/ 921544 w 3121819"/>
              <a:gd name="connsiteY13" fmla="*/ 531019 h 1062038"/>
              <a:gd name="connsiteX14" fmla="*/ 931069 w 3121819"/>
              <a:gd name="connsiteY14" fmla="*/ 557213 h 1062038"/>
              <a:gd name="connsiteX15" fmla="*/ 965497 w 3121819"/>
              <a:gd name="connsiteY15" fmla="*/ 557197 h 1062038"/>
              <a:gd name="connsiteX16" fmla="*/ 1027409 w 3121819"/>
              <a:gd name="connsiteY16" fmla="*/ 619109 h 1062038"/>
              <a:gd name="connsiteX17" fmla="*/ 1109663 w 3121819"/>
              <a:gd name="connsiteY17" fmla="*/ 621507 h 1062038"/>
              <a:gd name="connsiteX18" fmla="*/ 1147762 w 3121819"/>
              <a:gd name="connsiteY18" fmla="*/ 654844 h 1062038"/>
              <a:gd name="connsiteX19" fmla="*/ 1221582 w 3121819"/>
              <a:gd name="connsiteY19" fmla="*/ 654844 h 1062038"/>
              <a:gd name="connsiteX20" fmla="*/ 1257301 w 3121819"/>
              <a:gd name="connsiteY20" fmla="*/ 695325 h 1062038"/>
              <a:gd name="connsiteX21" fmla="*/ 1309687 w 3121819"/>
              <a:gd name="connsiteY21" fmla="*/ 688181 h 1062038"/>
              <a:gd name="connsiteX22" fmla="*/ 1338263 w 3121819"/>
              <a:gd name="connsiteY22" fmla="*/ 704850 h 1062038"/>
              <a:gd name="connsiteX23" fmla="*/ 1469230 w 3121819"/>
              <a:gd name="connsiteY23" fmla="*/ 702469 h 1062038"/>
              <a:gd name="connsiteX24" fmla="*/ 1473993 w 3121819"/>
              <a:gd name="connsiteY24" fmla="*/ 738188 h 1062038"/>
              <a:gd name="connsiteX25" fmla="*/ 1657350 w 3121819"/>
              <a:gd name="connsiteY25" fmla="*/ 735806 h 1062038"/>
              <a:gd name="connsiteX26" fmla="*/ 1675109 w 3121819"/>
              <a:gd name="connsiteY26" fmla="*/ 790559 h 1062038"/>
              <a:gd name="connsiteX27" fmla="*/ 1701303 w 3121819"/>
              <a:gd name="connsiteY27" fmla="*/ 845326 h 1062038"/>
              <a:gd name="connsiteX28" fmla="*/ 2068015 w 3121819"/>
              <a:gd name="connsiteY28" fmla="*/ 835801 h 1062038"/>
              <a:gd name="connsiteX29" fmla="*/ 2060872 w 3121819"/>
              <a:gd name="connsiteY29" fmla="*/ 892952 h 1062038"/>
              <a:gd name="connsiteX30" fmla="*/ 2139453 w 3121819"/>
              <a:gd name="connsiteY30" fmla="*/ 895332 h 1062038"/>
              <a:gd name="connsiteX31" fmla="*/ 2133601 w 3121819"/>
              <a:gd name="connsiteY31" fmla="*/ 966787 h 1062038"/>
              <a:gd name="connsiteX32" fmla="*/ 2353766 w 3121819"/>
              <a:gd name="connsiteY32" fmla="*/ 962008 h 1062038"/>
              <a:gd name="connsiteX33" fmla="*/ 2357437 w 3121819"/>
              <a:gd name="connsiteY33" fmla="*/ 1062038 h 1062038"/>
              <a:gd name="connsiteX34" fmla="*/ 3121819 w 3121819"/>
              <a:gd name="connsiteY34" fmla="*/ 1059655 h 1062038"/>
              <a:gd name="connsiteX0" fmla="*/ 0 w 3121819"/>
              <a:gd name="connsiteY0" fmla="*/ 0 h 1062038"/>
              <a:gd name="connsiteX1" fmla="*/ 90487 w 3121819"/>
              <a:gd name="connsiteY1" fmla="*/ 0 h 1062038"/>
              <a:gd name="connsiteX2" fmla="*/ 90487 w 3121819"/>
              <a:gd name="connsiteY2" fmla="*/ 40481 h 1062038"/>
              <a:gd name="connsiteX3" fmla="*/ 150018 w 3121819"/>
              <a:gd name="connsiteY3" fmla="*/ 54769 h 1062038"/>
              <a:gd name="connsiteX4" fmla="*/ 207169 w 3121819"/>
              <a:gd name="connsiteY4" fmla="*/ 35719 h 1062038"/>
              <a:gd name="connsiteX5" fmla="*/ 273844 w 3121819"/>
              <a:gd name="connsiteY5" fmla="*/ 64294 h 1062038"/>
              <a:gd name="connsiteX6" fmla="*/ 378618 w 3121819"/>
              <a:gd name="connsiteY6" fmla="*/ 145256 h 1062038"/>
              <a:gd name="connsiteX7" fmla="*/ 447675 w 3121819"/>
              <a:gd name="connsiteY7" fmla="*/ 228600 h 1062038"/>
              <a:gd name="connsiteX8" fmla="*/ 500062 w 3121819"/>
              <a:gd name="connsiteY8" fmla="*/ 276226 h 1062038"/>
              <a:gd name="connsiteX9" fmla="*/ 569120 w 3121819"/>
              <a:gd name="connsiteY9" fmla="*/ 321468 h 1062038"/>
              <a:gd name="connsiteX10" fmla="*/ 621506 w 3121819"/>
              <a:gd name="connsiteY10" fmla="*/ 335757 h 1062038"/>
              <a:gd name="connsiteX11" fmla="*/ 676274 w 3121819"/>
              <a:gd name="connsiteY11" fmla="*/ 400050 h 1062038"/>
              <a:gd name="connsiteX12" fmla="*/ 778667 w 3121819"/>
              <a:gd name="connsiteY12" fmla="*/ 397669 h 1062038"/>
              <a:gd name="connsiteX13" fmla="*/ 921544 w 3121819"/>
              <a:gd name="connsiteY13" fmla="*/ 531019 h 1062038"/>
              <a:gd name="connsiteX14" fmla="*/ 931069 w 3121819"/>
              <a:gd name="connsiteY14" fmla="*/ 557213 h 1062038"/>
              <a:gd name="connsiteX15" fmla="*/ 965497 w 3121819"/>
              <a:gd name="connsiteY15" fmla="*/ 557197 h 1062038"/>
              <a:gd name="connsiteX16" fmla="*/ 1027409 w 3121819"/>
              <a:gd name="connsiteY16" fmla="*/ 619109 h 1062038"/>
              <a:gd name="connsiteX17" fmla="*/ 1109663 w 3121819"/>
              <a:gd name="connsiteY17" fmla="*/ 621507 h 1062038"/>
              <a:gd name="connsiteX18" fmla="*/ 1147762 w 3121819"/>
              <a:gd name="connsiteY18" fmla="*/ 654844 h 1062038"/>
              <a:gd name="connsiteX19" fmla="*/ 1221582 w 3121819"/>
              <a:gd name="connsiteY19" fmla="*/ 654844 h 1062038"/>
              <a:gd name="connsiteX20" fmla="*/ 1257301 w 3121819"/>
              <a:gd name="connsiteY20" fmla="*/ 695325 h 1062038"/>
              <a:gd name="connsiteX21" fmla="*/ 1309687 w 3121819"/>
              <a:gd name="connsiteY21" fmla="*/ 688181 h 1062038"/>
              <a:gd name="connsiteX22" fmla="*/ 1338263 w 3121819"/>
              <a:gd name="connsiteY22" fmla="*/ 704850 h 1062038"/>
              <a:gd name="connsiteX23" fmla="*/ 1469230 w 3121819"/>
              <a:gd name="connsiteY23" fmla="*/ 702469 h 1062038"/>
              <a:gd name="connsiteX24" fmla="*/ 1473993 w 3121819"/>
              <a:gd name="connsiteY24" fmla="*/ 738188 h 1062038"/>
              <a:gd name="connsiteX25" fmla="*/ 1657350 w 3121819"/>
              <a:gd name="connsiteY25" fmla="*/ 735806 h 1062038"/>
              <a:gd name="connsiteX26" fmla="*/ 1675109 w 3121819"/>
              <a:gd name="connsiteY26" fmla="*/ 790559 h 1062038"/>
              <a:gd name="connsiteX27" fmla="*/ 1701303 w 3121819"/>
              <a:gd name="connsiteY27" fmla="*/ 845326 h 1062038"/>
              <a:gd name="connsiteX28" fmla="*/ 2068015 w 3121819"/>
              <a:gd name="connsiteY28" fmla="*/ 835801 h 1062038"/>
              <a:gd name="connsiteX29" fmla="*/ 2060872 w 3121819"/>
              <a:gd name="connsiteY29" fmla="*/ 892952 h 1062038"/>
              <a:gd name="connsiteX30" fmla="*/ 2139453 w 3121819"/>
              <a:gd name="connsiteY30" fmla="*/ 895332 h 1062038"/>
              <a:gd name="connsiteX31" fmla="*/ 2133601 w 3121819"/>
              <a:gd name="connsiteY31" fmla="*/ 966787 h 1062038"/>
              <a:gd name="connsiteX32" fmla="*/ 2353766 w 3121819"/>
              <a:gd name="connsiteY32" fmla="*/ 962008 h 1062038"/>
              <a:gd name="connsiteX33" fmla="*/ 2357437 w 3121819"/>
              <a:gd name="connsiteY33" fmla="*/ 1062038 h 1062038"/>
              <a:gd name="connsiteX34" fmla="*/ 3121819 w 3121819"/>
              <a:gd name="connsiteY34" fmla="*/ 1059655 h 1062038"/>
              <a:gd name="connsiteX0" fmla="*/ 0 w 3121819"/>
              <a:gd name="connsiteY0" fmla="*/ 0 h 1062038"/>
              <a:gd name="connsiteX1" fmla="*/ 90487 w 3121819"/>
              <a:gd name="connsiteY1" fmla="*/ 0 h 1062038"/>
              <a:gd name="connsiteX2" fmla="*/ 90487 w 3121819"/>
              <a:gd name="connsiteY2" fmla="*/ 40481 h 1062038"/>
              <a:gd name="connsiteX3" fmla="*/ 207169 w 3121819"/>
              <a:gd name="connsiteY3" fmla="*/ 35719 h 1062038"/>
              <a:gd name="connsiteX4" fmla="*/ 273844 w 3121819"/>
              <a:gd name="connsiteY4" fmla="*/ 64294 h 1062038"/>
              <a:gd name="connsiteX5" fmla="*/ 378618 w 3121819"/>
              <a:gd name="connsiteY5" fmla="*/ 145256 h 1062038"/>
              <a:gd name="connsiteX6" fmla="*/ 447675 w 3121819"/>
              <a:gd name="connsiteY6" fmla="*/ 228600 h 1062038"/>
              <a:gd name="connsiteX7" fmla="*/ 500062 w 3121819"/>
              <a:gd name="connsiteY7" fmla="*/ 276226 h 1062038"/>
              <a:gd name="connsiteX8" fmla="*/ 569120 w 3121819"/>
              <a:gd name="connsiteY8" fmla="*/ 321468 h 1062038"/>
              <a:gd name="connsiteX9" fmla="*/ 621506 w 3121819"/>
              <a:gd name="connsiteY9" fmla="*/ 335757 h 1062038"/>
              <a:gd name="connsiteX10" fmla="*/ 676274 w 3121819"/>
              <a:gd name="connsiteY10" fmla="*/ 400050 h 1062038"/>
              <a:gd name="connsiteX11" fmla="*/ 778667 w 3121819"/>
              <a:gd name="connsiteY11" fmla="*/ 397669 h 1062038"/>
              <a:gd name="connsiteX12" fmla="*/ 921544 w 3121819"/>
              <a:gd name="connsiteY12" fmla="*/ 531019 h 1062038"/>
              <a:gd name="connsiteX13" fmla="*/ 931069 w 3121819"/>
              <a:gd name="connsiteY13" fmla="*/ 557213 h 1062038"/>
              <a:gd name="connsiteX14" fmla="*/ 965497 w 3121819"/>
              <a:gd name="connsiteY14" fmla="*/ 557197 h 1062038"/>
              <a:gd name="connsiteX15" fmla="*/ 1027409 w 3121819"/>
              <a:gd name="connsiteY15" fmla="*/ 619109 h 1062038"/>
              <a:gd name="connsiteX16" fmla="*/ 1109663 w 3121819"/>
              <a:gd name="connsiteY16" fmla="*/ 621507 h 1062038"/>
              <a:gd name="connsiteX17" fmla="*/ 1147762 w 3121819"/>
              <a:gd name="connsiteY17" fmla="*/ 654844 h 1062038"/>
              <a:gd name="connsiteX18" fmla="*/ 1221582 w 3121819"/>
              <a:gd name="connsiteY18" fmla="*/ 654844 h 1062038"/>
              <a:gd name="connsiteX19" fmla="*/ 1257301 w 3121819"/>
              <a:gd name="connsiteY19" fmla="*/ 695325 h 1062038"/>
              <a:gd name="connsiteX20" fmla="*/ 1309687 w 3121819"/>
              <a:gd name="connsiteY20" fmla="*/ 688181 h 1062038"/>
              <a:gd name="connsiteX21" fmla="*/ 1338263 w 3121819"/>
              <a:gd name="connsiteY21" fmla="*/ 704850 h 1062038"/>
              <a:gd name="connsiteX22" fmla="*/ 1469230 w 3121819"/>
              <a:gd name="connsiteY22" fmla="*/ 702469 h 1062038"/>
              <a:gd name="connsiteX23" fmla="*/ 1473993 w 3121819"/>
              <a:gd name="connsiteY23" fmla="*/ 738188 h 1062038"/>
              <a:gd name="connsiteX24" fmla="*/ 1657350 w 3121819"/>
              <a:gd name="connsiteY24" fmla="*/ 735806 h 1062038"/>
              <a:gd name="connsiteX25" fmla="*/ 1675109 w 3121819"/>
              <a:gd name="connsiteY25" fmla="*/ 790559 h 1062038"/>
              <a:gd name="connsiteX26" fmla="*/ 1701303 w 3121819"/>
              <a:gd name="connsiteY26" fmla="*/ 845326 h 1062038"/>
              <a:gd name="connsiteX27" fmla="*/ 2068015 w 3121819"/>
              <a:gd name="connsiteY27" fmla="*/ 835801 h 1062038"/>
              <a:gd name="connsiteX28" fmla="*/ 2060872 w 3121819"/>
              <a:gd name="connsiteY28" fmla="*/ 892952 h 1062038"/>
              <a:gd name="connsiteX29" fmla="*/ 2139453 w 3121819"/>
              <a:gd name="connsiteY29" fmla="*/ 895332 h 1062038"/>
              <a:gd name="connsiteX30" fmla="*/ 2133601 w 3121819"/>
              <a:gd name="connsiteY30" fmla="*/ 966787 h 1062038"/>
              <a:gd name="connsiteX31" fmla="*/ 2353766 w 3121819"/>
              <a:gd name="connsiteY31" fmla="*/ 962008 h 1062038"/>
              <a:gd name="connsiteX32" fmla="*/ 2357437 w 3121819"/>
              <a:gd name="connsiteY32" fmla="*/ 1062038 h 1062038"/>
              <a:gd name="connsiteX33" fmla="*/ 3121819 w 3121819"/>
              <a:gd name="connsiteY33" fmla="*/ 1059655 h 1062038"/>
              <a:gd name="connsiteX0" fmla="*/ 0 w 3121819"/>
              <a:gd name="connsiteY0" fmla="*/ 0 h 1062038"/>
              <a:gd name="connsiteX1" fmla="*/ 90487 w 3121819"/>
              <a:gd name="connsiteY1" fmla="*/ 0 h 1062038"/>
              <a:gd name="connsiteX2" fmla="*/ 207169 w 3121819"/>
              <a:gd name="connsiteY2" fmla="*/ 35719 h 1062038"/>
              <a:gd name="connsiteX3" fmla="*/ 273844 w 3121819"/>
              <a:gd name="connsiteY3" fmla="*/ 64294 h 1062038"/>
              <a:gd name="connsiteX4" fmla="*/ 378618 w 3121819"/>
              <a:gd name="connsiteY4" fmla="*/ 145256 h 1062038"/>
              <a:gd name="connsiteX5" fmla="*/ 447675 w 3121819"/>
              <a:gd name="connsiteY5" fmla="*/ 228600 h 1062038"/>
              <a:gd name="connsiteX6" fmla="*/ 500062 w 3121819"/>
              <a:gd name="connsiteY6" fmla="*/ 276226 h 1062038"/>
              <a:gd name="connsiteX7" fmla="*/ 569120 w 3121819"/>
              <a:gd name="connsiteY7" fmla="*/ 321468 h 1062038"/>
              <a:gd name="connsiteX8" fmla="*/ 621506 w 3121819"/>
              <a:gd name="connsiteY8" fmla="*/ 335757 h 1062038"/>
              <a:gd name="connsiteX9" fmla="*/ 676274 w 3121819"/>
              <a:gd name="connsiteY9" fmla="*/ 400050 h 1062038"/>
              <a:gd name="connsiteX10" fmla="*/ 778667 w 3121819"/>
              <a:gd name="connsiteY10" fmla="*/ 397669 h 1062038"/>
              <a:gd name="connsiteX11" fmla="*/ 921544 w 3121819"/>
              <a:gd name="connsiteY11" fmla="*/ 531019 h 1062038"/>
              <a:gd name="connsiteX12" fmla="*/ 931069 w 3121819"/>
              <a:gd name="connsiteY12" fmla="*/ 557213 h 1062038"/>
              <a:gd name="connsiteX13" fmla="*/ 965497 w 3121819"/>
              <a:gd name="connsiteY13" fmla="*/ 557197 h 1062038"/>
              <a:gd name="connsiteX14" fmla="*/ 1027409 w 3121819"/>
              <a:gd name="connsiteY14" fmla="*/ 619109 h 1062038"/>
              <a:gd name="connsiteX15" fmla="*/ 1109663 w 3121819"/>
              <a:gd name="connsiteY15" fmla="*/ 621507 h 1062038"/>
              <a:gd name="connsiteX16" fmla="*/ 1147762 w 3121819"/>
              <a:gd name="connsiteY16" fmla="*/ 654844 h 1062038"/>
              <a:gd name="connsiteX17" fmla="*/ 1221582 w 3121819"/>
              <a:gd name="connsiteY17" fmla="*/ 654844 h 1062038"/>
              <a:gd name="connsiteX18" fmla="*/ 1257301 w 3121819"/>
              <a:gd name="connsiteY18" fmla="*/ 695325 h 1062038"/>
              <a:gd name="connsiteX19" fmla="*/ 1309687 w 3121819"/>
              <a:gd name="connsiteY19" fmla="*/ 688181 h 1062038"/>
              <a:gd name="connsiteX20" fmla="*/ 1338263 w 3121819"/>
              <a:gd name="connsiteY20" fmla="*/ 704850 h 1062038"/>
              <a:gd name="connsiteX21" fmla="*/ 1469230 w 3121819"/>
              <a:gd name="connsiteY21" fmla="*/ 702469 h 1062038"/>
              <a:gd name="connsiteX22" fmla="*/ 1473993 w 3121819"/>
              <a:gd name="connsiteY22" fmla="*/ 738188 h 1062038"/>
              <a:gd name="connsiteX23" fmla="*/ 1657350 w 3121819"/>
              <a:gd name="connsiteY23" fmla="*/ 735806 h 1062038"/>
              <a:gd name="connsiteX24" fmla="*/ 1675109 w 3121819"/>
              <a:gd name="connsiteY24" fmla="*/ 790559 h 1062038"/>
              <a:gd name="connsiteX25" fmla="*/ 1701303 w 3121819"/>
              <a:gd name="connsiteY25" fmla="*/ 845326 h 1062038"/>
              <a:gd name="connsiteX26" fmla="*/ 2068015 w 3121819"/>
              <a:gd name="connsiteY26" fmla="*/ 835801 h 1062038"/>
              <a:gd name="connsiteX27" fmla="*/ 2060872 w 3121819"/>
              <a:gd name="connsiteY27" fmla="*/ 892952 h 1062038"/>
              <a:gd name="connsiteX28" fmla="*/ 2139453 w 3121819"/>
              <a:gd name="connsiteY28" fmla="*/ 895332 h 1062038"/>
              <a:gd name="connsiteX29" fmla="*/ 2133601 w 3121819"/>
              <a:gd name="connsiteY29" fmla="*/ 966787 h 1062038"/>
              <a:gd name="connsiteX30" fmla="*/ 2353766 w 3121819"/>
              <a:gd name="connsiteY30" fmla="*/ 962008 h 1062038"/>
              <a:gd name="connsiteX31" fmla="*/ 2357437 w 3121819"/>
              <a:gd name="connsiteY31" fmla="*/ 1062038 h 1062038"/>
              <a:gd name="connsiteX32" fmla="*/ 3121819 w 3121819"/>
              <a:gd name="connsiteY32" fmla="*/ 1059655 h 106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21819" h="1062038">
                <a:moveTo>
                  <a:pt x="0" y="0"/>
                </a:moveTo>
                <a:lnTo>
                  <a:pt x="90487" y="0"/>
                </a:lnTo>
                <a:lnTo>
                  <a:pt x="207169" y="35719"/>
                </a:lnTo>
                <a:lnTo>
                  <a:pt x="273844" y="64294"/>
                </a:lnTo>
                <a:lnTo>
                  <a:pt x="378618" y="145256"/>
                </a:lnTo>
                <a:lnTo>
                  <a:pt x="447675" y="228600"/>
                </a:lnTo>
                <a:lnTo>
                  <a:pt x="500062" y="276226"/>
                </a:lnTo>
                <a:lnTo>
                  <a:pt x="569120" y="321468"/>
                </a:lnTo>
                <a:lnTo>
                  <a:pt x="621506" y="335757"/>
                </a:lnTo>
                <a:lnTo>
                  <a:pt x="676274" y="400050"/>
                </a:lnTo>
                <a:lnTo>
                  <a:pt x="778667" y="397669"/>
                </a:lnTo>
                <a:lnTo>
                  <a:pt x="921544" y="531019"/>
                </a:lnTo>
                <a:lnTo>
                  <a:pt x="931069" y="557213"/>
                </a:lnTo>
                <a:lnTo>
                  <a:pt x="965497" y="557197"/>
                </a:lnTo>
                <a:lnTo>
                  <a:pt x="1027409" y="619109"/>
                </a:lnTo>
                <a:lnTo>
                  <a:pt x="1109663" y="621507"/>
                </a:lnTo>
                <a:lnTo>
                  <a:pt x="1147762" y="654844"/>
                </a:lnTo>
                <a:lnTo>
                  <a:pt x="1221582" y="654844"/>
                </a:lnTo>
                <a:lnTo>
                  <a:pt x="1257301" y="695325"/>
                </a:lnTo>
                <a:lnTo>
                  <a:pt x="1309687" y="688181"/>
                </a:lnTo>
                <a:lnTo>
                  <a:pt x="1338263" y="704850"/>
                </a:lnTo>
                <a:lnTo>
                  <a:pt x="1469230" y="702469"/>
                </a:lnTo>
                <a:lnTo>
                  <a:pt x="1473993" y="738188"/>
                </a:lnTo>
                <a:lnTo>
                  <a:pt x="1657350" y="735806"/>
                </a:lnTo>
                <a:lnTo>
                  <a:pt x="1675109" y="790559"/>
                </a:lnTo>
                <a:lnTo>
                  <a:pt x="1701303" y="845326"/>
                </a:lnTo>
                <a:lnTo>
                  <a:pt x="2068015" y="835801"/>
                </a:lnTo>
                <a:lnTo>
                  <a:pt x="2060872" y="892952"/>
                </a:lnTo>
                <a:lnTo>
                  <a:pt x="2139453" y="895332"/>
                </a:lnTo>
                <a:lnTo>
                  <a:pt x="2133601" y="966787"/>
                </a:lnTo>
                <a:lnTo>
                  <a:pt x="2353766" y="962008"/>
                </a:lnTo>
                <a:lnTo>
                  <a:pt x="2357437" y="1062038"/>
                </a:lnTo>
                <a:lnTo>
                  <a:pt x="3121819" y="1059655"/>
                </a:lnTo>
              </a:path>
            </a:pathLst>
          </a:custGeom>
          <a:noFill/>
          <a:ln w="19050">
            <a:solidFill>
              <a:srgbClr val="E2532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400"/>
          </a:p>
        </p:txBody>
      </p:sp>
      <p:sp>
        <p:nvSpPr>
          <p:cNvPr id="4097" name="Freeform 4096"/>
          <p:cNvSpPr/>
          <p:nvPr/>
        </p:nvSpPr>
        <p:spPr>
          <a:xfrm>
            <a:off x="817563" y="2616200"/>
            <a:ext cx="3244850" cy="887413"/>
          </a:xfrm>
          <a:custGeom>
            <a:avLst/>
            <a:gdLst>
              <a:gd name="connsiteX0" fmla="*/ 0 w 3245644"/>
              <a:gd name="connsiteY0" fmla="*/ 0 h 888206"/>
              <a:gd name="connsiteX1" fmla="*/ 90487 w 3245644"/>
              <a:gd name="connsiteY1" fmla="*/ 0 h 888206"/>
              <a:gd name="connsiteX2" fmla="*/ 90487 w 3245644"/>
              <a:gd name="connsiteY2" fmla="*/ 40481 h 888206"/>
              <a:gd name="connsiteX3" fmla="*/ 164306 w 3245644"/>
              <a:gd name="connsiteY3" fmla="*/ 40481 h 888206"/>
              <a:gd name="connsiteX4" fmla="*/ 276225 w 3245644"/>
              <a:gd name="connsiteY4" fmla="*/ 152400 h 888206"/>
              <a:gd name="connsiteX5" fmla="*/ 330994 w 3245644"/>
              <a:gd name="connsiteY5" fmla="*/ 176213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45644" h="888206">
                <a:moveTo>
                  <a:pt x="0" y="0"/>
                </a:moveTo>
                <a:lnTo>
                  <a:pt x="90487" y="0"/>
                </a:lnTo>
                <a:lnTo>
                  <a:pt x="90487" y="40481"/>
                </a:lnTo>
                <a:lnTo>
                  <a:pt x="164306" y="40481"/>
                </a:lnTo>
                <a:lnTo>
                  <a:pt x="276225" y="152400"/>
                </a:lnTo>
                <a:lnTo>
                  <a:pt x="330994" y="176213"/>
                </a:lnTo>
                <a:lnTo>
                  <a:pt x="383381" y="221456"/>
                </a:lnTo>
                <a:lnTo>
                  <a:pt x="433387" y="266700"/>
                </a:lnTo>
                <a:lnTo>
                  <a:pt x="483394" y="266700"/>
                </a:lnTo>
                <a:lnTo>
                  <a:pt x="621506" y="359569"/>
                </a:lnTo>
                <a:lnTo>
                  <a:pt x="702469" y="364331"/>
                </a:lnTo>
                <a:lnTo>
                  <a:pt x="721519" y="385763"/>
                </a:lnTo>
                <a:lnTo>
                  <a:pt x="802481" y="381000"/>
                </a:lnTo>
                <a:lnTo>
                  <a:pt x="833437" y="447675"/>
                </a:lnTo>
                <a:lnTo>
                  <a:pt x="885825" y="469106"/>
                </a:lnTo>
                <a:lnTo>
                  <a:pt x="1045369" y="471488"/>
                </a:lnTo>
                <a:lnTo>
                  <a:pt x="1131094" y="547688"/>
                </a:lnTo>
                <a:lnTo>
                  <a:pt x="1181100" y="552450"/>
                </a:lnTo>
                <a:lnTo>
                  <a:pt x="1185862" y="583406"/>
                </a:lnTo>
                <a:lnTo>
                  <a:pt x="1464469" y="590550"/>
                </a:lnTo>
                <a:lnTo>
                  <a:pt x="1490662" y="640556"/>
                </a:lnTo>
                <a:lnTo>
                  <a:pt x="1600200" y="635794"/>
                </a:lnTo>
                <a:lnTo>
                  <a:pt x="1614487" y="683419"/>
                </a:lnTo>
                <a:lnTo>
                  <a:pt x="1783556" y="685800"/>
                </a:lnTo>
                <a:lnTo>
                  <a:pt x="1783556" y="733425"/>
                </a:lnTo>
                <a:lnTo>
                  <a:pt x="2483644" y="740569"/>
                </a:lnTo>
                <a:lnTo>
                  <a:pt x="2481262" y="888206"/>
                </a:lnTo>
                <a:lnTo>
                  <a:pt x="3245644" y="888206"/>
                </a:lnTo>
              </a:path>
            </a:pathLst>
          </a:custGeom>
          <a:noFill/>
          <a:ln w="19050">
            <a:solidFill>
              <a:srgbClr val="5F595B"/>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400"/>
          </a:p>
        </p:txBody>
      </p:sp>
      <p:sp>
        <p:nvSpPr>
          <p:cNvPr id="345" name="Freeform 344"/>
          <p:cNvSpPr/>
          <p:nvPr/>
        </p:nvSpPr>
        <p:spPr>
          <a:xfrm>
            <a:off x="822325" y="2613025"/>
            <a:ext cx="3122613" cy="1089025"/>
          </a:xfrm>
          <a:custGeom>
            <a:avLst/>
            <a:gdLst>
              <a:gd name="connsiteX0" fmla="*/ 0 w 3245644"/>
              <a:gd name="connsiteY0" fmla="*/ 0 h 888206"/>
              <a:gd name="connsiteX1" fmla="*/ 90487 w 3245644"/>
              <a:gd name="connsiteY1" fmla="*/ 0 h 888206"/>
              <a:gd name="connsiteX2" fmla="*/ 90487 w 3245644"/>
              <a:gd name="connsiteY2" fmla="*/ 40481 h 888206"/>
              <a:gd name="connsiteX3" fmla="*/ 164306 w 3245644"/>
              <a:gd name="connsiteY3" fmla="*/ 40481 h 888206"/>
              <a:gd name="connsiteX4" fmla="*/ 276225 w 3245644"/>
              <a:gd name="connsiteY4" fmla="*/ 152400 h 888206"/>
              <a:gd name="connsiteX5" fmla="*/ 330994 w 3245644"/>
              <a:gd name="connsiteY5" fmla="*/ 176213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76225 w 3245644"/>
              <a:gd name="connsiteY4" fmla="*/ 152400 h 888206"/>
              <a:gd name="connsiteX5" fmla="*/ 330994 w 3245644"/>
              <a:gd name="connsiteY5" fmla="*/ 176213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330994 w 3245644"/>
              <a:gd name="connsiteY5" fmla="*/ 176213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83381 w 3245644"/>
              <a:gd name="connsiteY6" fmla="*/ 221456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33387 w 3245644"/>
              <a:gd name="connsiteY7" fmla="*/ 26670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83394 w 3245644"/>
              <a:gd name="connsiteY8" fmla="*/ 266700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621506 w 3245644"/>
              <a:gd name="connsiteY9" fmla="*/ 359569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702469 w 3245644"/>
              <a:gd name="connsiteY10" fmla="*/ 364331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721519 w 3245644"/>
              <a:gd name="connsiteY11" fmla="*/ 385763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802481 w 3245644"/>
              <a:gd name="connsiteY12" fmla="*/ 381000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833437 w 3245644"/>
              <a:gd name="connsiteY13" fmla="*/ 447675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885825 w 3245644"/>
              <a:gd name="connsiteY14" fmla="*/ 4691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1045369 w 3245644"/>
              <a:gd name="connsiteY15" fmla="*/ 471488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1131094 w 3245644"/>
              <a:gd name="connsiteY16" fmla="*/ 547688 h 888206"/>
              <a:gd name="connsiteX17" fmla="*/ 1181100 w 3245644"/>
              <a:gd name="connsiteY17" fmla="*/ 552450 h 888206"/>
              <a:gd name="connsiteX18" fmla="*/ 1185862 w 3245644"/>
              <a:gd name="connsiteY18" fmla="*/ 583406 h 888206"/>
              <a:gd name="connsiteX19" fmla="*/ 1464469 w 3245644"/>
              <a:gd name="connsiteY19" fmla="*/ 590550 h 888206"/>
              <a:gd name="connsiteX20" fmla="*/ 1490662 w 3245644"/>
              <a:gd name="connsiteY20" fmla="*/ 640556 h 888206"/>
              <a:gd name="connsiteX21" fmla="*/ 1600200 w 3245644"/>
              <a:gd name="connsiteY21" fmla="*/ 635794 h 888206"/>
              <a:gd name="connsiteX22" fmla="*/ 1614487 w 3245644"/>
              <a:gd name="connsiteY22" fmla="*/ 683419 h 888206"/>
              <a:gd name="connsiteX23" fmla="*/ 1783556 w 3245644"/>
              <a:gd name="connsiteY23" fmla="*/ 685800 h 888206"/>
              <a:gd name="connsiteX24" fmla="*/ 1783556 w 3245644"/>
              <a:gd name="connsiteY24" fmla="*/ 733425 h 888206"/>
              <a:gd name="connsiteX25" fmla="*/ 2483644 w 3245644"/>
              <a:gd name="connsiteY25" fmla="*/ 740569 h 888206"/>
              <a:gd name="connsiteX26" fmla="*/ 2481262 w 3245644"/>
              <a:gd name="connsiteY26" fmla="*/ 888206 h 888206"/>
              <a:gd name="connsiteX27" fmla="*/ 3245644 w 3245644"/>
              <a:gd name="connsiteY27"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929778 w 3245644"/>
              <a:gd name="connsiteY16" fmla="*/ 592915 h 888206"/>
              <a:gd name="connsiteX17" fmla="*/ 1131094 w 3245644"/>
              <a:gd name="connsiteY17" fmla="*/ 547688 h 888206"/>
              <a:gd name="connsiteX18" fmla="*/ 1181100 w 3245644"/>
              <a:gd name="connsiteY18" fmla="*/ 552450 h 888206"/>
              <a:gd name="connsiteX19" fmla="*/ 1185862 w 3245644"/>
              <a:gd name="connsiteY19" fmla="*/ 583406 h 888206"/>
              <a:gd name="connsiteX20" fmla="*/ 1464469 w 3245644"/>
              <a:gd name="connsiteY20" fmla="*/ 590550 h 888206"/>
              <a:gd name="connsiteX21" fmla="*/ 1490662 w 3245644"/>
              <a:gd name="connsiteY21" fmla="*/ 640556 h 888206"/>
              <a:gd name="connsiteX22" fmla="*/ 1600200 w 3245644"/>
              <a:gd name="connsiteY22" fmla="*/ 635794 h 888206"/>
              <a:gd name="connsiteX23" fmla="*/ 1614487 w 3245644"/>
              <a:gd name="connsiteY23" fmla="*/ 683419 h 888206"/>
              <a:gd name="connsiteX24" fmla="*/ 1783556 w 3245644"/>
              <a:gd name="connsiteY24" fmla="*/ 685800 h 888206"/>
              <a:gd name="connsiteX25" fmla="*/ 1783556 w 3245644"/>
              <a:gd name="connsiteY25" fmla="*/ 733425 h 888206"/>
              <a:gd name="connsiteX26" fmla="*/ 2483644 w 3245644"/>
              <a:gd name="connsiteY26" fmla="*/ 740569 h 888206"/>
              <a:gd name="connsiteX27" fmla="*/ 2481262 w 3245644"/>
              <a:gd name="connsiteY27" fmla="*/ 888206 h 888206"/>
              <a:gd name="connsiteX28" fmla="*/ 3245644 w 3245644"/>
              <a:gd name="connsiteY28"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834528 w 3245644"/>
              <a:gd name="connsiteY16" fmla="*/ 695309 h 888206"/>
              <a:gd name="connsiteX17" fmla="*/ 1131094 w 3245644"/>
              <a:gd name="connsiteY17" fmla="*/ 547688 h 888206"/>
              <a:gd name="connsiteX18" fmla="*/ 1181100 w 3245644"/>
              <a:gd name="connsiteY18" fmla="*/ 552450 h 888206"/>
              <a:gd name="connsiteX19" fmla="*/ 1185862 w 3245644"/>
              <a:gd name="connsiteY19" fmla="*/ 583406 h 888206"/>
              <a:gd name="connsiteX20" fmla="*/ 1464469 w 3245644"/>
              <a:gd name="connsiteY20" fmla="*/ 590550 h 888206"/>
              <a:gd name="connsiteX21" fmla="*/ 1490662 w 3245644"/>
              <a:gd name="connsiteY21" fmla="*/ 640556 h 888206"/>
              <a:gd name="connsiteX22" fmla="*/ 1600200 w 3245644"/>
              <a:gd name="connsiteY22" fmla="*/ 635794 h 888206"/>
              <a:gd name="connsiteX23" fmla="*/ 1614487 w 3245644"/>
              <a:gd name="connsiteY23" fmla="*/ 683419 h 888206"/>
              <a:gd name="connsiteX24" fmla="*/ 1783556 w 3245644"/>
              <a:gd name="connsiteY24" fmla="*/ 685800 h 888206"/>
              <a:gd name="connsiteX25" fmla="*/ 1783556 w 3245644"/>
              <a:gd name="connsiteY25" fmla="*/ 733425 h 888206"/>
              <a:gd name="connsiteX26" fmla="*/ 2483644 w 3245644"/>
              <a:gd name="connsiteY26" fmla="*/ 740569 h 888206"/>
              <a:gd name="connsiteX27" fmla="*/ 2481262 w 3245644"/>
              <a:gd name="connsiteY27" fmla="*/ 888206 h 888206"/>
              <a:gd name="connsiteX28" fmla="*/ 3245644 w 3245644"/>
              <a:gd name="connsiteY28"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60709 w 3245644"/>
              <a:gd name="connsiteY16" fmla="*/ 645303 h 888206"/>
              <a:gd name="connsiteX17" fmla="*/ 834528 w 3245644"/>
              <a:gd name="connsiteY17" fmla="*/ 695309 h 888206"/>
              <a:gd name="connsiteX18" fmla="*/ 1131094 w 3245644"/>
              <a:gd name="connsiteY18" fmla="*/ 547688 h 888206"/>
              <a:gd name="connsiteX19" fmla="*/ 1181100 w 3245644"/>
              <a:gd name="connsiteY19" fmla="*/ 552450 h 888206"/>
              <a:gd name="connsiteX20" fmla="*/ 1185862 w 3245644"/>
              <a:gd name="connsiteY20" fmla="*/ 583406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1131094 w 3245644"/>
              <a:gd name="connsiteY18" fmla="*/ 547688 h 888206"/>
              <a:gd name="connsiteX19" fmla="*/ 1181100 w 3245644"/>
              <a:gd name="connsiteY19" fmla="*/ 552450 h 888206"/>
              <a:gd name="connsiteX20" fmla="*/ 1185862 w 3245644"/>
              <a:gd name="connsiteY20" fmla="*/ 583406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81100 w 3245644"/>
              <a:gd name="connsiteY19" fmla="*/ 552450 h 888206"/>
              <a:gd name="connsiteX20" fmla="*/ 1185862 w 3245644"/>
              <a:gd name="connsiteY20" fmla="*/ 583406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85862 w 3245644"/>
              <a:gd name="connsiteY20" fmla="*/ 583406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464469 w 3245644"/>
              <a:gd name="connsiteY21" fmla="*/ 5905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1107 w 3245644"/>
              <a:gd name="connsiteY21" fmla="*/ 781050 h 888206"/>
              <a:gd name="connsiteX22" fmla="*/ 1490662 w 3245644"/>
              <a:gd name="connsiteY22" fmla="*/ 640556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1107 w 3245644"/>
              <a:gd name="connsiteY21" fmla="*/ 781050 h 888206"/>
              <a:gd name="connsiteX22" fmla="*/ 1314450 w 3245644"/>
              <a:gd name="connsiteY22" fmla="*/ 795337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3489 w 3245644"/>
              <a:gd name="connsiteY21" fmla="*/ 781050 h 888206"/>
              <a:gd name="connsiteX22" fmla="*/ 1314450 w 3245644"/>
              <a:gd name="connsiteY22" fmla="*/ 795337 h 888206"/>
              <a:gd name="connsiteX23" fmla="*/ 1600200 w 3245644"/>
              <a:gd name="connsiteY23" fmla="*/ 63579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3489 w 3245644"/>
              <a:gd name="connsiteY21" fmla="*/ 781050 h 888206"/>
              <a:gd name="connsiteX22" fmla="*/ 1314450 w 3245644"/>
              <a:gd name="connsiteY22" fmla="*/ 795337 h 888206"/>
              <a:gd name="connsiteX23" fmla="*/ 1333500 w 3245644"/>
              <a:gd name="connsiteY23" fmla="*/ 845344 h 888206"/>
              <a:gd name="connsiteX24" fmla="*/ 1614487 w 3245644"/>
              <a:gd name="connsiteY24" fmla="*/ 683419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6"/>
              <a:gd name="connsiteX1" fmla="*/ 90487 w 3245644"/>
              <a:gd name="connsiteY1" fmla="*/ 0 h 888206"/>
              <a:gd name="connsiteX2" fmla="*/ 90487 w 3245644"/>
              <a:gd name="connsiteY2" fmla="*/ 40481 h 888206"/>
              <a:gd name="connsiteX3" fmla="*/ 150018 w 3245644"/>
              <a:gd name="connsiteY3" fmla="*/ 54769 h 888206"/>
              <a:gd name="connsiteX4" fmla="*/ 211932 w 3245644"/>
              <a:gd name="connsiteY4" fmla="*/ 161925 h 888206"/>
              <a:gd name="connsiteX5" fmla="*/ 292894 w 3245644"/>
              <a:gd name="connsiteY5" fmla="*/ 266700 h 888206"/>
              <a:gd name="connsiteX6" fmla="*/ 373856 w 3245644"/>
              <a:gd name="connsiteY6" fmla="*/ 419100 h 888206"/>
              <a:gd name="connsiteX7" fmla="*/ 409574 w 3245644"/>
              <a:gd name="connsiteY7" fmla="*/ 438150 h 888206"/>
              <a:gd name="connsiteX8" fmla="*/ 447675 w 3245644"/>
              <a:gd name="connsiteY8" fmla="*/ 435769 h 888206"/>
              <a:gd name="connsiteX9" fmla="*/ 457200 w 3245644"/>
              <a:gd name="connsiteY9" fmla="*/ 478632 h 888206"/>
              <a:gd name="connsiteX10" fmla="*/ 488157 w 3245644"/>
              <a:gd name="connsiteY10" fmla="*/ 500062 h 888206"/>
              <a:gd name="connsiteX11" fmla="*/ 521494 w 3245644"/>
              <a:gd name="connsiteY11" fmla="*/ 492919 h 888206"/>
              <a:gd name="connsiteX12" fmla="*/ 600074 w 3245644"/>
              <a:gd name="connsiteY12" fmla="*/ 607219 h 888206"/>
              <a:gd name="connsiteX13" fmla="*/ 659605 w 3245644"/>
              <a:gd name="connsiteY13" fmla="*/ 604838 h 888206"/>
              <a:gd name="connsiteX14" fmla="*/ 683419 w 3245644"/>
              <a:gd name="connsiteY14" fmla="*/ 621506 h 888206"/>
              <a:gd name="connsiteX15" fmla="*/ 731044 w 3245644"/>
              <a:gd name="connsiteY15" fmla="*/ 631032 h 888206"/>
              <a:gd name="connsiteX16" fmla="*/ 770234 w 3245644"/>
              <a:gd name="connsiteY16" fmla="*/ 633397 h 888206"/>
              <a:gd name="connsiteX17" fmla="*/ 834528 w 3245644"/>
              <a:gd name="connsiteY17" fmla="*/ 695309 h 888206"/>
              <a:gd name="connsiteX18" fmla="*/ 895350 w 3245644"/>
              <a:gd name="connsiteY18" fmla="*/ 735807 h 888206"/>
              <a:gd name="connsiteX19" fmla="*/ 1114425 w 3245644"/>
              <a:gd name="connsiteY19" fmla="*/ 733425 h 888206"/>
              <a:gd name="connsiteX20" fmla="*/ 1121569 w 3245644"/>
              <a:gd name="connsiteY20" fmla="*/ 776288 h 888206"/>
              <a:gd name="connsiteX21" fmla="*/ 1233489 w 3245644"/>
              <a:gd name="connsiteY21" fmla="*/ 781050 h 888206"/>
              <a:gd name="connsiteX22" fmla="*/ 1314450 w 3245644"/>
              <a:gd name="connsiteY22" fmla="*/ 795337 h 888206"/>
              <a:gd name="connsiteX23" fmla="*/ 1333500 w 3245644"/>
              <a:gd name="connsiteY23" fmla="*/ 845344 h 888206"/>
              <a:gd name="connsiteX24" fmla="*/ 1428749 w 3245644"/>
              <a:gd name="connsiteY24" fmla="*/ 845344 h 888206"/>
              <a:gd name="connsiteX25" fmla="*/ 1783556 w 3245644"/>
              <a:gd name="connsiteY25" fmla="*/ 685800 h 888206"/>
              <a:gd name="connsiteX26" fmla="*/ 1783556 w 3245644"/>
              <a:gd name="connsiteY26" fmla="*/ 733425 h 888206"/>
              <a:gd name="connsiteX27" fmla="*/ 2483644 w 3245644"/>
              <a:gd name="connsiteY27" fmla="*/ 740569 h 888206"/>
              <a:gd name="connsiteX28" fmla="*/ 2481262 w 3245644"/>
              <a:gd name="connsiteY28" fmla="*/ 888206 h 888206"/>
              <a:gd name="connsiteX29" fmla="*/ 3245644 w 3245644"/>
              <a:gd name="connsiteY29" fmla="*/ 888206 h 888206"/>
              <a:gd name="connsiteX0" fmla="*/ 0 w 3245644"/>
              <a:gd name="connsiteY0" fmla="*/ 0 h 888207"/>
              <a:gd name="connsiteX1" fmla="*/ 90487 w 3245644"/>
              <a:gd name="connsiteY1" fmla="*/ 0 h 888207"/>
              <a:gd name="connsiteX2" fmla="*/ 90487 w 3245644"/>
              <a:gd name="connsiteY2" fmla="*/ 40481 h 888207"/>
              <a:gd name="connsiteX3" fmla="*/ 150018 w 3245644"/>
              <a:gd name="connsiteY3" fmla="*/ 54769 h 888207"/>
              <a:gd name="connsiteX4" fmla="*/ 211932 w 3245644"/>
              <a:gd name="connsiteY4" fmla="*/ 161925 h 888207"/>
              <a:gd name="connsiteX5" fmla="*/ 292894 w 3245644"/>
              <a:gd name="connsiteY5" fmla="*/ 266700 h 888207"/>
              <a:gd name="connsiteX6" fmla="*/ 373856 w 3245644"/>
              <a:gd name="connsiteY6" fmla="*/ 419100 h 888207"/>
              <a:gd name="connsiteX7" fmla="*/ 409574 w 3245644"/>
              <a:gd name="connsiteY7" fmla="*/ 438150 h 888207"/>
              <a:gd name="connsiteX8" fmla="*/ 447675 w 3245644"/>
              <a:gd name="connsiteY8" fmla="*/ 435769 h 888207"/>
              <a:gd name="connsiteX9" fmla="*/ 457200 w 3245644"/>
              <a:gd name="connsiteY9" fmla="*/ 478632 h 888207"/>
              <a:gd name="connsiteX10" fmla="*/ 488157 w 3245644"/>
              <a:gd name="connsiteY10" fmla="*/ 500062 h 888207"/>
              <a:gd name="connsiteX11" fmla="*/ 521494 w 3245644"/>
              <a:gd name="connsiteY11" fmla="*/ 492919 h 888207"/>
              <a:gd name="connsiteX12" fmla="*/ 600074 w 3245644"/>
              <a:gd name="connsiteY12" fmla="*/ 607219 h 888207"/>
              <a:gd name="connsiteX13" fmla="*/ 659605 w 3245644"/>
              <a:gd name="connsiteY13" fmla="*/ 604838 h 888207"/>
              <a:gd name="connsiteX14" fmla="*/ 683419 w 3245644"/>
              <a:gd name="connsiteY14" fmla="*/ 621506 h 888207"/>
              <a:gd name="connsiteX15" fmla="*/ 731044 w 3245644"/>
              <a:gd name="connsiteY15" fmla="*/ 631032 h 888207"/>
              <a:gd name="connsiteX16" fmla="*/ 770234 w 3245644"/>
              <a:gd name="connsiteY16" fmla="*/ 633397 h 888207"/>
              <a:gd name="connsiteX17" fmla="*/ 834528 w 3245644"/>
              <a:gd name="connsiteY17" fmla="*/ 695309 h 888207"/>
              <a:gd name="connsiteX18" fmla="*/ 895350 w 3245644"/>
              <a:gd name="connsiteY18" fmla="*/ 735807 h 888207"/>
              <a:gd name="connsiteX19" fmla="*/ 1114425 w 3245644"/>
              <a:gd name="connsiteY19" fmla="*/ 733425 h 888207"/>
              <a:gd name="connsiteX20" fmla="*/ 1121569 w 3245644"/>
              <a:gd name="connsiteY20" fmla="*/ 776288 h 888207"/>
              <a:gd name="connsiteX21" fmla="*/ 1233489 w 3245644"/>
              <a:gd name="connsiteY21" fmla="*/ 781050 h 888207"/>
              <a:gd name="connsiteX22" fmla="*/ 1314450 w 3245644"/>
              <a:gd name="connsiteY22" fmla="*/ 795337 h 888207"/>
              <a:gd name="connsiteX23" fmla="*/ 1333500 w 3245644"/>
              <a:gd name="connsiteY23" fmla="*/ 845344 h 888207"/>
              <a:gd name="connsiteX24" fmla="*/ 1428749 w 3245644"/>
              <a:gd name="connsiteY24" fmla="*/ 845344 h 888207"/>
              <a:gd name="connsiteX25" fmla="*/ 1459706 w 3245644"/>
              <a:gd name="connsiteY25" fmla="*/ 888207 h 888207"/>
              <a:gd name="connsiteX26" fmla="*/ 1783556 w 3245644"/>
              <a:gd name="connsiteY26" fmla="*/ 733425 h 888207"/>
              <a:gd name="connsiteX27" fmla="*/ 2483644 w 3245644"/>
              <a:gd name="connsiteY27" fmla="*/ 740569 h 888207"/>
              <a:gd name="connsiteX28" fmla="*/ 2481262 w 3245644"/>
              <a:gd name="connsiteY28" fmla="*/ 888206 h 888207"/>
              <a:gd name="connsiteX29" fmla="*/ 3245644 w 3245644"/>
              <a:gd name="connsiteY29" fmla="*/ 888206 h 888207"/>
              <a:gd name="connsiteX0" fmla="*/ 0 w 3245644"/>
              <a:gd name="connsiteY0" fmla="*/ 0 h 888207"/>
              <a:gd name="connsiteX1" fmla="*/ 90487 w 3245644"/>
              <a:gd name="connsiteY1" fmla="*/ 0 h 888207"/>
              <a:gd name="connsiteX2" fmla="*/ 90487 w 3245644"/>
              <a:gd name="connsiteY2" fmla="*/ 40481 h 888207"/>
              <a:gd name="connsiteX3" fmla="*/ 150018 w 3245644"/>
              <a:gd name="connsiteY3" fmla="*/ 54769 h 888207"/>
              <a:gd name="connsiteX4" fmla="*/ 211932 w 3245644"/>
              <a:gd name="connsiteY4" fmla="*/ 161925 h 888207"/>
              <a:gd name="connsiteX5" fmla="*/ 292894 w 3245644"/>
              <a:gd name="connsiteY5" fmla="*/ 266700 h 888207"/>
              <a:gd name="connsiteX6" fmla="*/ 373856 w 3245644"/>
              <a:gd name="connsiteY6" fmla="*/ 419100 h 888207"/>
              <a:gd name="connsiteX7" fmla="*/ 409574 w 3245644"/>
              <a:gd name="connsiteY7" fmla="*/ 438150 h 888207"/>
              <a:gd name="connsiteX8" fmla="*/ 447675 w 3245644"/>
              <a:gd name="connsiteY8" fmla="*/ 435769 h 888207"/>
              <a:gd name="connsiteX9" fmla="*/ 457200 w 3245644"/>
              <a:gd name="connsiteY9" fmla="*/ 478632 h 888207"/>
              <a:gd name="connsiteX10" fmla="*/ 488157 w 3245644"/>
              <a:gd name="connsiteY10" fmla="*/ 500062 h 888207"/>
              <a:gd name="connsiteX11" fmla="*/ 521494 w 3245644"/>
              <a:gd name="connsiteY11" fmla="*/ 492919 h 888207"/>
              <a:gd name="connsiteX12" fmla="*/ 600074 w 3245644"/>
              <a:gd name="connsiteY12" fmla="*/ 607219 h 888207"/>
              <a:gd name="connsiteX13" fmla="*/ 659605 w 3245644"/>
              <a:gd name="connsiteY13" fmla="*/ 604838 h 888207"/>
              <a:gd name="connsiteX14" fmla="*/ 683419 w 3245644"/>
              <a:gd name="connsiteY14" fmla="*/ 621506 h 888207"/>
              <a:gd name="connsiteX15" fmla="*/ 731044 w 3245644"/>
              <a:gd name="connsiteY15" fmla="*/ 631032 h 888207"/>
              <a:gd name="connsiteX16" fmla="*/ 770234 w 3245644"/>
              <a:gd name="connsiteY16" fmla="*/ 633397 h 888207"/>
              <a:gd name="connsiteX17" fmla="*/ 834528 w 3245644"/>
              <a:gd name="connsiteY17" fmla="*/ 695309 h 888207"/>
              <a:gd name="connsiteX18" fmla="*/ 895350 w 3245644"/>
              <a:gd name="connsiteY18" fmla="*/ 735807 h 888207"/>
              <a:gd name="connsiteX19" fmla="*/ 1114425 w 3245644"/>
              <a:gd name="connsiteY19" fmla="*/ 733425 h 888207"/>
              <a:gd name="connsiteX20" fmla="*/ 1121569 w 3245644"/>
              <a:gd name="connsiteY20" fmla="*/ 776288 h 888207"/>
              <a:gd name="connsiteX21" fmla="*/ 1233489 w 3245644"/>
              <a:gd name="connsiteY21" fmla="*/ 781050 h 888207"/>
              <a:gd name="connsiteX22" fmla="*/ 1314450 w 3245644"/>
              <a:gd name="connsiteY22" fmla="*/ 795337 h 888207"/>
              <a:gd name="connsiteX23" fmla="*/ 1333500 w 3245644"/>
              <a:gd name="connsiteY23" fmla="*/ 845344 h 888207"/>
              <a:gd name="connsiteX24" fmla="*/ 1428749 w 3245644"/>
              <a:gd name="connsiteY24" fmla="*/ 845344 h 888207"/>
              <a:gd name="connsiteX25" fmla="*/ 1459706 w 3245644"/>
              <a:gd name="connsiteY25" fmla="*/ 888207 h 888207"/>
              <a:gd name="connsiteX26" fmla="*/ 1507331 w 3245644"/>
              <a:gd name="connsiteY26" fmla="*/ 888206 h 888207"/>
              <a:gd name="connsiteX27" fmla="*/ 2483644 w 3245644"/>
              <a:gd name="connsiteY27" fmla="*/ 740569 h 888207"/>
              <a:gd name="connsiteX28" fmla="*/ 2481262 w 3245644"/>
              <a:gd name="connsiteY28" fmla="*/ 888206 h 888207"/>
              <a:gd name="connsiteX29" fmla="*/ 3245644 w 3245644"/>
              <a:gd name="connsiteY29" fmla="*/ 888206 h 888207"/>
              <a:gd name="connsiteX0" fmla="*/ 0 w 3245644"/>
              <a:gd name="connsiteY0" fmla="*/ 0 h 888207"/>
              <a:gd name="connsiteX1" fmla="*/ 90487 w 3245644"/>
              <a:gd name="connsiteY1" fmla="*/ 0 h 888207"/>
              <a:gd name="connsiteX2" fmla="*/ 90487 w 3245644"/>
              <a:gd name="connsiteY2" fmla="*/ 40481 h 888207"/>
              <a:gd name="connsiteX3" fmla="*/ 150018 w 3245644"/>
              <a:gd name="connsiteY3" fmla="*/ 54769 h 888207"/>
              <a:gd name="connsiteX4" fmla="*/ 211932 w 3245644"/>
              <a:gd name="connsiteY4" fmla="*/ 161925 h 888207"/>
              <a:gd name="connsiteX5" fmla="*/ 292894 w 3245644"/>
              <a:gd name="connsiteY5" fmla="*/ 266700 h 888207"/>
              <a:gd name="connsiteX6" fmla="*/ 373856 w 3245644"/>
              <a:gd name="connsiteY6" fmla="*/ 419100 h 888207"/>
              <a:gd name="connsiteX7" fmla="*/ 409574 w 3245644"/>
              <a:gd name="connsiteY7" fmla="*/ 438150 h 888207"/>
              <a:gd name="connsiteX8" fmla="*/ 447675 w 3245644"/>
              <a:gd name="connsiteY8" fmla="*/ 435769 h 888207"/>
              <a:gd name="connsiteX9" fmla="*/ 457200 w 3245644"/>
              <a:gd name="connsiteY9" fmla="*/ 478632 h 888207"/>
              <a:gd name="connsiteX10" fmla="*/ 488157 w 3245644"/>
              <a:gd name="connsiteY10" fmla="*/ 500062 h 888207"/>
              <a:gd name="connsiteX11" fmla="*/ 521494 w 3245644"/>
              <a:gd name="connsiteY11" fmla="*/ 492919 h 888207"/>
              <a:gd name="connsiteX12" fmla="*/ 600074 w 3245644"/>
              <a:gd name="connsiteY12" fmla="*/ 607219 h 888207"/>
              <a:gd name="connsiteX13" fmla="*/ 659605 w 3245644"/>
              <a:gd name="connsiteY13" fmla="*/ 604838 h 888207"/>
              <a:gd name="connsiteX14" fmla="*/ 683419 w 3245644"/>
              <a:gd name="connsiteY14" fmla="*/ 621506 h 888207"/>
              <a:gd name="connsiteX15" fmla="*/ 731044 w 3245644"/>
              <a:gd name="connsiteY15" fmla="*/ 631032 h 888207"/>
              <a:gd name="connsiteX16" fmla="*/ 770234 w 3245644"/>
              <a:gd name="connsiteY16" fmla="*/ 633397 h 888207"/>
              <a:gd name="connsiteX17" fmla="*/ 834528 w 3245644"/>
              <a:gd name="connsiteY17" fmla="*/ 695309 h 888207"/>
              <a:gd name="connsiteX18" fmla="*/ 895350 w 3245644"/>
              <a:gd name="connsiteY18" fmla="*/ 735807 h 888207"/>
              <a:gd name="connsiteX19" fmla="*/ 1114425 w 3245644"/>
              <a:gd name="connsiteY19" fmla="*/ 733425 h 888207"/>
              <a:gd name="connsiteX20" fmla="*/ 1121569 w 3245644"/>
              <a:gd name="connsiteY20" fmla="*/ 776288 h 888207"/>
              <a:gd name="connsiteX21" fmla="*/ 1233489 w 3245644"/>
              <a:gd name="connsiteY21" fmla="*/ 781050 h 888207"/>
              <a:gd name="connsiteX22" fmla="*/ 1314450 w 3245644"/>
              <a:gd name="connsiteY22" fmla="*/ 795337 h 888207"/>
              <a:gd name="connsiteX23" fmla="*/ 1333500 w 3245644"/>
              <a:gd name="connsiteY23" fmla="*/ 845344 h 888207"/>
              <a:gd name="connsiteX24" fmla="*/ 1428749 w 3245644"/>
              <a:gd name="connsiteY24" fmla="*/ 845344 h 888207"/>
              <a:gd name="connsiteX25" fmla="*/ 1459706 w 3245644"/>
              <a:gd name="connsiteY25" fmla="*/ 888207 h 888207"/>
              <a:gd name="connsiteX26" fmla="*/ 1507331 w 3245644"/>
              <a:gd name="connsiteY26" fmla="*/ 888206 h 888207"/>
              <a:gd name="connsiteX27" fmla="*/ 1760834 w 3245644"/>
              <a:gd name="connsiteY27" fmla="*/ 852471 h 888207"/>
              <a:gd name="connsiteX28" fmla="*/ 2483644 w 3245644"/>
              <a:gd name="connsiteY28" fmla="*/ 740569 h 888207"/>
              <a:gd name="connsiteX29" fmla="*/ 2481262 w 3245644"/>
              <a:gd name="connsiteY29" fmla="*/ 888206 h 888207"/>
              <a:gd name="connsiteX30" fmla="*/ 3245644 w 3245644"/>
              <a:gd name="connsiteY30" fmla="*/ 888206 h 888207"/>
              <a:gd name="connsiteX0" fmla="*/ 0 w 3245644"/>
              <a:gd name="connsiteY0" fmla="*/ 0 h 907240"/>
              <a:gd name="connsiteX1" fmla="*/ 90487 w 3245644"/>
              <a:gd name="connsiteY1" fmla="*/ 0 h 907240"/>
              <a:gd name="connsiteX2" fmla="*/ 90487 w 3245644"/>
              <a:gd name="connsiteY2" fmla="*/ 40481 h 907240"/>
              <a:gd name="connsiteX3" fmla="*/ 150018 w 3245644"/>
              <a:gd name="connsiteY3" fmla="*/ 54769 h 907240"/>
              <a:gd name="connsiteX4" fmla="*/ 211932 w 3245644"/>
              <a:gd name="connsiteY4" fmla="*/ 161925 h 907240"/>
              <a:gd name="connsiteX5" fmla="*/ 292894 w 3245644"/>
              <a:gd name="connsiteY5" fmla="*/ 266700 h 907240"/>
              <a:gd name="connsiteX6" fmla="*/ 373856 w 3245644"/>
              <a:gd name="connsiteY6" fmla="*/ 419100 h 907240"/>
              <a:gd name="connsiteX7" fmla="*/ 409574 w 3245644"/>
              <a:gd name="connsiteY7" fmla="*/ 438150 h 907240"/>
              <a:gd name="connsiteX8" fmla="*/ 447675 w 3245644"/>
              <a:gd name="connsiteY8" fmla="*/ 435769 h 907240"/>
              <a:gd name="connsiteX9" fmla="*/ 457200 w 3245644"/>
              <a:gd name="connsiteY9" fmla="*/ 478632 h 907240"/>
              <a:gd name="connsiteX10" fmla="*/ 488157 w 3245644"/>
              <a:gd name="connsiteY10" fmla="*/ 500062 h 907240"/>
              <a:gd name="connsiteX11" fmla="*/ 521494 w 3245644"/>
              <a:gd name="connsiteY11" fmla="*/ 492919 h 907240"/>
              <a:gd name="connsiteX12" fmla="*/ 600074 w 3245644"/>
              <a:gd name="connsiteY12" fmla="*/ 607219 h 907240"/>
              <a:gd name="connsiteX13" fmla="*/ 659605 w 3245644"/>
              <a:gd name="connsiteY13" fmla="*/ 604838 h 907240"/>
              <a:gd name="connsiteX14" fmla="*/ 683419 w 3245644"/>
              <a:gd name="connsiteY14" fmla="*/ 621506 h 907240"/>
              <a:gd name="connsiteX15" fmla="*/ 731044 w 3245644"/>
              <a:gd name="connsiteY15" fmla="*/ 631032 h 907240"/>
              <a:gd name="connsiteX16" fmla="*/ 770234 w 3245644"/>
              <a:gd name="connsiteY16" fmla="*/ 633397 h 907240"/>
              <a:gd name="connsiteX17" fmla="*/ 834528 w 3245644"/>
              <a:gd name="connsiteY17" fmla="*/ 695309 h 907240"/>
              <a:gd name="connsiteX18" fmla="*/ 895350 w 3245644"/>
              <a:gd name="connsiteY18" fmla="*/ 735807 h 907240"/>
              <a:gd name="connsiteX19" fmla="*/ 1114425 w 3245644"/>
              <a:gd name="connsiteY19" fmla="*/ 733425 h 907240"/>
              <a:gd name="connsiteX20" fmla="*/ 1121569 w 3245644"/>
              <a:gd name="connsiteY20" fmla="*/ 776288 h 907240"/>
              <a:gd name="connsiteX21" fmla="*/ 1233489 w 3245644"/>
              <a:gd name="connsiteY21" fmla="*/ 781050 h 907240"/>
              <a:gd name="connsiteX22" fmla="*/ 1314450 w 3245644"/>
              <a:gd name="connsiteY22" fmla="*/ 795337 h 907240"/>
              <a:gd name="connsiteX23" fmla="*/ 1333500 w 3245644"/>
              <a:gd name="connsiteY23" fmla="*/ 845344 h 907240"/>
              <a:gd name="connsiteX24" fmla="*/ 1428749 w 3245644"/>
              <a:gd name="connsiteY24" fmla="*/ 845344 h 907240"/>
              <a:gd name="connsiteX25" fmla="*/ 1459706 w 3245644"/>
              <a:gd name="connsiteY25" fmla="*/ 888207 h 907240"/>
              <a:gd name="connsiteX26" fmla="*/ 1507331 w 3245644"/>
              <a:gd name="connsiteY26" fmla="*/ 888206 h 907240"/>
              <a:gd name="connsiteX27" fmla="*/ 1513184 w 3245644"/>
              <a:gd name="connsiteY27" fmla="*/ 907240 h 907240"/>
              <a:gd name="connsiteX28" fmla="*/ 2483644 w 3245644"/>
              <a:gd name="connsiteY28" fmla="*/ 740569 h 907240"/>
              <a:gd name="connsiteX29" fmla="*/ 2481262 w 3245644"/>
              <a:gd name="connsiteY29" fmla="*/ 888206 h 907240"/>
              <a:gd name="connsiteX30" fmla="*/ 3245644 w 3245644"/>
              <a:gd name="connsiteY30" fmla="*/ 888206 h 907240"/>
              <a:gd name="connsiteX0" fmla="*/ 0 w 3245644"/>
              <a:gd name="connsiteY0" fmla="*/ 0 h 907240"/>
              <a:gd name="connsiteX1" fmla="*/ 90487 w 3245644"/>
              <a:gd name="connsiteY1" fmla="*/ 0 h 907240"/>
              <a:gd name="connsiteX2" fmla="*/ 90487 w 3245644"/>
              <a:gd name="connsiteY2" fmla="*/ 40481 h 907240"/>
              <a:gd name="connsiteX3" fmla="*/ 150018 w 3245644"/>
              <a:gd name="connsiteY3" fmla="*/ 54769 h 907240"/>
              <a:gd name="connsiteX4" fmla="*/ 211932 w 3245644"/>
              <a:gd name="connsiteY4" fmla="*/ 161925 h 907240"/>
              <a:gd name="connsiteX5" fmla="*/ 292894 w 3245644"/>
              <a:gd name="connsiteY5" fmla="*/ 266700 h 907240"/>
              <a:gd name="connsiteX6" fmla="*/ 373856 w 3245644"/>
              <a:gd name="connsiteY6" fmla="*/ 419100 h 907240"/>
              <a:gd name="connsiteX7" fmla="*/ 409574 w 3245644"/>
              <a:gd name="connsiteY7" fmla="*/ 438150 h 907240"/>
              <a:gd name="connsiteX8" fmla="*/ 447675 w 3245644"/>
              <a:gd name="connsiteY8" fmla="*/ 435769 h 907240"/>
              <a:gd name="connsiteX9" fmla="*/ 457200 w 3245644"/>
              <a:gd name="connsiteY9" fmla="*/ 478632 h 907240"/>
              <a:gd name="connsiteX10" fmla="*/ 488157 w 3245644"/>
              <a:gd name="connsiteY10" fmla="*/ 500062 h 907240"/>
              <a:gd name="connsiteX11" fmla="*/ 521494 w 3245644"/>
              <a:gd name="connsiteY11" fmla="*/ 492919 h 907240"/>
              <a:gd name="connsiteX12" fmla="*/ 600074 w 3245644"/>
              <a:gd name="connsiteY12" fmla="*/ 607219 h 907240"/>
              <a:gd name="connsiteX13" fmla="*/ 659605 w 3245644"/>
              <a:gd name="connsiteY13" fmla="*/ 604838 h 907240"/>
              <a:gd name="connsiteX14" fmla="*/ 683419 w 3245644"/>
              <a:gd name="connsiteY14" fmla="*/ 621506 h 907240"/>
              <a:gd name="connsiteX15" fmla="*/ 731044 w 3245644"/>
              <a:gd name="connsiteY15" fmla="*/ 631032 h 907240"/>
              <a:gd name="connsiteX16" fmla="*/ 770234 w 3245644"/>
              <a:gd name="connsiteY16" fmla="*/ 633397 h 907240"/>
              <a:gd name="connsiteX17" fmla="*/ 834528 w 3245644"/>
              <a:gd name="connsiteY17" fmla="*/ 695309 h 907240"/>
              <a:gd name="connsiteX18" fmla="*/ 895350 w 3245644"/>
              <a:gd name="connsiteY18" fmla="*/ 735807 h 907240"/>
              <a:gd name="connsiteX19" fmla="*/ 1114425 w 3245644"/>
              <a:gd name="connsiteY19" fmla="*/ 733425 h 907240"/>
              <a:gd name="connsiteX20" fmla="*/ 1121569 w 3245644"/>
              <a:gd name="connsiteY20" fmla="*/ 776288 h 907240"/>
              <a:gd name="connsiteX21" fmla="*/ 1233489 w 3245644"/>
              <a:gd name="connsiteY21" fmla="*/ 781050 h 907240"/>
              <a:gd name="connsiteX22" fmla="*/ 1314450 w 3245644"/>
              <a:gd name="connsiteY22" fmla="*/ 795337 h 907240"/>
              <a:gd name="connsiteX23" fmla="*/ 1333500 w 3245644"/>
              <a:gd name="connsiteY23" fmla="*/ 845344 h 907240"/>
              <a:gd name="connsiteX24" fmla="*/ 1428749 w 3245644"/>
              <a:gd name="connsiteY24" fmla="*/ 845344 h 907240"/>
              <a:gd name="connsiteX25" fmla="*/ 1459706 w 3245644"/>
              <a:gd name="connsiteY25" fmla="*/ 888207 h 907240"/>
              <a:gd name="connsiteX26" fmla="*/ 1507331 w 3245644"/>
              <a:gd name="connsiteY26" fmla="*/ 888206 h 907240"/>
              <a:gd name="connsiteX27" fmla="*/ 1513184 w 3245644"/>
              <a:gd name="connsiteY27" fmla="*/ 907240 h 907240"/>
              <a:gd name="connsiteX28" fmla="*/ 1727497 w 3245644"/>
              <a:gd name="connsiteY28" fmla="*/ 864377 h 907240"/>
              <a:gd name="connsiteX29" fmla="*/ 2483644 w 3245644"/>
              <a:gd name="connsiteY29" fmla="*/ 740569 h 907240"/>
              <a:gd name="connsiteX30" fmla="*/ 2481262 w 3245644"/>
              <a:gd name="connsiteY30" fmla="*/ 888206 h 907240"/>
              <a:gd name="connsiteX31" fmla="*/ 3245644 w 3245644"/>
              <a:gd name="connsiteY31" fmla="*/ 888206 h 907240"/>
              <a:gd name="connsiteX0" fmla="*/ 0 w 3245644"/>
              <a:gd name="connsiteY0" fmla="*/ 0 h 907240"/>
              <a:gd name="connsiteX1" fmla="*/ 90487 w 3245644"/>
              <a:gd name="connsiteY1" fmla="*/ 0 h 907240"/>
              <a:gd name="connsiteX2" fmla="*/ 90487 w 3245644"/>
              <a:gd name="connsiteY2" fmla="*/ 40481 h 907240"/>
              <a:gd name="connsiteX3" fmla="*/ 150018 w 3245644"/>
              <a:gd name="connsiteY3" fmla="*/ 54769 h 907240"/>
              <a:gd name="connsiteX4" fmla="*/ 211932 w 3245644"/>
              <a:gd name="connsiteY4" fmla="*/ 161925 h 907240"/>
              <a:gd name="connsiteX5" fmla="*/ 292894 w 3245644"/>
              <a:gd name="connsiteY5" fmla="*/ 266700 h 907240"/>
              <a:gd name="connsiteX6" fmla="*/ 373856 w 3245644"/>
              <a:gd name="connsiteY6" fmla="*/ 419100 h 907240"/>
              <a:gd name="connsiteX7" fmla="*/ 409574 w 3245644"/>
              <a:gd name="connsiteY7" fmla="*/ 438150 h 907240"/>
              <a:gd name="connsiteX8" fmla="*/ 447675 w 3245644"/>
              <a:gd name="connsiteY8" fmla="*/ 435769 h 907240"/>
              <a:gd name="connsiteX9" fmla="*/ 457200 w 3245644"/>
              <a:gd name="connsiteY9" fmla="*/ 478632 h 907240"/>
              <a:gd name="connsiteX10" fmla="*/ 488157 w 3245644"/>
              <a:gd name="connsiteY10" fmla="*/ 500062 h 907240"/>
              <a:gd name="connsiteX11" fmla="*/ 521494 w 3245644"/>
              <a:gd name="connsiteY11" fmla="*/ 492919 h 907240"/>
              <a:gd name="connsiteX12" fmla="*/ 600074 w 3245644"/>
              <a:gd name="connsiteY12" fmla="*/ 607219 h 907240"/>
              <a:gd name="connsiteX13" fmla="*/ 659605 w 3245644"/>
              <a:gd name="connsiteY13" fmla="*/ 604838 h 907240"/>
              <a:gd name="connsiteX14" fmla="*/ 683419 w 3245644"/>
              <a:gd name="connsiteY14" fmla="*/ 621506 h 907240"/>
              <a:gd name="connsiteX15" fmla="*/ 731044 w 3245644"/>
              <a:gd name="connsiteY15" fmla="*/ 631032 h 907240"/>
              <a:gd name="connsiteX16" fmla="*/ 770234 w 3245644"/>
              <a:gd name="connsiteY16" fmla="*/ 633397 h 907240"/>
              <a:gd name="connsiteX17" fmla="*/ 834528 w 3245644"/>
              <a:gd name="connsiteY17" fmla="*/ 695309 h 907240"/>
              <a:gd name="connsiteX18" fmla="*/ 895350 w 3245644"/>
              <a:gd name="connsiteY18" fmla="*/ 735807 h 907240"/>
              <a:gd name="connsiteX19" fmla="*/ 1114425 w 3245644"/>
              <a:gd name="connsiteY19" fmla="*/ 733425 h 907240"/>
              <a:gd name="connsiteX20" fmla="*/ 1121569 w 3245644"/>
              <a:gd name="connsiteY20" fmla="*/ 776288 h 907240"/>
              <a:gd name="connsiteX21" fmla="*/ 1233489 w 3245644"/>
              <a:gd name="connsiteY21" fmla="*/ 781050 h 907240"/>
              <a:gd name="connsiteX22" fmla="*/ 1314450 w 3245644"/>
              <a:gd name="connsiteY22" fmla="*/ 795337 h 907240"/>
              <a:gd name="connsiteX23" fmla="*/ 1333500 w 3245644"/>
              <a:gd name="connsiteY23" fmla="*/ 845344 h 907240"/>
              <a:gd name="connsiteX24" fmla="*/ 1428749 w 3245644"/>
              <a:gd name="connsiteY24" fmla="*/ 845344 h 907240"/>
              <a:gd name="connsiteX25" fmla="*/ 1459706 w 3245644"/>
              <a:gd name="connsiteY25" fmla="*/ 888207 h 907240"/>
              <a:gd name="connsiteX26" fmla="*/ 1507331 w 3245644"/>
              <a:gd name="connsiteY26" fmla="*/ 888206 h 907240"/>
              <a:gd name="connsiteX27" fmla="*/ 1513184 w 3245644"/>
              <a:gd name="connsiteY27" fmla="*/ 907240 h 907240"/>
              <a:gd name="connsiteX28" fmla="*/ 1553666 w 3245644"/>
              <a:gd name="connsiteY28" fmla="*/ 907239 h 907240"/>
              <a:gd name="connsiteX29" fmla="*/ 2483644 w 3245644"/>
              <a:gd name="connsiteY29" fmla="*/ 740569 h 907240"/>
              <a:gd name="connsiteX30" fmla="*/ 2481262 w 3245644"/>
              <a:gd name="connsiteY30" fmla="*/ 888206 h 907240"/>
              <a:gd name="connsiteX31" fmla="*/ 3245644 w 3245644"/>
              <a:gd name="connsiteY31" fmla="*/ 888206 h 907240"/>
              <a:gd name="connsiteX0" fmla="*/ 0 w 3245644"/>
              <a:gd name="connsiteY0" fmla="*/ 0 h 907240"/>
              <a:gd name="connsiteX1" fmla="*/ 90487 w 3245644"/>
              <a:gd name="connsiteY1" fmla="*/ 0 h 907240"/>
              <a:gd name="connsiteX2" fmla="*/ 90487 w 3245644"/>
              <a:gd name="connsiteY2" fmla="*/ 40481 h 907240"/>
              <a:gd name="connsiteX3" fmla="*/ 150018 w 3245644"/>
              <a:gd name="connsiteY3" fmla="*/ 54769 h 907240"/>
              <a:gd name="connsiteX4" fmla="*/ 211932 w 3245644"/>
              <a:gd name="connsiteY4" fmla="*/ 161925 h 907240"/>
              <a:gd name="connsiteX5" fmla="*/ 292894 w 3245644"/>
              <a:gd name="connsiteY5" fmla="*/ 266700 h 907240"/>
              <a:gd name="connsiteX6" fmla="*/ 373856 w 3245644"/>
              <a:gd name="connsiteY6" fmla="*/ 419100 h 907240"/>
              <a:gd name="connsiteX7" fmla="*/ 409574 w 3245644"/>
              <a:gd name="connsiteY7" fmla="*/ 438150 h 907240"/>
              <a:gd name="connsiteX8" fmla="*/ 447675 w 3245644"/>
              <a:gd name="connsiteY8" fmla="*/ 435769 h 907240"/>
              <a:gd name="connsiteX9" fmla="*/ 457200 w 3245644"/>
              <a:gd name="connsiteY9" fmla="*/ 478632 h 907240"/>
              <a:gd name="connsiteX10" fmla="*/ 488157 w 3245644"/>
              <a:gd name="connsiteY10" fmla="*/ 500062 h 907240"/>
              <a:gd name="connsiteX11" fmla="*/ 521494 w 3245644"/>
              <a:gd name="connsiteY11" fmla="*/ 492919 h 907240"/>
              <a:gd name="connsiteX12" fmla="*/ 600074 w 3245644"/>
              <a:gd name="connsiteY12" fmla="*/ 607219 h 907240"/>
              <a:gd name="connsiteX13" fmla="*/ 659605 w 3245644"/>
              <a:gd name="connsiteY13" fmla="*/ 604838 h 907240"/>
              <a:gd name="connsiteX14" fmla="*/ 683419 w 3245644"/>
              <a:gd name="connsiteY14" fmla="*/ 621506 h 907240"/>
              <a:gd name="connsiteX15" fmla="*/ 731044 w 3245644"/>
              <a:gd name="connsiteY15" fmla="*/ 631032 h 907240"/>
              <a:gd name="connsiteX16" fmla="*/ 770234 w 3245644"/>
              <a:gd name="connsiteY16" fmla="*/ 633397 h 907240"/>
              <a:gd name="connsiteX17" fmla="*/ 834528 w 3245644"/>
              <a:gd name="connsiteY17" fmla="*/ 695309 h 907240"/>
              <a:gd name="connsiteX18" fmla="*/ 895350 w 3245644"/>
              <a:gd name="connsiteY18" fmla="*/ 735807 h 907240"/>
              <a:gd name="connsiteX19" fmla="*/ 1114425 w 3245644"/>
              <a:gd name="connsiteY19" fmla="*/ 733425 h 907240"/>
              <a:gd name="connsiteX20" fmla="*/ 1121569 w 3245644"/>
              <a:gd name="connsiteY20" fmla="*/ 776288 h 907240"/>
              <a:gd name="connsiteX21" fmla="*/ 1233489 w 3245644"/>
              <a:gd name="connsiteY21" fmla="*/ 781050 h 907240"/>
              <a:gd name="connsiteX22" fmla="*/ 1314450 w 3245644"/>
              <a:gd name="connsiteY22" fmla="*/ 795337 h 907240"/>
              <a:gd name="connsiteX23" fmla="*/ 1333500 w 3245644"/>
              <a:gd name="connsiteY23" fmla="*/ 845344 h 907240"/>
              <a:gd name="connsiteX24" fmla="*/ 1428749 w 3245644"/>
              <a:gd name="connsiteY24" fmla="*/ 845344 h 907240"/>
              <a:gd name="connsiteX25" fmla="*/ 1459706 w 3245644"/>
              <a:gd name="connsiteY25" fmla="*/ 888207 h 907240"/>
              <a:gd name="connsiteX26" fmla="*/ 1507331 w 3245644"/>
              <a:gd name="connsiteY26" fmla="*/ 888206 h 907240"/>
              <a:gd name="connsiteX27" fmla="*/ 1513184 w 3245644"/>
              <a:gd name="connsiteY27" fmla="*/ 907240 h 907240"/>
              <a:gd name="connsiteX28" fmla="*/ 1553666 w 3245644"/>
              <a:gd name="connsiteY28" fmla="*/ 907239 h 907240"/>
              <a:gd name="connsiteX29" fmla="*/ 1613197 w 3245644"/>
              <a:gd name="connsiteY29" fmla="*/ 900095 h 907240"/>
              <a:gd name="connsiteX30" fmla="*/ 2483644 w 3245644"/>
              <a:gd name="connsiteY30" fmla="*/ 740569 h 907240"/>
              <a:gd name="connsiteX31" fmla="*/ 2481262 w 3245644"/>
              <a:gd name="connsiteY31" fmla="*/ 888206 h 907240"/>
              <a:gd name="connsiteX32" fmla="*/ 3245644 w 3245644"/>
              <a:gd name="connsiteY32" fmla="*/ 888206 h 907240"/>
              <a:gd name="connsiteX0" fmla="*/ 0 w 3245644"/>
              <a:gd name="connsiteY0" fmla="*/ 0 h 954864"/>
              <a:gd name="connsiteX1" fmla="*/ 90487 w 3245644"/>
              <a:gd name="connsiteY1" fmla="*/ 0 h 954864"/>
              <a:gd name="connsiteX2" fmla="*/ 90487 w 3245644"/>
              <a:gd name="connsiteY2" fmla="*/ 40481 h 954864"/>
              <a:gd name="connsiteX3" fmla="*/ 150018 w 3245644"/>
              <a:gd name="connsiteY3" fmla="*/ 54769 h 954864"/>
              <a:gd name="connsiteX4" fmla="*/ 211932 w 3245644"/>
              <a:gd name="connsiteY4" fmla="*/ 161925 h 954864"/>
              <a:gd name="connsiteX5" fmla="*/ 292894 w 3245644"/>
              <a:gd name="connsiteY5" fmla="*/ 266700 h 954864"/>
              <a:gd name="connsiteX6" fmla="*/ 373856 w 3245644"/>
              <a:gd name="connsiteY6" fmla="*/ 419100 h 954864"/>
              <a:gd name="connsiteX7" fmla="*/ 409574 w 3245644"/>
              <a:gd name="connsiteY7" fmla="*/ 438150 h 954864"/>
              <a:gd name="connsiteX8" fmla="*/ 447675 w 3245644"/>
              <a:gd name="connsiteY8" fmla="*/ 435769 h 954864"/>
              <a:gd name="connsiteX9" fmla="*/ 457200 w 3245644"/>
              <a:gd name="connsiteY9" fmla="*/ 478632 h 954864"/>
              <a:gd name="connsiteX10" fmla="*/ 488157 w 3245644"/>
              <a:gd name="connsiteY10" fmla="*/ 500062 h 954864"/>
              <a:gd name="connsiteX11" fmla="*/ 521494 w 3245644"/>
              <a:gd name="connsiteY11" fmla="*/ 492919 h 954864"/>
              <a:gd name="connsiteX12" fmla="*/ 600074 w 3245644"/>
              <a:gd name="connsiteY12" fmla="*/ 607219 h 954864"/>
              <a:gd name="connsiteX13" fmla="*/ 659605 w 3245644"/>
              <a:gd name="connsiteY13" fmla="*/ 604838 h 954864"/>
              <a:gd name="connsiteX14" fmla="*/ 683419 w 3245644"/>
              <a:gd name="connsiteY14" fmla="*/ 621506 h 954864"/>
              <a:gd name="connsiteX15" fmla="*/ 731044 w 3245644"/>
              <a:gd name="connsiteY15" fmla="*/ 631032 h 954864"/>
              <a:gd name="connsiteX16" fmla="*/ 770234 w 3245644"/>
              <a:gd name="connsiteY16" fmla="*/ 633397 h 954864"/>
              <a:gd name="connsiteX17" fmla="*/ 834528 w 3245644"/>
              <a:gd name="connsiteY17" fmla="*/ 695309 h 954864"/>
              <a:gd name="connsiteX18" fmla="*/ 895350 w 3245644"/>
              <a:gd name="connsiteY18" fmla="*/ 735807 h 954864"/>
              <a:gd name="connsiteX19" fmla="*/ 1114425 w 3245644"/>
              <a:gd name="connsiteY19" fmla="*/ 733425 h 954864"/>
              <a:gd name="connsiteX20" fmla="*/ 1121569 w 3245644"/>
              <a:gd name="connsiteY20" fmla="*/ 776288 h 954864"/>
              <a:gd name="connsiteX21" fmla="*/ 1233489 w 3245644"/>
              <a:gd name="connsiteY21" fmla="*/ 781050 h 954864"/>
              <a:gd name="connsiteX22" fmla="*/ 1314450 w 3245644"/>
              <a:gd name="connsiteY22" fmla="*/ 795337 h 954864"/>
              <a:gd name="connsiteX23" fmla="*/ 1333500 w 3245644"/>
              <a:gd name="connsiteY23" fmla="*/ 845344 h 954864"/>
              <a:gd name="connsiteX24" fmla="*/ 1428749 w 3245644"/>
              <a:gd name="connsiteY24" fmla="*/ 845344 h 954864"/>
              <a:gd name="connsiteX25" fmla="*/ 1459706 w 3245644"/>
              <a:gd name="connsiteY25" fmla="*/ 888207 h 954864"/>
              <a:gd name="connsiteX26" fmla="*/ 1507331 w 3245644"/>
              <a:gd name="connsiteY26" fmla="*/ 888206 h 954864"/>
              <a:gd name="connsiteX27" fmla="*/ 1513184 w 3245644"/>
              <a:gd name="connsiteY27" fmla="*/ 907240 h 954864"/>
              <a:gd name="connsiteX28" fmla="*/ 1553666 w 3245644"/>
              <a:gd name="connsiteY28" fmla="*/ 907239 h 954864"/>
              <a:gd name="connsiteX29" fmla="*/ 1558428 w 3245644"/>
              <a:gd name="connsiteY29" fmla="*/ 954864 h 954864"/>
              <a:gd name="connsiteX30" fmla="*/ 2483644 w 3245644"/>
              <a:gd name="connsiteY30" fmla="*/ 740569 h 954864"/>
              <a:gd name="connsiteX31" fmla="*/ 2481262 w 3245644"/>
              <a:gd name="connsiteY31" fmla="*/ 888206 h 954864"/>
              <a:gd name="connsiteX32" fmla="*/ 3245644 w 3245644"/>
              <a:gd name="connsiteY32" fmla="*/ 888206 h 954864"/>
              <a:gd name="connsiteX0" fmla="*/ 0 w 3245644"/>
              <a:gd name="connsiteY0" fmla="*/ 0 h 954864"/>
              <a:gd name="connsiteX1" fmla="*/ 90487 w 3245644"/>
              <a:gd name="connsiteY1" fmla="*/ 0 h 954864"/>
              <a:gd name="connsiteX2" fmla="*/ 90487 w 3245644"/>
              <a:gd name="connsiteY2" fmla="*/ 40481 h 954864"/>
              <a:gd name="connsiteX3" fmla="*/ 150018 w 3245644"/>
              <a:gd name="connsiteY3" fmla="*/ 54769 h 954864"/>
              <a:gd name="connsiteX4" fmla="*/ 211932 w 3245644"/>
              <a:gd name="connsiteY4" fmla="*/ 161925 h 954864"/>
              <a:gd name="connsiteX5" fmla="*/ 292894 w 3245644"/>
              <a:gd name="connsiteY5" fmla="*/ 266700 h 954864"/>
              <a:gd name="connsiteX6" fmla="*/ 373856 w 3245644"/>
              <a:gd name="connsiteY6" fmla="*/ 419100 h 954864"/>
              <a:gd name="connsiteX7" fmla="*/ 409574 w 3245644"/>
              <a:gd name="connsiteY7" fmla="*/ 438150 h 954864"/>
              <a:gd name="connsiteX8" fmla="*/ 447675 w 3245644"/>
              <a:gd name="connsiteY8" fmla="*/ 435769 h 954864"/>
              <a:gd name="connsiteX9" fmla="*/ 457200 w 3245644"/>
              <a:gd name="connsiteY9" fmla="*/ 478632 h 954864"/>
              <a:gd name="connsiteX10" fmla="*/ 488157 w 3245644"/>
              <a:gd name="connsiteY10" fmla="*/ 500062 h 954864"/>
              <a:gd name="connsiteX11" fmla="*/ 521494 w 3245644"/>
              <a:gd name="connsiteY11" fmla="*/ 492919 h 954864"/>
              <a:gd name="connsiteX12" fmla="*/ 600074 w 3245644"/>
              <a:gd name="connsiteY12" fmla="*/ 607219 h 954864"/>
              <a:gd name="connsiteX13" fmla="*/ 659605 w 3245644"/>
              <a:gd name="connsiteY13" fmla="*/ 604838 h 954864"/>
              <a:gd name="connsiteX14" fmla="*/ 683419 w 3245644"/>
              <a:gd name="connsiteY14" fmla="*/ 621506 h 954864"/>
              <a:gd name="connsiteX15" fmla="*/ 731044 w 3245644"/>
              <a:gd name="connsiteY15" fmla="*/ 631032 h 954864"/>
              <a:gd name="connsiteX16" fmla="*/ 770234 w 3245644"/>
              <a:gd name="connsiteY16" fmla="*/ 633397 h 954864"/>
              <a:gd name="connsiteX17" fmla="*/ 834528 w 3245644"/>
              <a:gd name="connsiteY17" fmla="*/ 695309 h 954864"/>
              <a:gd name="connsiteX18" fmla="*/ 895350 w 3245644"/>
              <a:gd name="connsiteY18" fmla="*/ 735807 h 954864"/>
              <a:gd name="connsiteX19" fmla="*/ 1114425 w 3245644"/>
              <a:gd name="connsiteY19" fmla="*/ 733425 h 954864"/>
              <a:gd name="connsiteX20" fmla="*/ 1121569 w 3245644"/>
              <a:gd name="connsiteY20" fmla="*/ 776288 h 954864"/>
              <a:gd name="connsiteX21" fmla="*/ 1233489 w 3245644"/>
              <a:gd name="connsiteY21" fmla="*/ 781050 h 954864"/>
              <a:gd name="connsiteX22" fmla="*/ 1314450 w 3245644"/>
              <a:gd name="connsiteY22" fmla="*/ 795337 h 954864"/>
              <a:gd name="connsiteX23" fmla="*/ 1333500 w 3245644"/>
              <a:gd name="connsiteY23" fmla="*/ 845344 h 954864"/>
              <a:gd name="connsiteX24" fmla="*/ 1428749 w 3245644"/>
              <a:gd name="connsiteY24" fmla="*/ 845344 h 954864"/>
              <a:gd name="connsiteX25" fmla="*/ 1459706 w 3245644"/>
              <a:gd name="connsiteY25" fmla="*/ 888207 h 954864"/>
              <a:gd name="connsiteX26" fmla="*/ 1507331 w 3245644"/>
              <a:gd name="connsiteY26" fmla="*/ 888206 h 954864"/>
              <a:gd name="connsiteX27" fmla="*/ 1513184 w 3245644"/>
              <a:gd name="connsiteY27" fmla="*/ 907240 h 954864"/>
              <a:gd name="connsiteX28" fmla="*/ 1553666 w 3245644"/>
              <a:gd name="connsiteY28" fmla="*/ 907239 h 954864"/>
              <a:gd name="connsiteX29" fmla="*/ 1558428 w 3245644"/>
              <a:gd name="connsiteY29" fmla="*/ 954864 h 954864"/>
              <a:gd name="connsiteX30" fmla="*/ 1732259 w 3245644"/>
              <a:gd name="connsiteY30" fmla="*/ 912002 h 954864"/>
              <a:gd name="connsiteX31" fmla="*/ 2483644 w 3245644"/>
              <a:gd name="connsiteY31" fmla="*/ 740569 h 954864"/>
              <a:gd name="connsiteX32" fmla="*/ 2481262 w 3245644"/>
              <a:gd name="connsiteY32" fmla="*/ 888206 h 954864"/>
              <a:gd name="connsiteX33" fmla="*/ 3245644 w 3245644"/>
              <a:gd name="connsiteY33" fmla="*/ 888206 h 954864"/>
              <a:gd name="connsiteX0" fmla="*/ 0 w 3245644"/>
              <a:gd name="connsiteY0" fmla="*/ 0 h 954864"/>
              <a:gd name="connsiteX1" fmla="*/ 90487 w 3245644"/>
              <a:gd name="connsiteY1" fmla="*/ 0 h 954864"/>
              <a:gd name="connsiteX2" fmla="*/ 90487 w 3245644"/>
              <a:gd name="connsiteY2" fmla="*/ 40481 h 954864"/>
              <a:gd name="connsiteX3" fmla="*/ 150018 w 3245644"/>
              <a:gd name="connsiteY3" fmla="*/ 54769 h 954864"/>
              <a:gd name="connsiteX4" fmla="*/ 211932 w 3245644"/>
              <a:gd name="connsiteY4" fmla="*/ 161925 h 954864"/>
              <a:gd name="connsiteX5" fmla="*/ 292894 w 3245644"/>
              <a:gd name="connsiteY5" fmla="*/ 266700 h 954864"/>
              <a:gd name="connsiteX6" fmla="*/ 373856 w 3245644"/>
              <a:gd name="connsiteY6" fmla="*/ 419100 h 954864"/>
              <a:gd name="connsiteX7" fmla="*/ 409574 w 3245644"/>
              <a:gd name="connsiteY7" fmla="*/ 438150 h 954864"/>
              <a:gd name="connsiteX8" fmla="*/ 447675 w 3245644"/>
              <a:gd name="connsiteY8" fmla="*/ 435769 h 954864"/>
              <a:gd name="connsiteX9" fmla="*/ 457200 w 3245644"/>
              <a:gd name="connsiteY9" fmla="*/ 478632 h 954864"/>
              <a:gd name="connsiteX10" fmla="*/ 488157 w 3245644"/>
              <a:gd name="connsiteY10" fmla="*/ 500062 h 954864"/>
              <a:gd name="connsiteX11" fmla="*/ 521494 w 3245644"/>
              <a:gd name="connsiteY11" fmla="*/ 492919 h 954864"/>
              <a:gd name="connsiteX12" fmla="*/ 600074 w 3245644"/>
              <a:gd name="connsiteY12" fmla="*/ 607219 h 954864"/>
              <a:gd name="connsiteX13" fmla="*/ 659605 w 3245644"/>
              <a:gd name="connsiteY13" fmla="*/ 604838 h 954864"/>
              <a:gd name="connsiteX14" fmla="*/ 683419 w 3245644"/>
              <a:gd name="connsiteY14" fmla="*/ 621506 h 954864"/>
              <a:gd name="connsiteX15" fmla="*/ 731044 w 3245644"/>
              <a:gd name="connsiteY15" fmla="*/ 631032 h 954864"/>
              <a:gd name="connsiteX16" fmla="*/ 770234 w 3245644"/>
              <a:gd name="connsiteY16" fmla="*/ 633397 h 954864"/>
              <a:gd name="connsiteX17" fmla="*/ 834528 w 3245644"/>
              <a:gd name="connsiteY17" fmla="*/ 695309 h 954864"/>
              <a:gd name="connsiteX18" fmla="*/ 895350 w 3245644"/>
              <a:gd name="connsiteY18" fmla="*/ 735807 h 954864"/>
              <a:gd name="connsiteX19" fmla="*/ 1114425 w 3245644"/>
              <a:gd name="connsiteY19" fmla="*/ 733425 h 954864"/>
              <a:gd name="connsiteX20" fmla="*/ 1121569 w 3245644"/>
              <a:gd name="connsiteY20" fmla="*/ 776288 h 954864"/>
              <a:gd name="connsiteX21" fmla="*/ 1233489 w 3245644"/>
              <a:gd name="connsiteY21" fmla="*/ 781050 h 954864"/>
              <a:gd name="connsiteX22" fmla="*/ 1314450 w 3245644"/>
              <a:gd name="connsiteY22" fmla="*/ 795337 h 954864"/>
              <a:gd name="connsiteX23" fmla="*/ 1333500 w 3245644"/>
              <a:gd name="connsiteY23" fmla="*/ 845344 h 954864"/>
              <a:gd name="connsiteX24" fmla="*/ 1428749 w 3245644"/>
              <a:gd name="connsiteY24" fmla="*/ 845344 h 954864"/>
              <a:gd name="connsiteX25" fmla="*/ 1459706 w 3245644"/>
              <a:gd name="connsiteY25" fmla="*/ 888207 h 954864"/>
              <a:gd name="connsiteX26" fmla="*/ 1507331 w 3245644"/>
              <a:gd name="connsiteY26" fmla="*/ 888206 h 954864"/>
              <a:gd name="connsiteX27" fmla="*/ 1513184 w 3245644"/>
              <a:gd name="connsiteY27" fmla="*/ 907240 h 954864"/>
              <a:gd name="connsiteX28" fmla="*/ 1553666 w 3245644"/>
              <a:gd name="connsiteY28" fmla="*/ 907239 h 954864"/>
              <a:gd name="connsiteX29" fmla="*/ 1558428 w 3245644"/>
              <a:gd name="connsiteY29" fmla="*/ 954864 h 954864"/>
              <a:gd name="connsiteX30" fmla="*/ 1672728 w 3245644"/>
              <a:gd name="connsiteY30" fmla="*/ 952483 h 954864"/>
              <a:gd name="connsiteX31" fmla="*/ 2483644 w 3245644"/>
              <a:gd name="connsiteY31" fmla="*/ 740569 h 954864"/>
              <a:gd name="connsiteX32" fmla="*/ 2481262 w 3245644"/>
              <a:gd name="connsiteY32" fmla="*/ 888206 h 954864"/>
              <a:gd name="connsiteX33" fmla="*/ 3245644 w 3245644"/>
              <a:gd name="connsiteY33" fmla="*/ 888206 h 954864"/>
              <a:gd name="connsiteX0" fmla="*/ 0 w 3245644"/>
              <a:gd name="connsiteY0" fmla="*/ 0 h 954864"/>
              <a:gd name="connsiteX1" fmla="*/ 90487 w 3245644"/>
              <a:gd name="connsiteY1" fmla="*/ 0 h 954864"/>
              <a:gd name="connsiteX2" fmla="*/ 90487 w 3245644"/>
              <a:gd name="connsiteY2" fmla="*/ 40481 h 954864"/>
              <a:gd name="connsiteX3" fmla="*/ 150018 w 3245644"/>
              <a:gd name="connsiteY3" fmla="*/ 54769 h 954864"/>
              <a:gd name="connsiteX4" fmla="*/ 211932 w 3245644"/>
              <a:gd name="connsiteY4" fmla="*/ 161925 h 954864"/>
              <a:gd name="connsiteX5" fmla="*/ 292894 w 3245644"/>
              <a:gd name="connsiteY5" fmla="*/ 266700 h 954864"/>
              <a:gd name="connsiteX6" fmla="*/ 373856 w 3245644"/>
              <a:gd name="connsiteY6" fmla="*/ 419100 h 954864"/>
              <a:gd name="connsiteX7" fmla="*/ 409574 w 3245644"/>
              <a:gd name="connsiteY7" fmla="*/ 438150 h 954864"/>
              <a:gd name="connsiteX8" fmla="*/ 447675 w 3245644"/>
              <a:gd name="connsiteY8" fmla="*/ 435769 h 954864"/>
              <a:gd name="connsiteX9" fmla="*/ 457200 w 3245644"/>
              <a:gd name="connsiteY9" fmla="*/ 478632 h 954864"/>
              <a:gd name="connsiteX10" fmla="*/ 488157 w 3245644"/>
              <a:gd name="connsiteY10" fmla="*/ 500062 h 954864"/>
              <a:gd name="connsiteX11" fmla="*/ 521494 w 3245644"/>
              <a:gd name="connsiteY11" fmla="*/ 492919 h 954864"/>
              <a:gd name="connsiteX12" fmla="*/ 600074 w 3245644"/>
              <a:gd name="connsiteY12" fmla="*/ 607219 h 954864"/>
              <a:gd name="connsiteX13" fmla="*/ 659605 w 3245644"/>
              <a:gd name="connsiteY13" fmla="*/ 604838 h 954864"/>
              <a:gd name="connsiteX14" fmla="*/ 683419 w 3245644"/>
              <a:gd name="connsiteY14" fmla="*/ 621506 h 954864"/>
              <a:gd name="connsiteX15" fmla="*/ 731044 w 3245644"/>
              <a:gd name="connsiteY15" fmla="*/ 631032 h 954864"/>
              <a:gd name="connsiteX16" fmla="*/ 770234 w 3245644"/>
              <a:gd name="connsiteY16" fmla="*/ 633397 h 954864"/>
              <a:gd name="connsiteX17" fmla="*/ 834528 w 3245644"/>
              <a:gd name="connsiteY17" fmla="*/ 695309 h 954864"/>
              <a:gd name="connsiteX18" fmla="*/ 895350 w 3245644"/>
              <a:gd name="connsiteY18" fmla="*/ 735807 h 954864"/>
              <a:gd name="connsiteX19" fmla="*/ 1114425 w 3245644"/>
              <a:gd name="connsiteY19" fmla="*/ 733425 h 954864"/>
              <a:gd name="connsiteX20" fmla="*/ 1121569 w 3245644"/>
              <a:gd name="connsiteY20" fmla="*/ 776288 h 954864"/>
              <a:gd name="connsiteX21" fmla="*/ 1233489 w 3245644"/>
              <a:gd name="connsiteY21" fmla="*/ 781050 h 954864"/>
              <a:gd name="connsiteX22" fmla="*/ 1314450 w 3245644"/>
              <a:gd name="connsiteY22" fmla="*/ 795337 h 954864"/>
              <a:gd name="connsiteX23" fmla="*/ 1333500 w 3245644"/>
              <a:gd name="connsiteY23" fmla="*/ 845344 h 954864"/>
              <a:gd name="connsiteX24" fmla="*/ 1428749 w 3245644"/>
              <a:gd name="connsiteY24" fmla="*/ 845344 h 954864"/>
              <a:gd name="connsiteX25" fmla="*/ 1459706 w 3245644"/>
              <a:gd name="connsiteY25" fmla="*/ 888207 h 954864"/>
              <a:gd name="connsiteX26" fmla="*/ 1507331 w 3245644"/>
              <a:gd name="connsiteY26" fmla="*/ 888206 h 954864"/>
              <a:gd name="connsiteX27" fmla="*/ 1513184 w 3245644"/>
              <a:gd name="connsiteY27" fmla="*/ 907240 h 954864"/>
              <a:gd name="connsiteX28" fmla="*/ 1553666 w 3245644"/>
              <a:gd name="connsiteY28" fmla="*/ 907239 h 954864"/>
              <a:gd name="connsiteX29" fmla="*/ 1558428 w 3245644"/>
              <a:gd name="connsiteY29" fmla="*/ 954864 h 954864"/>
              <a:gd name="connsiteX30" fmla="*/ 1672728 w 3245644"/>
              <a:gd name="connsiteY30" fmla="*/ 952483 h 954864"/>
              <a:gd name="connsiteX31" fmla="*/ 1837034 w 3245644"/>
              <a:gd name="connsiteY31" fmla="*/ 904858 h 954864"/>
              <a:gd name="connsiteX32" fmla="*/ 2483644 w 3245644"/>
              <a:gd name="connsiteY32" fmla="*/ 740569 h 954864"/>
              <a:gd name="connsiteX33" fmla="*/ 2481262 w 3245644"/>
              <a:gd name="connsiteY33" fmla="*/ 888206 h 954864"/>
              <a:gd name="connsiteX34" fmla="*/ 3245644 w 3245644"/>
              <a:gd name="connsiteY34" fmla="*/ 888206 h 954864"/>
              <a:gd name="connsiteX0" fmla="*/ 0 w 3245644"/>
              <a:gd name="connsiteY0" fmla="*/ 0 h 1023920"/>
              <a:gd name="connsiteX1" fmla="*/ 90487 w 3245644"/>
              <a:gd name="connsiteY1" fmla="*/ 0 h 1023920"/>
              <a:gd name="connsiteX2" fmla="*/ 90487 w 3245644"/>
              <a:gd name="connsiteY2" fmla="*/ 40481 h 1023920"/>
              <a:gd name="connsiteX3" fmla="*/ 150018 w 3245644"/>
              <a:gd name="connsiteY3" fmla="*/ 54769 h 1023920"/>
              <a:gd name="connsiteX4" fmla="*/ 211932 w 3245644"/>
              <a:gd name="connsiteY4" fmla="*/ 161925 h 1023920"/>
              <a:gd name="connsiteX5" fmla="*/ 292894 w 3245644"/>
              <a:gd name="connsiteY5" fmla="*/ 266700 h 1023920"/>
              <a:gd name="connsiteX6" fmla="*/ 373856 w 3245644"/>
              <a:gd name="connsiteY6" fmla="*/ 419100 h 1023920"/>
              <a:gd name="connsiteX7" fmla="*/ 409574 w 3245644"/>
              <a:gd name="connsiteY7" fmla="*/ 438150 h 1023920"/>
              <a:gd name="connsiteX8" fmla="*/ 447675 w 3245644"/>
              <a:gd name="connsiteY8" fmla="*/ 435769 h 1023920"/>
              <a:gd name="connsiteX9" fmla="*/ 457200 w 3245644"/>
              <a:gd name="connsiteY9" fmla="*/ 478632 h 1023920"/>
              <a:gd name="connsiteX10" fmla="*/ 488157 w 3245644"/>
              <a:gd name="connsiteY10" fmla="*/ 500062 h 1023920"/>
              <a:gd name="connsiteX11" fmla="*/ 521494 w 3245644"/>
              <a:gd name="connsiteY11" fmla="*/ 492919 h 1023920"/>
              <a:gd name="connsiteX12" fmla="*/ 600074 w 3245644"/>
              <a:gd name="connsiteY12" fmla="*/ 607219 h 1023920"/>
              <a:gd name="connsiteX13" fmla="*/ 659605 w 3245644"/>
              <a:gd name="connsiteY13" fmla="*/ 604838 h 1023920"/>
              <a:gd name="connsiteX14" fmla="*/ 683419 w 3245644"/>
              <a:gd name="connsiteY14" fmla="*/ 621506 h 1023920"/>
              <a:gd name="connsiteX15" fmla="*/ 731044 w 3245644"/>
              <a:gd name="connsiteY15" fmla="*/ 631032 h 1023920"/>
              <a:gd name="connsiteX16" fmla="*/ 770234 w 3245644"/>
              <a:gd name="connsiteY16" fmla="*/ 633397 h 1023920"/>
              <a:gd name="connsiteX17" fmla="*/ 834528 w 3245644"/>
              <a:gd name="connsiteY17" fmla="*/ 695309 h 1023920"/>
              <a:gd name="connsiteX18" fmla="*/ 895350 w 3245644"/>
              <a:gd name="connsiteY18" fmla="*/ 735807 h 1023920"/>
              <a:gd name="connsiteX19" fmla="*/ 1114425 w 3245644"/>
              <a:gd name="connsiteY19" fmla="*/ 733425 h 1023920"/>
              <a:gd name="connsiteX20" fmla="*/ 1121569 w 3245644"/>
              <a:gd name="connsiteY20" fmla="*/ 776288 h 1023920"/>
              <a:gd name="connsiteX21" fmla="*/ 1233489 w 3245644"/>
              <a:gd name="connsiteY21" fmla="*/ 781050 h 1023920"/>
              <a:gd name="connsiteX22" fmla="*/ 1314450 w 3245644"/>
              <a:gd name="connsiteY22" fmla="*/ 795337 h 1023920"/>
              <a:gd name="connsiteX23" fmla="*/ 1333500 w 3245644"/>
              <a:gd name="connsiteY23" fmla="*/ 845344 h 1023920"/>
              <a:gd name="connsiteX24" fmla="*/ 1428749 w 3245644"/>
              <a:gd name="connsiteY24" fmla="*/ 845344 h 1023920"/>
              <a:gd name="connsiteX25" fmla="*/ 1459706 w 3245644"/>
              <a:gd name="connsiteY25" fmla="*/ 888207 h 1023920"/>
              <a:gd name="connsiteX26" fmla="*/ 1507331 w 3245644"/>
              <a:gd name="connsiteY26" fmla="*/ 888206 h 1023920"/>
              <a:gd name="connsiteX27" fmla="*/ 1513184 w 3245644"/>
              <a:gd name="connsiteY27" fmla="*/ 907240 h 1023920"/>
              <a:gd name="connsiteX28" fmla="*/ 1553666 w 3245644"/>
              <a:gd name="connsiteY28" fmla="*/ 907239 h 1023920"/>
              <a:gd name="connsiteX29" fmla="*/ 1558428 w 3245644"/>
              <a:gd name="connsiteY29" fmla="*/ 954864 h 1023920"/>
              <a:gd name="connsiteX30" fmla="*/ 1672728 w 3245644"/>
              <a:gd name="connsiteY30" fmla="*/ 952483 h 1023920"/>
              <a:gd name="connsiteX31" fmla="*/ 1667965 w 3245644"/>
              <a:gd name="connsiteY31" fmla="*/ 1023920 h 1023920"/>
              <a:gd name="connsiteX32" fmla="*/ 2483644 w 3245644"/>
              <a:gd name="connsiteY32" fmla="*/ 740569 h 1023920"/>
              <a:gd name="connsiteX33" fmla="*/ 2481262 w 3245644"/>
              <a:gd name="connsiteY33" fmla="*/ 888206 h 1023920"/>
              <a:gd name="connsiteX34" fmla="*/ 3245644 w 3245644"/>
              <a:gd name="connsiteY34" fmla="*/ 888206 h 1023920"/>
              <a:gd name="connsiteX0" fmla="*/ 0 w 3245644"/>
              <a:gd name="connsiteY0" fmla="*/ 0 h 1023920"/>
              <a:gd name="connsiteX1" fmla="*/ 90487 w 3245644"/>
              <a:gd name="connsiteY1" fmla="*/ 0 h 1023920"/>
              <a:gd name="connsiteX2" fmla="*/ 90487 w 3245644"/>
              <a:gd name="connsiteY2" fmla="*/ 40481 h 1023920"/>
              <a:gd name="connsiteX3" fmla="*/ 150018 w 3245644"/>
              <a:gd name="connsiteY3" fmla="*/ 54769 h 1023920"/>
              <a:gd name="connsiteX4" fmla="*/ 211932 w 3245644"/>
              <a:gd name="connsiteY4" fmla="*/ 161925 h 1023920"/>
              <a:gd name="connsiteX5" fmla="*/ 292894 w 3245644"/>
              <a:gd name="connsiteY5" fmla="*/ 266700 h 1023920"/>
              <a:gd name="connsiteX6" fmla="*/ 373856 w 3245644"/>
              <a:gd name="connsiteY6" fmla="*/ 419100 h 1023920"/>
              <a:gd name="connsiteX7" fmla="*/ 409574 w 3245644"/>
              <a:gd name="connsiteY7" fmla="*/ 438150 h 1023920"/>
              <a:gd name="connsiteX8" fmla="*/ 447675 w 3245644"/>
              <a:gd name="connsiteY8" fmla="*/ 435769 h 1023920"/>
              <a:gd name="connsiteX9" fmla="*/ 457200 w 3245644"/>
              <a:gd name="connsiteY9" fmla="*/ 478632 h 1023920"/>
              <a:gd name="connsiteX10" fmla="*/ 488157 w 3245644"/>
              <a:gd name="connsiteY10" fmla="*/ 500062 h 1023920"/>
              <a:gd name="connsiteX11" fmla="*/ 521494 w 3245644"/>
              <a:gd name="connsiteY11" fmla="*/ 492919 h 1023920"/>
              <a:gd name="connsiteX12" fmla="*/ 600074 w 3245644"/>
              <a:gd name="connsiteY12" fmla="*/ 607219 h 1023920"/>
              <a:gd name="connsiteX13" fmla="*/ 659605 w 3245644"/>
              <a:gd name="connsiteY13" fmla="*/ 604838 h 1023920"/>
              <a:gd name="connsiteX14" fmla="*/ 683419 w 3245644"/>
              <a:gd name="connsiteY14" fmla="*/ 621506 h 1023920"/>
              <a:gd name="connsiteX15" fmla="*/ 731044 w 3245644"/>
              <a:gd name="connsiteY15" fmla="*/ 631032 h 1023920"/>
              <a:gd name="connsiteX16" fmla="*/ 770234 w 3245644"/>
              <a:gd name="connsiteY16" fmla="*/ 633397 h 1023920"/>
              <a:gd name="connsiteX17" fmla="*/ 834528 w 3245644"/>
              <a:gd name="connsiteY17" fmla="*/ 695309 h 1023920"/>
              <a:gd name="connsiteX18" fmla="*/ 895350 w 3245644"/>
              <a:gd name="connsiteY18" fmla="*/ 735807 h 1023920"/>
              <a:gd name="connsiteX19" fmla="*/ 1114425 w 3245644"/>
              <a:gd name="connsiteY19" fmla="*/ 733425 h 1023920"/>
              <a:gd name="connsiteX20" fmla="*/ 1121569 w 3245644"/>
              <a:gd name="connsiteY20" fmla="*/ 776288 h 1023920"/>
              <a:gd name="connsiteX21" fmla="*/ 1233489 w 3245644"/>
              <a:gd name="connsiteY21" fmla="*/ 781050 h 1023920"/>
              <a:gd name="connsiteX22" fmla="*/ 1314450 w 3245644"/>
              <a:gd name="connsiteY22" fmla="*/ 795337 h 1023920"/>
              <a:gd name="connsiteX23" fmla="*/ 1333500 w 3245644"/>
              <a:gd name="connsiteY23" fmla="*/ 845344 h 1023920"/>
              <a:gd name="connsiteX24" fmla="*/ 1428749 w 3245644"/>
              <a:gd name="connsiteY24" fmla="*/ 845344 h 1023920"/>
              <a:gd name="connsiteX25" fmla="*/ 1459706 w 3245644"/>
              <a:gd name="connsiteY25" fmla="*/ 888207 h 1023920"/>
              <a:gd name="connsiteX26" fmla="*/ 1507331 w 3245644"/>
              <a:gd name="connsiteY26" fmla="*/ 888206 h 1023920"/>
              <a:gd name="connsiteX27" fmla="*/ 1513184 w 3245644"/>
              <a:gd name="connsiteY27" fmla="*/ 907240 h 1023920"/>
              <a:gd name="connsiteX28" fmla="*/ 1553666 w 3245644"/>
              <a:gd name="connsiteY28" fmla="*/ 907239 h 1023920"/>
              <a:gd name="connsiteX29" fmla="*/ 1558428 w 3245644"/>
              <a:gd name="connsiteY29" fmla="*/ 954864 h 1023920"/>
              <a:gd name="connsiteX30" fmla="*/ 1672728 w 3245644"/>
              <a:gd name="connsiteY30" fmla="*/ 952483 h 1023920"/>
              <a:gd name="connsiteX31" fmla="*/ 1667965 w 3245644"/>
              <a:gd name="connsiteY31" fmla="*/ 1023920 h 1023920"/>
              <a:gd name="connsiteX32" fmla="*/ 1964532 w 3245644"/>
              <a:gd name="connsiteY32" fmla="*/ 1019175 h 1023920"/>
              <a:gd name="connsiteX33" fmla="*/ 2481262 w 3245644"/>
              <a:gd name="connsiteY33" fmla="*/ 888206 h 1023920"/>
              <a:gd name="connsiteX34" fmla="*/ 3245644 w 3245644"/>
              <a:gd name="connsiteY34" fmla="*/ 888206 h 1023920"/>
              <a:gd name="connsiteX0" fmla="*/ 0 w 3245644"/>
              <a:gd name="connsiteY0" fmla="*/ 0 h 1023920"/>
              <a:gd name="connsiteX1" fmla="*/ 90487 w 3245644"/>
              <a:gd name="connsiteY1" fmla="*/ 0 h 1023920"/>
              <a:gd name="connsiteX2" fmla="*/ 90487 w 3245644"/>
              <a:gd name="connsiteY2" fmla="*/ 40481 h 1023920"/>
              <a:gd name="connsiteX3" fmla="*/ 150018 w 3245644"/>
              <a:gd name="connsiteY3" fmla="*/ 54769 h 1023920"/>
              <a:gd name="connsiteX4" fmla="*/ 211932 w 3245644"/>
              <a:gd name="connsiteY4" fmla="*/ 161925 h 1023920"/>
              <a:gd name="connsiteX5" fmla="*/ 292894 w 3245644"/>
              <a:gd name="connsiteY5" fmla="*/ 266700 h 1023920"/>
              <a:gd name="connsiteX6" fmla="*/ 373856 w 3245644"/>
              <a:gd name="connsiteY6" fmla="*/ 419100 h 1023920"/>
              <a:gd name="connsiteX7" fmla="*/ 409574 w 3245644"/>
              <a:gd name="connsiteY7" fmla="*/ 438150 h 1023920"/>
              <a:gd name="connsiteX8" fmla="*/ 447675 w 3245644"/>
              <a:gd name="connsiteY8" fmla="*/ 435769 h 1023920"/>
              <a:gd name="connsiteX9" fmla="*/ 457200 w 3245644"/>
              <a:gd name="connsiteY9" fmla="*/ 478632 h 1023920"/>
              <a:gd name="connsiteX10" fmla="*/ 488157 w 3245644"/>
              <a:gd name="connsiteY10" fmla="*/ 500062 h 1023920"/>
              <a:gd name="connsiteX11" fmla="*/ 521494 w 3245644"/>
              <a:gd name="connsiteY11" fmla="*/ 492919 h 1023920"/>
              <a:gd name="connsiteX12" fmla="*/ 600074 w 3245644"/>
              <a:gd name="connsiteY12" fmla="*/ 607219 h 1023920"/>
              <a:gd name="connsiteX13" fmla="*/ 659605 w 3245644"/>
              <a:gd name="connsiteY13" fmla="*/ 604838 h 1023920"/>
              <a:gd name="connsiteX14" fmla="*/ 683419 w 3245644"/>
              <a:gd name="connsiteY14" fmla="*/ 621506 h 1023920"/>
              <a:gd name="connsiteX15" fmla="*/ 731044 w 3245644"/>
              <a:gd name="connsiteY15" fmla="*/ 631032 h 1023920"/>
              <a:gd name="connsiteX16" fmla="*/ 770234 w 3245644"/>
              <a:gd name="connsiteY16" fmla="*/ 633397 h 1023920"/>
              <a:gd name="connsiteX17" fmla="*/ 834528 w 3245644"/>
              <a:gd name="connsiteY17" fmla="*/ 695309 h 1023920"/>
              <a:gd name="connsiteX18" fmla="*/ 895350 w 3245644"/>
              <a:gd name="connsiteY18" fmla="*/ 735807 h 1023920"/>
              <a:gd name="connsiteX19" fmla="*/ 1114425 w 3245644"/>
              <a:gd name="connsiteY19" fmla="*/ 733425 h 1023920"/>
              <a:gd name="connsiteX20" fmla="*/ 1121569 w 3245644"/>
              <a:gd name="connsiteY20" fmla="*/ 776288 h 1023920"/>
              <a:gd name="connsiteX21" fmla="*/ 1233489 w 3245644"/>
              <a:gd name="connsiteY21" fmla="*/ 781050 h 1023920"/>
              <a:gd name="connsiteX22" fmla="*/ 1314450 w 3245644"/>
              <a:gd name="connsiteY22" fmla="*/ 795337 h 1023920"/>
              <a:gd name="connsiteX23" fmla="*/ 1333500 w 3245644"/>
              <a:gd name="connsiteY23" fmla="*/ 845344 h 1023920"/>
              <a:gd name="connsiteX24" fmla="*/ 1428749 w 3245644"/>
              <a:gd name="connsiteY24" fmla="*/ 845344 h 1023920"/>
              <a:gd name="connsiteX25" fmla="*/ 1459706 w 3245644"/>
              <a:gd name="connsiteY25" fmla="*/ 888207 h 1023920"/>
              <a:gd name="connsiteX26" fmla="*/ 1507331 w 3245644"/>
              <a:gd name="connsiteY26" fmla="*/ 888206 h 1023920"/>
              <a:gd name="connsiteX27" fmla="*/ 1513184 w 3245644"/>
              <a:gd name="connsiteY27" fmla="*/ 907240 h 1023920"/>
              <a:gd name="connsiteX28" fmla="*/ 1553666 w 3245644"/>
              <a:gd name="connsiteY28" fmla="*/ 907239 h 1023920"/>
              <a:gd name="connsiteX29" fmla="*/ 1558428 w 3245644"/>
              <a:gd name="connsiteY29" fmla="*/ 954864 h 1023920"/>
              <a:gd name="connsiteX30" fmla="*/ 1672728 w 3245644"/>
              <a:gd name="connsiteY30" fmla="*/ 952483 h 1023920"/>
              <a:gd name="connsiteX31" fmla="*/ 1667965 w 3245644"/>
              <a:gd name="connsiteY31" fmla="*/ 1023920 h 1023920"/>
              <a:gd name="connsiteX32" fmla="*/ 1964532 w 3245644"/>
              <a:gd name="connsiteY32" fmla="*/ 1019175 h 1023920"/>
              <a:gd name="connsiteX33" fmla="*/ 2101353 w 3245644"/>
              <a:gd name="connsiteY33" fmla="*/ 981058 h 1023920"/>
              <a:gd name="connsiteX34" fmla="*/ 2481262 w 3245644"/>
              <a:gd name="connsiteY34" fmla="*/ 888206 h 1023920"/>
              <a:gd name="connsiteX35" fmla="*/ 3245644 w 3245644"/>
              <a:gd name="connsiteY35" fmla="*/ 888206 h 1023920"/>
              <a:gd name="connsiteX0" fmla="*/ 0 w 3245644"/>
              <a:gd name="connsiteY0" fmla="*/ 0 h 1088215"/>
              <a:gd name="connsiteX1" fmla="*/ 90487 w 3245644"/>
              <a:gd name="connsiteY1" fmla="*/ 0 h 1088215"/>
              <a:gd name="connsiteX2" fmla="*/ 90487 w 3245644"/>
              <a:gd name="connsiteY2" fmla="*/ 40481 h 1088215"/>
              <a:gd name="connsiteX3" fmla="*/ 150018 w 3245644"/>
              <a:gd name="connsiteY3" fmla="*/ 54769 h 1088215"/>
              <a:gd name="connsiteX4" fmla="*/ 211932 w 3245644"/>
              <a:gd name="connsiteY4" fmla="*/ 161925 h 1088215"/>
              <a:gd name="connsiteX5" fmla="*/ 292894 w 3245644"/>
              <a:gd name="connsiteY5" fmla="*/ 266700 h 1088215"/>
              <a:gd name="connsiteX6" fmla="*/ 373856 w 3245644"/>
              <a:gd name="connsiteY6" fmla="*/ 419100 h 1088215"/>
              <a:gd name="connsiteX7" fmla="*/ 409574 w 3245644"/>
              <a:gd name="connsiteY7" fmla="*/ 438150 h 1088215"/>
              <a:gd name="connsiteX8" fmla="*/ 447675 w 3245644"/>
              <a:gd name="connsiteY8" fmla="*/ 435769 h 1088215"/>
              <a:gd name="connsiteX9" fmla="*/ 457200 w 3245644"/>
              <a:gd name="connsiteY9" fmla="*/ 478632 h 1088215"/>
              <a:gd name="connsiteX10" fmla="*/ 488157 w 3245644"/>
              <a:gd name="connsiteY10" fmla="*/ 500062 h 1088215"/>
              <a:gd name="connsiteX11" fmla="*/ 521494 w 3245644"/>
              <a:gd name="connsiteY11" fmla="*/ 492919 h 1088215"/>
              <a:gd name="connsiteX12" fmla="*/ 600074 w 3245644"/>
              <a:gd name="connsiteY12" fmla="*/ 607219 h 1088215"/>
              <a:gd name="connsiteX13" fmla="*/ 659605 w 3245644"/>
              <a:gd name="connsiteY13" fmla="*/ 604838 h 1088215"/>
              <a:gd name="connsiteX14" fmla="*/ 683419 w 3245644"/>
              <a:gd name="connsiteY14" fmla="*/ 621506 h 1088215"/>
              <a:gd name="connsiteX15" fmla="*/ 731044 w 3245644"/>
              <a:gd name="connsiteY15" fmla="*/ 631032 h 1088215"/>
              <a:gd name="connsiteX16" fmla="*/ 770234 w 3245644"/>
              <a:gd name="connsiteY16" fmla="*/ 633397 h 1088215"/>
              <a:gd name="connsiteX17" fmla="*/ 834528 w 3245644"/>
              <a:gd name="connsiteY17" fmla="*/ 695309 h 1088215"/>
              <a:gd name="connsiteX18" fmla="*/ 895350 w 3245644"/>
              <a:gd name="connsiteY18" fmla="*/ 735807 h 1088215"/>
              <a:gd name="connsiteX19" fmla="*/ 1114425 w 3245644"/>
              <a:gd name="connsiteY19" fmla="*/ 733425 h 1088215"/>
              <a:gd name="connsiteX20" fmla="*/ 1121569 w 3245644"/>
              <a:gd name="connsiteY20" fmla="*/ 776288 h 1088215"/>
              <a:gd name="connsiteX21" fmla="*/ 1233489 w 3245644"/>
              <a:gd name="connsiteY21" fmla="*/ 781050 h 1088215"/>
              <a:gd name="connsiteX22" fmla="*/ 1314450 w 3245644"/>
              <a:gd name="connsiteY22" fmla="*/ 795337 h 1088215"/>
              <a:gd name="connsiteX23" fmla="*/ 1333500 w 3245644"/>
              <a:gd name="connsiteY23" fmla="*/ 845344 h 1088215"/>
              <a:gd name="connsiteX24" fmla="*/ 1428749 w 3245644"/>
              <a:gd name="connsiteY24" fmla="*/ 845344 h 1088215"/>
              <a:gd name="connsiteX25" fmla="*/ 1459706 w 3245644"/>
              <a:gd name="connsiteY25" fmla="*/ 888207 h 1088215"/>
              <a:gd name="connsiteX26" fmla="*/ 1507331 w 3245644"/>
              <a:gd name="connsiteY26" fmla="*/ 888206 h 1088215"/>
              <a:gd name="connsiteX27" fmla="*/ 1513184 w 3245644"/>
              <a:gd name="connsiteY27" fmla="*/ 907240 h 1088215"/>
              <a:gd name="connsiteX28" fmla="*/ 1553666 w 3245644"/>
              <a:gd name="connsiteY28" fmla="*/ 907239 h 1088215"/>
              <a:gd name="connsiteX29" fmla="*/ 1558428 w 3245644"/>
              <a:gd name="connsiteY29" fmla="*/ 954864 h 1088215"/>
              <a:gd name="connsiteX30" fmla="*/ 1672728 w 3245644"/>
              <a:gd name="connsiteY30" fmla="*/ 952483 h 1088215"/>
              <a:gd name="connsiteX31" fmla="*/ 1667965 w 3245644"/>
              <a:gd name="connsiteY31" fmla="*/ 1023920 h 1088215"/>
              <a:gd name="connsiteX32" fmla="*/ 1964532 w 3245644"/>
              <a:gd name="connsiteY32" fmla="*/ 1019175 h 1088215"/>
              <a:gd name="connsiteX33" fmla="*/ 1960859 w 3245644"/>
              <a:gd name="connsiteY33" fmla="*/ 1088215 h 1088215"/>
              <a:gd name="connsiteX34" fmla="*/ 2481262 w 3245644"/>
              <a:gd name="connsiteY34" fmla="*/ 888206 h 1088215"/>
              <a:gd name="connsiteX35" fmla="*/ 3245644 w 3245644"/>
              <a:gd name="connsiteY35" fmla="*/ 888206 h 1088215"/>
              <a:gd name="connsiteX0" fmla="*/ 0 w 3245644"/>
              <a:gd name="connsiteY0" fmla="*/ 0 h 1088215"/>
              <a:gd name="connsiteX1" fmla="*/ 90487 w 3245644"/>
              <a:gd name="connsiteY1" fmla="*/ 0 h 1088215"/>
              <a:gd name="connsiteX2" fmla="*/ 90487 w 3245644"/>
              <a:gd name="connsiteY2" fmla="*/ 40481 h 1088215"/>
              <a:gd name="connsiteX3" fmla="*/ 150018 w 3245644"/>
              <a:gd name="connsiteY3" fmla="*/ 54769 h 1088215"/>
              <a:gd name="connsiteX4" fmla="*/ 211932 w 3245644"/>
              <a:gd name="connsiteY4" fmla="*/ 161925 h 1088215"/>
              <a:gd name="connsiteX5" fmla="*/ 292894 w 3245644"/>
              <a:gd name="connsiteY5" fmla="*/ 266700 h 1088215"/>
              <a:gd name="connsiteX6" fmla="*/ 373856 w 3245644"/>
              <a:gd name="connsiteY6" fmla="*/ 419100 h 1088215"/>
              <a:gd name="connsiteX7" fmla="*/ 409574 w 3245644"/>
              <a:gd name="connsiteY7" fmla="*/ 438150 h 1088215"/>
              <a:gd name="connsiteX8" fmla="*/ 447675 w 3245644"/>
              <a:gd name="connsiteY8" fmla="*/ 435769 h 1088215"/>
              <a:gd name="connsiteX9" fmla="*/ 457200 w 3245644"/>
              <a:gd name="connsiteY9" fmla="*/ 478632 h 1088215"/>
              <a:gd name="connsiteX10" fmla="*/ 488157 w 3245644"/>
              <a:gd name="connsiteY10" fmla="*/ 500062 h 1088215"/>
              <a:gd name="connsiteX11" fmla="*/ 521494 w 3245644"/>
              <a:gd name="connsiteY11" fmla="*/ 492919 h 1088215"/>
              <a:gd name="connsiteX12" fmla="*/ 600074 w 3245644"/>
              <a:gd name="connsiteY12" fmla="*/ 607219 h 1088215"/>
              <a:gd name="connsiteX13" fmla="*/ 659605 w 3245644"/>
              <a:gd name="connsiteY13" fmla="*/ 604838 h 1088215"/>
              <a:gd name="connsiteX14" fmla="*/ 683419 w 3245644"/>
              <a:gd name="connsiteY14" fmla="*/ 621506 h 1088215"/>
              <a:gd name="connsiteX15" fmla="*/ 731044 w 3245644"/>
              <a:gd name="connsiteY15" fmla="*/ 631032 h 1088215"/>
              <a:gd name="connsiteX16" fmla="*/ 770234 w 3245644"/>
              <a:gd name="connsiteY16" fmla="*/ 633397 h 1088215"/>
              <a:gd name="connsiteX17" fmla="*/ 834528 w 3245644"/>
              <a:gd name="connsiteY17" fmla="*/ 695309 h 1088215"/>
              <a:gd name="connsiteX18" fmla="*/ 895350 w 3245644"/>
              <a:gd name="connsiteY18" fmla="*/ 735807 h 1088215"/>
              <a:gd name="connsiteX19" fmla="*/ 1114425 w 3245644"/>
              <a:gd name="connsiteY19" fmla="*/ 733425 h 1088215"/>
              <a:gd name="connsiteX20" fmla="*/ 1121569 w 3245644"/>
              <a:gd name="connsiteY20" fmla="*/ 776288 h 1088215"/>
              <a:gd name="connsiteX21" fmla="*/ 1233489 w 3245644"/>
              <a:gd name="connsiteY21" fmla="*/ 781050 h 1088215"/>
              <a:gd name="connsiteX22" fmla="*/ 1314450 w 3245644"/>
              <a:gd name="connsiteY22" fmla="*/ 795337 h 1088215"/>
              <a:gd name="connsiteX23" fmla="*/ 1333500 w 3245644"/>
              <a:gd name="connsiteY23" fmla="*/ 845344 h 1088215"/>
              <a:gd name="connsiteX24" fmla="*/ 1428749 w 3245644"/>
              <a:gd name="connsiteY24" fmla="*/ 845344 h 1088215"/>
              <a:gd name="connsiteX25" fmla="*/ 1459706 w 3245644"/>
              <a:gd name="connsiteY25" fmla="*/ 888207 h 1088215"/>
              <a:gd name="connsiteX26" fmla="*/ 1507331 w 3245644"/>
              <a:gd name="connsiteY26" fmla="*/ 888206 h 1088215"/>
              <a:gd name="connsiteX27" fmla="*/ 1513184 w 3245644"/>
              <a:gd name="connsiteY27" fmla="*/ 907240 h 1088215"/>
              <a:gd name="connsiteX28" fmla="*/ 1553666 w 3245644"/>
              <a:gd name="connsiteY28" fmla="*/ 907239 h 1088215"/>
              <a:gd name="connsiteX29" fmla="*/ 1558428 w 3245644"/>
              <a:gd name="connsiteY29" fmla="*/ 954864 h 1088215"/>
              <a:gd name="connsiteX30" fmla="*/ 1672728 w 3245644"/>
              <a:gd name="connsiteY30" fmla="*/ 952483 h 1088215"/>
              <a:gd name="connsiteX31" fmla="*/ 1667965 w 3245644"/>
              <a:gd name="connsiteY31" fmla="*/ 1023920 h 1088215"/>
              <a:gd name="connsiteX32" fmla="*/ 1964532 w 3245644"/>
              <a:gd name="connsiteY32" fmla="*/ 1019175 h 1088215"/>
              <a:gd name="connsiteX33" fmla="*/ 1960859 w 3245644"/>
              <a:gd name="connsiteY33" fmla="*/ 1088215 h 1088215"/>
              <a:gd name="connsiteX34" fmla="*/ 2474118 w 3245644"/>
              <a:gd name="connsiteY34" fmla="*/ 1076325 h 1088215"/>
              <a:gd name="connsiteX35" fmla="*/ 3245644 w 3245644"/>
              <a:gd name="connsiteY35" fmla="*/ 888206 h 1088215"/>
              <a:gd name="connsiteX0" fmla="*/ 0 w 3121819"/>
              <a:gd name="connsiteY0" fmla="*/ 0 h 1088215"/>
              <a:gd name="connsiteX1" fmla="*/ 90487 w 3121819"/>
              <a:gd name="connsiteY1" fmla="*/ 0 h 1088215"/>
              <a:gd name="connsiteX2" fmla="*/ 90487 w 3121819"/>
              <a:gd name="connsiteY2" fmla="*/ 40481 h 1088215"/>
              <a:gd name="connsiteX3" fmla="*/ 150018 w 3121819"/>
              <a:gd name="connsiteY3" fmla="*/ 54769 h 1088215"/>
              <a:gd name="connsiteX4" fmla="*/ 211932 w 3121819"/>
              <a:gd name="connsiteY4" fmla="*/ 161925 h 1088215"/>
              <a:gd name="connsiteX5" fmla="*/ 292894 w 3121819"/>
              <a:gd name="connsiteY5" fmla="*/ 266700 h 1088215"/>
              <a:gd name="connsiteX6" fmla="*/ 373856 w 3121819"/>
              <a:gd name="connsiteY6" fmla="*/ 419100 h 1088215"/>
              <a:gd name="connsiteX7" fmla="*/ 409574 w 3121819"/>
              <a:gd name="connsiteY7" fmla="*/ 438150 h 1088215"/>
              <a:gd name="connsiteX8" fmla="*/ 447675 w 3121819"/>
              <a:gd name="connsiteY8" fmla="*/ 435769 h 1088215"/>
              <a:gd name="connsiteX9" fmla="*/ 457200 w 3121819"/>
              <a:gd name="connsiteY9" fmla="*/ 478632 h 1088215"/>
              <a:gd name="connsiteX10" fmla="*/ 488157 w 3121819"/>
              <a:gd name="connsiteY10" fmla="*/ 500062 h 1088215"/>
              <a:gd name="connsiteX11" fmla="*/ 521494 w 3121819"/>
              <a:gd name="connsiteY11" fmla="*/ 492919 h 1088215"/>
              <a:gd name="connsiteX12" fmla="*/ 600074 w 3121819"/>
              <a:gd name="connsiteY12" fmla="*/ 607219 h 1088215"/>
              <a:gd name="connsiteX13" fmla="*/ 659605 w 3121819"/>
              <a:gd name="connsiteY13" fmla="*/ 604838 h 1088215"/>
              <a:gd name="connsiteX14" fmla="*/ 683419 w 3121819"/>
              <a:gd name="connsiteY14" fmla="*/ 621506 h 1088215"/>
              <a:gd name="connsiteX15" fmla="*/ 731044 w 3121819"/>
              <a:gd name="connsiteY15" fmla="*/ 631032 h 1088215"/>
              <a:gd name="connsiteX16" fmla="*/ 770234 w 3121819"/>
              <a:gd name="connsiteY16" fmla="*/ 633397 h 1088215"/>
              <a:gd name="connsiteX17" fmla="*/ 834528 w 3121819"/>
              <a:gd name="connsiteY17" fmla="*/ 695309 h 1088215"/>
              <a:gd name="connsiteX18" fmla="*/ 895350 w 3121819"/>
              <a:gd name="connsiteY18" fmla="*/ 735807 h 1088215"/>
              <a:gd name="connsiteX19" fmla="*/ 1114425 w 3121819"/>
              <a:gd name="connsiteY19" fmla="*/ 733425 h 1088215"/>
              <a:gd name="connsiteX20" fmla="*/ 1121569 w 3121819"/>
              <a:gd name="connsiteY20" fmla="*/ 776288 h 1088215"/>
              <a:gd name="connsiteX21" fmla="*/ 1233489 w 3121819"/>
              <a:gd name="connsiteY21" fmla="*/ 781050 h 1088215"/>
              <a:gd name="connsiteX22" fmla="*/ 1314450 w 3121819"/>
              <a:gd name="connsiteY22" fmla="*/ 795337 h 1088215"/>
              <a:gd name="connsiteX23" fmla="*/ 1333500 w 3121819"/>
              <a:gd name="connsiteY23" fmla="*/ 845344 h 1088215"/>
              <a:gd name="connsiteX24" fmla="*/ 1428749 w 3121819"/>
              <a:gd name="connsiteY24" fmla="*/ 845344 h 1088215"/>
              <a:gd name="connsiteX25" fmla="*/ 1459706 w 3121819"/>
              <a:gd name="connsiteY25" fmla="*/ 888207 h 1088215"/>
              <a:gd name="connsiteX26" fmla="*/ 1507331 w 3121819"/>
              <a:gd name="connsiteY26" fmla="*/ 888206 h 1088215"/>
              <a:gd name="connsiteX27" fmla="*/ 1513184 w 3121819"/>
              <a:gd name="connsiteY27" fmla="*/ 907240 h 1088215"/>
              <a:gd name="connsiteX28" fmla="*/ 1553666 w 3121819"/>
              <a:gd name="connsiteY28" fmla="*/ 907239 h 1088215"/>
              <a:gd name="connsiteX29" fmla="*/ 1558428 w 3121819"/>
              <a:gd name="connsiteY29" fmla="*/ 954864 h 1088215"/>
              <a:gd name="connsiteX30" fmla="*/ 1672728 w 3121819"/>
              <a:gd name="connsiteY30" fmla="*/ 952483 h 1088215"/>
              <a:gd name="connsiteX31" fmla="*/ 1667965 w 3121819"/>
              <a:gd name="connsiteY31" fmla="*/ 1023920 h 1088215"/>
              <a:gd name="connsiteX32" fmla="*/ 1964532 w 3121819"/>
              <a:gd name="connsiteY32" fmla="*/ 1019175 h 1088215"/>
              <a:gd name="connsiteX33" fmla="*/ 1960859 w 3121819"/>
              <a:gd name="connsiteY33" fmla="*/ 1088215 h 1088215"/>
              <a:gd name="connsiteX34" fmla="*/ 2474118 w 3121819"/>
              <a:gd name="connsiteY34" fmla="*/ 1076325 h 1088215"/>
              <a:gd name="connsiteX35" fmla="*/ 3121819 w 3121819"/>
              <a:gd name="connsiteY35" fmla="*/ 1073943 h 1088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21819" h="1088215">
                <a:moveTo>
                  <a:pt x="0" y="0"/>
                </a:moveTo>
                <a:lnTo>
                  <a:pt x="90487" y="0"/>
                </a:lnTo>
                <a:lnTo>
                  <a:pt x="90487" y="40481"/>
                </a:lnTo>
                <a:lnTo>
                  <a:pt x="150018" y="54769"/>
                </a:lnTo>
                <a:lnTo>
                  <a:pt x="211932" y="161925"/>
                </a:lnTo>
                <a:lnTo>
                  <a:pt x="292894" y="266700"/>
                </a:lnTo>
                <a:lnTo>
                  <a:pt x="373856" y="419100"/>
                </a:lnTo>
                <a:lnTo>
                  <a:pt x="409574" y="438150"/>
                </a:lnTo>
                <a:lnTo>
                  <a:pt x="447675" y="435769"/>
                </a:lnTo>
                <a:lnTo>
                  <a:pt x="457200" y="478632"/>
                </a:lnTo>
                <a:lnTo>
                  <a:pt x="488157" y="500062"/>
                </a:lnTo>
                <a:lnTo>
                  <a:pt x="521494" y="492919"/>
                </a:lnTo>
                <a:lnTo>
                  <a:pt x="600074" y="607219"/>
                </a:lnTo>
                <a:lnTo>
                  <a:pt x="659605" y="604838"/>
                </a:lnTo>
                <a:lnTo>
                  <a:pt x="683419" y="621506"/>
                </a:lnTo>
                <a:lnTo>
                  <a:pt x="731044" y="631032"/>
                </a:lnTo>
                <a:lnTo>
                  <a:pt x="770234" y="633397"/>
                </a:lnTo>
                <a:lnTo>
                  <a:pt x="834528" y="695309"/>
                </a:lnTo>
                <a:lnTo>
                  <a:pt x="895350" y="735807"/>
                </a:lnTo>
                <a:lnTo>
                  <a:pt x="1114425" y="733425"/>
                </a:lnTo>
                <a:lnTo>
                  <a:pt x="1121569" y="776288"/>
                </a:lnTo>
                <a:lnTo>
                  <a:pt x="1233489" y="781050"/>
                </a:lnTo>
                <a:lnTo>
                  <a:pt x="1314450" y="795337"/>
                </a:lnTo>
                <a:lnTo>
                  <a:pt x="1333500" y="845344"/>
                </a:lnTo>
                <a:lnTo>
                  <a:pt x="1428749" y="845344"/>
                </a:lnTo>
                <a:lnTo>
                  <a:pt x="1459706" y="888207"/>
                </a:lnTo>
                <a:lnTo>
                  <a:pt x="1507331" y="888206"/>
                </a:lnTo>
                <a:lnTo>
                  <a:pt x="1513184" y="907240"/>
                </a:lnTo>
                <a:lnTo>
                  <a:pt x="1553666" y="907239"/>
                </a:lnTo>
                <a:lnTo>
                  <a:pt x="1558428" y="954864"/>
                </a:lnTo>
                <a:lnTo>
                  <a:pt x="1672728" y="952483"/>
                </a:lnTo>
                <a:lnTo>
                  <a:pt x="1667965" y="1023920"/>
                </a:lnTo>
                <a:lnTo>
                  <a:pt x="1964532" y="1019175"/>
                </a:lnTo>
                <a:lnTo>
                  <a:pt x="1960859" y="1088215"/>
                </a:lnTo>
                <a:lnTo>
                  <a:pt x="2474118" y="1076325"/>
                </a:lnTo>
                <a:lnTo>
                  <a:pt x="3121819" y="1073943"/>
                </a:lnTo>
              </a:path>
            </a:pathLst>
          </a:custGeom>
          <a:noFill/>
          <a:ln w="19050">
            <a:solidFill>
              <a:srgbClr val="E2532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sz="1400"/>
          </a:p>
        </p:txBody>
      </p:sp>
      <p:sp>
        <p:nvSpPr>
          <p:cNvPr id="43013" name="Title 1" hidden="1"/>
          <p:cNvSpPr>
            <a:spLocks noGrp="1"/>
          </p:cNvSpPr>
          <p:nvPr>
            <p:ph type="title" idx="4294967295"/>
          </p:nvPr>
        </p:nvSpPr>
        <p:spPr>
          <a:xfrm>
            <a:off x="0" y="274638"/>
            <a:ext cx="8229600" cy="1143000"/>
          </a:xfrm>
        </p:spPr>
        <p:txBody>
          <a:bodyPr/>
          <a:lstStyle/>
          <a:p>
            <a:pPr eaLnBrk="1" hangingPunct="1"/>
            <a:r>
              <a:rPr lang="en-GB" smtClean="0"/>
              <a:t>RANK expression in primary tumours is associated with bone metastasis occurrence in breast cancer patients</a:t>
            </a:r>
          </a:p>
        </p:txBody>
      </p:sp>
      <p:sp>
        <p:nvSpPr>
          <p:cNvPr id="43014" name="Text Placeholder 24"/>
          <p:cNvSpPr txBox="1">
            <a:spLocks/>
          </p:cNvSpPr>
          <p:nvPr/>
        </p:nvSpPr>
        <p:spPr bwMode="auto">
          <a:xfrm>
            <a:off x="107950" y="6538913"/>
            <a:ext cx="7086600" cy="274637"/>
          </a:xfrm>
          <a:prstGeom prst="rect">
            <a:avLst/>
          </a:prstGeom>
          <a:noFill/>
          <a:ln w="9525">
            <a:noFill/>
            <a:miter lim="800000"/>
            <a:headEnd/>
            <a:tailEnd/>
          </a:ln>
        </p:spPr>
        <p:txBody>
          <a:bodyPr anchor="b">
            <a:spAutoFit/>
          </a:bodyPr>
          <a:lstStyle/>
          <a:p>
            <a:pPr eaLnBrk="0" hangingPunct="0">
              <a:buSzPct val="120000"/>
            </a:pPr>
            <a:r>
              <a:rPr lang="en-GB" sz="1200">
                <a:cs typeface="Arial" charset="0"/>
              </a:rPr>
              <a:t>Santini D, et al. PLoS One 2011;6:e19234.</a:t>
            </a:r>
          </a:p>
        </p:txBody>
      </p:sp>
      <p:sp>
        <p:nvSpPr>
          <p:cNvPr id="43015" name="Rectangle 2"/>
          <p:cNvSpPr txBox="1">
            <a:spLocks noChangeArrowheads="1"/>
          </p:cNvSpPr>
          <p:nvPr/>
        </p:nvSpPr>
        <p:spPr bwMode="auto">
          <a:xfrm>
            <a:off x="228600" y="115888"/>
            <a:ext cx="8683625" cy="1225550"/>
          </a:xfrm>
          <a:prstGeom prst="rect">
            <a:avLst/>
          </a:prstGeom>
          <a:noFill/>
          <a:ln w="9525">
            <a:noFill/>
            <a:miter lim="800000"/>
            <a:headEnd/>
            <a:tailEnd/>
          </a:ln>
        </p:spPr>
        <p:txBody>
          <a:bodyPr anchor="ctr"/>
          <a:lstStyle/>
          <a:p>
            <a:pPr>
              <a:lnSpc>
                <a:spcPct val="90000"/>
              </a:lnSpc>
            </a:pPr>
            <a:r>
              <a:rPr lang="en-GB" sz="2800" b="1">
                <a:solidFill>
                  <a:srgbClr val="000099"/>
                </a:solidFill>
              </a:rPr>
              <a:t>Low RANK expression was associated with better disease outcomes vs high RANK expression in human breast cancer patients</a:t>
            </a:r>
          </a:p>
        </p:txBody>
      </p:sp>
      <p:sp>
        <p:nvSpPr>
          <p:cNvPr id="43016" name="TextBox 7"/>
          <p:cNvSpPr txBox="1">
            <a:spLocks noChangeArrowheads="1"/>
          </p:cNvSpPr>
          <p:nvPr/>
        </p:nvSpPr>
        <p:spPr bwMode="auto">
          <a:xfrm>
            <a:off x="1443038" y="1614488"/>
            <a:ext cx="2492375" cy="369887"/>
          </a:xfrm>
          <a:prstGeom prst="rect">
            <a:avLst/>
          </a:prstGeom>
          <a:noFill/>
          <a:ln w="9525">
            <a:noFill/>
            <a:miter lim="800000"/>
            <a:headEnd/>
            <a:tailEnd/>
          </a:ln>
        </p:spPr>
        <p:txBody>
          <a:bodyPr wrap="none">
            <a:spAutoFit/>
          </a:bodyPr>
          <a:lstStyle/>
          <a:p>
            <a:r>
              <a:rPr lang="en-GB" b="1"/>
              <a:t>Disease-free survival</a:t>
            </a:r>
          </a:p>
        </p:txBody>
      </p:sp>
      <p:sp>
        <p:nvSpPr>
          <p:cNvPr id="10" name="TextBox 9"/>
          <p:cNvSpPr txBox="1"/>
          <p:nvPr/>
        </p:nvSpPr>
        <p:spPr>
          <a:xfrm>
            <a:off x="2274888" y="5291138"/>
            <a:ext cx="636587" cy="306387"/>
          </a:xfrm>
          <a:prstGeom prst="rect">
            <a:avLst/>
          </a:prstGeom>
          <a:noFill/>
        </p:spPr>
        <p:txBody>
          <a:bodyPr wrap="none">
            <a:spAutoFit/>
          </a:bodyPr>
          <a:lstStyle/>
          <a:p>
            <a:pPr>
              <a:defRPr/>
            </a:pPr>
            <a:r>
              <a:rPr lang="en-GB" sz="1400" dirty="0">
                <a:latin typeface="+mn-lt"/>
                <a:ea typeface="+mn-ea"/>
                <a:cs typeface="+mn-cs"/>
              </a:rPr>
              <a:t>Years</a:t>
            </a:r>
          </a:p>
        </p:txBody>
      </p:sp>
      <p:sp>
        <p:nvSpPr>
          <p:cNvPr id="11" name="TextBox 10"/>
          <p:cNvSpPr txBox="1"/>
          <p:nvPr/>
        </p:nvSpPr>
        <p:spPr>
          <a:xfrm>
            <a:off x="2225675" y="3971925"/>
            <a:ext cx="1984375" cy="738188"/>
          </a:xfrm>
          <a:prstGeom prst="rect">
            <a:avLst/>
          </a:prstGeom>
          <a:noFill/>
        </p:spPr>
        <p:txBody>
          <a:bodyPr wrap="none">
            <a:spAutoFit/>
          </a:bodyPr>
          <a:lstStyle/>
          <a:p>
            <a:pPr algn="ctr">
              <a:defRPr/>
            </a:pPr>
            <a:r>
              <a:rPr lang="en-GB" sz="1400" dirty="0">
                <a:latin typeface="+mn-lt"/>
                <a:ea typeface="+mn-ea"/>
                <a:cs typeface="+mn-cs"/>
              </a:rPr>
              <a:t>HR, 0.675</a:t>
            </a:r>
          </a:p>
          <a:p>
            <a:pPr algn="ctr">
              <a:defRPr/>
            </a:pPr>
            <a:r>
              <a:rPr lang="en-GB" sz="1400" dirty="0">
                <a:latin typeface="+mn-lt"/>
                <a:ea typeface="+mn-ea"/>
                <a:cs typeface="+mn-cs"/>
              </a:rPr>
              <a:t>(95% CI, 0.449</a:t>
            </a:r>
            <a:r>
              <a:rPr lang="en-GB" sz="1400" dirty="0">
                <a:latin typeface="+mn-lt"/>
                <a:ea typeface="+mn-ea"/>
                <a:cs typeface="+mn-cs"/>
                <a:sym typeface="Symbol"/>
              </a:rPr>
              <a:t></a:t>
            </a:r>
            <a:r>
              <a:rPr lang="en-GB" sz="1400" dirty="0">
                <a:latin typeface="+mn-lt"/>
                <a:ea typeface="+mn-ea"/>
                <a:cs typeface="+mn-cs"/>
              </a:rPr>
              <a:t>1.015)</a:t>
            </a:r>
          </a:p>
          <a:p>
            <a:pPr algn="ctr">
              <a:defRPr/>
            </a:pPr>
            <a:r>
              <a:rPr lang="en-GB" sz="1400" dirty="0">
                <a:latin typeface="+mn-lt"/>
                <a:ea typeface="+mn-ea"/>
                <a:cs typeface="+mn-cs"/>
              </a:rPr>
              <a:t>Log-rank P = 0.059</a:t>
            </a:r>
          </a:p>
        </p:txBody>
      </p:sp>
      <p:cxnSp>
        <p:nvCxnSpPr>
          <p:cNvPr id="14" name="Straight Connector 13"/>
          <p:cNvCxnSpPr/>
          <p:nvPr/>
        </p:nvCxnSpPr>
        <p:spPr>
          <a:xfrm>
            <a:off x="812800" y="2598738"/>
            <a:ext cx="0" cy="24479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rot="16200000">
            <a:off x="781844" y="4452144"/>
            <a:ext cx="0" cy="7143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rot="16200000">
            <a:off x="781844" y="3991769"/>
            <a:ext cx="0" cy="7143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rot="16200000">
            <a:off x="781844" y="3510756"/>
            <a:ext cx="0" cy="7143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1692275" y="4972050"/>
            <a:ext cx="0" cy="730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3024" name="TextBox 40"/>
          <p:cNvSpPr txBox="1">
            <a:spLocks noChangeArrowheads="1"/>
          </p:cNvSpPr>
          <p:nvPr/>
        </p:nvSpPr>
        <p:spPr bwMode="auto">
          <a:xfrm>
            <a:off x="471488" y="4833938"/>
            <a:ext cx="284162" cy="307975"/>
          </a:xfrm>
          <a:prstGeom prst="rect">
            <a:avLst/>
          </a:prstGeom>
          <a:noFill/>
          <a:ln w="9525">
            <a:noFill/>
            <a:miter lim="800000"/>
            <a:headEnd/>
            <a:tailEnd/>
          </a:ln>
        </p:spPr>
        <p:txBody>
          <a:bodyPr wrap="none">
            <a:spAutoFit/>
          </a:bodyPr>
          <a:lstStyle/>
          <a:p>
            <a:r>
              <a:rPr lang="en-GB" sz="1400"/>
              <a:t>0</a:t>
            </a:r>
          </a:p>
        </p:txBody>
      </p:sp>
      <p:sp>
        <p:nvSpPr>
          <p:cNvPr id="43025" name="TextBox 93"/>
          <p:cNvSpPr txBox="1">
            <a:spLocks noChangeArrowheads="1"/>
          </p:cNvSpPr>
          <p:nvPr/>
        </p:nvSpPr>
        <p:spPr bwMode="auto">
          <a:xfrm>
            <a:off x="5888038" y="1614488"/>
            <a:ext cx="1903412" cy="369887"/>
          </a:xfrm>
          <a:prstGeom prst="rect">
            <a:avLst/>
          </a:prstGeom>
          <a:noFill/>
          <a:ln w="9525">
            <a:noFill/>
            <a:miter lim="800000"/>
            <a:headEnd/>
            <a:tailEnd/>
          </a:ln>
        </p:spPr>
        <p:txBody>
          <a:bodyPr wrap="none">
            <a:spAutoFit/>
          </a:bodyPr>
          <a:lstStyle/>
          <a:p>
            <a:r>
              <a:rPr lang="en-GB" b="1"/>
              <a:t>Overall survival</a:t>
            </a:r>
          </a:p>
        </p:txBody>
      </p:sp>
      <p:sp>
        <p:nvSpPr>
          <p:cNvPr id="95" name="TextBox 94"/>
          <p:cNvSpPr txBox="1"/>
          <p:nvPr/>
        </p:nvSpPr>
        <p:spPr>
          <a:xfrm>
            <a:off x="6692900" y="5292725"/>
            <a:ext cx="636588" cy="307975"/>
          </a:xfrm>
          <a:prstGeom prst="rect">
            <a:avLst/>
          </a:prstGeom>
          <a:noFill/>
        </p:spPr>
        <p:txBody>
          <a:bodyPr wrap="none">
            <a:spAutoFit/>
          </a:bodyPr>
          <a:lstStyle/>
          <a:p>
            <a:pPr>
              <a:defRPr/>
            </a:pPr>
            <a:r>
              <a:rPr lang="en-GB" sz="1400" dirty="0">
                <a:latin typeface="+mn-lt"/>
                <a:ea typeface="+mn-ea"/>
                <a:cs typeface="+mn-cs"/>
              </a:rPr>
              <a:t>Years</a:t>
            </a:r>
          </a:p>
        </p:txBody>
      </p:sp>
      <p:cxnSp>
        <p:nvCxnSpPr>
          <p:cNvPr id="96" name="Straight Connector 95"/>
          <p:cNvCxnSpPr/>
          <p:nvPr/>
        </p:nvCxnSpPr>
        <p:spPr>
          <a:xfrm>
            <a:off x="5214938" y="2598738"/>
            <a:ext cx="0" cy="24479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746125" y="4972050"/>
            <a:ext cx="360997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a:off x="5143500" y="4973638"/>
            <a:ext cx="360997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p:nvPr/>
        </p:nvCxnSpPr>
        <p:spPr>
          <a:xfrm>
            <a:off x="2584450" y="4972050"/>
            <a:ext cx="0" cy="730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p:nvCxnSpPr>
        <p:spPr>
          <a:xfrm>
            <a:off x="3468688" y="4972050"/>
            <a:ext cx="0" cy="730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p:nvCxnSpPr>
        <p:spPr>
          <a:xfrm>
            <a:off x="4343400" y="4972050"/>
            <a:ext cx="0" cy="730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p:nvCxnSpPr>
        <p:spPr>
          <a:xfrm>
            <a:off x="6097588" y="4973638"/>
            <a:ext cx="0" cy="7143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p:nvCxnSpPr>
        <p:spPr>
          <a:xfrm>
            <a:off x="6991350" y="4973638"/>
            <a:ext cx="0" cy="7143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p:nvCxnSpPr>
        <p:spPr>
          <a:xfrm>
            <a:off x="7874000" y="4973638"/>
            <a:ext cx="0" cy="7143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a:off x="8748713" y="4973638"/>
            <a:ext cx="0" cy="7143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rot="16200000">
            <a:off x="781844" y="3040856"/>
            <a:ext cx="0" cy="7143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rot="16200000">
            <a:off x="5179219" y="4452144"/>
            <a:ext cx="0" cy="7143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rot="16200000">
            <a:off x="5179219" y="3990181"/>
            <a:ext cx="0" cy="7143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rot="16200000">
            <a:off x="5179219" y="3510756"/>
            <a:ext cx="0" cy="7143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p:nvCxnSpPr>
        <p:spPr>
          <a:xfrm rot="16200000">
            <a:off x="5179219" y="3040856"/>
            <a:ext cx="0" cy="7143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p:cNvCxnSpPr/>
          <p:nvPr/>
        </p:nvCxnSpPr>
        <p:spPr>
          <a:xfrm rot="16200000">
            <a:off x="5179219" y="2570956"/>
            <a:ext cx="0" cy="71438"/>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3" name="TextBox 112"/>
          <p:cNvSpPr txBox="1"/>
          <p:nvPr/>
        </p:nvSpPr>
        <p:spPr>
          <a:xfrm>
            <a:off x="6629400" y="3971925"/>
            <a:ext cx="1982788" cy="738188"/>
          </a:xfrm>
          <a:prstGeom prst="rect">
            <a:avLst/>
          </a:prstGeom>
          <a:noFill/>
        </p:spPr>
        <p:txBody>
          <a:bodyPr wrap="none">
            <a:spAutoFit/>
          </a:bodyPr>
          <a:lstStyle/>
          <a:p>
            <a:pPr algn="ctr">
              <a:defRPr/>
            </a:pPr>
            <a:r>
              <a:rPr lang="en-GB" sz="1400" dirty="0">
                <a:latin typeface="+mn-lt"/>
                <a:ea typeface="+mn-ea"/>
                <a:cs typeface="+mn-cs"/>
              </a:rPr>
              <a:t>HR, 0.535</a:t>
            </a:r>
          </a:p>
          <a:p>
            <a:pPr algn="ctr">
              <a:defRPr/>
            </a:pPr>
            <a:r>
              <a:rPr lang="en-GB" sz="1400" dirty="0">
                <a:latin typeface="+mn-lt"/>
                <a:ea typeface="+mn-ea"/>
                <a:cs typeface="+mn-cs"/>
              </a:rPr>
              <a:t>(95% CI, 0.338</a:t>
            </a:r>
            <a:r>
              <a:rPr lang="en-GB" sz="1400" dirty="0">
                <a:latin typeface="+mn-lt"/>
                <a:ea typeface="+mn-ea"/>
                <a:cs typeface="+mn-cs"/>
                <a:sym typeface="Symbol"/>
              </a:rPr>
              <a:t></a:t>
            </a:r>
            <a:r>
              <a:rPr lang="en-GB" sz="1400" dirty="0">
                <a:latin typeface="+mn-lt"/>
                <a:ea typeface="+mn-ea"/>
                <a:cs typeface="+mn-cs"/>
              </a:rPr>
              <a:t>0.848)</a:t>
            </a:r>
          </a:p>
          <a:p>
            <a:pPr algn="ctr">
              <a:defRPr/>
            </a:pPr>
            <a:r>
              <a:rPr lang="en-GB" sz="1400" dirty="0">
                <a:latin typeface="+mn-lt"/>
                <a:ea typeface="+mn-ea"/>
                <a:cs typeface="+mn-cs"/>
              </a:rPr>
              <a:t>Log-rank P = 0.008</a:t>
            </a:r>
          </a:p>
        </p:txBody>
      </p:sp>
      <p:sp>
        <p:nvSpPr>
          <p:cNvPr id="114" name="TextBox 113"/>
          <p:cNvSpPr txBox="1"/>
          <p:nvPr/>
        </p:nvSpPr>
        <p:spPr>
          <a:xfrm>
            <a:off x="387350" y="4354513"/>
            <a:ext cx="382588" cy="307975"/>
          </a:xfrm>
          <a:prstGeom prst="rect">
            <a:avLst/>
          </a:prstGeom>
          <a:noFill/>
        </p:spPr>
        <p:txBody>
          <a:bodyPr wrap="none">
            <a:spAutoFit/>
          </a:bodyPr>
          <a:lstStyle/>
          <a:p>
            <a:pPr>
              <a:defRPr/>
            </a:pPr>
            <a:r>
              <a:rPr lang="en-GB" sz="1400" dirty="0">
                <a:latin typeface="+mn-lt"/>
                <a:ea typeface="+mn-ea"/>
                <a:cs typeface="+mn-cs"/>
              </a:rPr>
              <a:t>20</a:t>
            </a:r>
          </a:p>
        </p:txBody>
      </p:sp>
      <p:sp>
        <p:nvSpPr>
          <p:cNvPr id="115" name="TextBox 114"/>
          <p:cNvSpPr txBox="1"/>
          <p:nvPr/>
        </p:nvSpPr>
        <p:spPr>
          <a:xfrm>
            <a:off x="387350" y="3884613"/>
            <a:ext cx="382588" cy="307975"/>
          </a:xfrm>
          <a:prstGeom prst="rect">
            <a:avLst/>
          </a:prstGeom>
          <a:noFill/>
        </p:spPr>
        <p:txBody>
          <a:bodyPr wrap="none">
            <a:spAutoFit/>
          </a:bodyPr>
          <a:lstStyle/>
          <a:p>
            <a:pPr>
              <a:defRPr/>
            </a:pPr>
            <a:r>
              <a:rPr lang="en-GB" sz="1400" dirty="0">
                <a:latin typeface="+mn-lt"/>
                <a:ea typeface="+mn-ea"/>
                <a:cs typeface="+mn-cs"/>
              </a:rPr>
              <a:t>40</a:t>
            </a:r>
          </a:p>
        </p:txBody>
      </p:sp>
      <p:sp>
        <p:nvSpPr>
          <p:cNvPr id="116" name="TextBox 115"/>
          <p:cNvSpPr txBox="1"/>
          <p:nvPr/>
        </p:nvSpPr>
        <p:spPr>
          <a:xfrm>
            <a:off x="387350" y="3416300"/>
            <a:ext cx="382588" cy="306388"/>
          </a:xfrm>
          <a:prstGeom prst="rect">
            <a:avLst/>
          </a:prstGeom>
          <a:noFill/>
        </p:spPr>
        <p:txBody>
          <a:bodyPr wrap="none">
            <a:spAutoFit/>
          </a:bodyPr>
          <a:lstStyle/>
          <a:p>
            <a:pPr>
              <a:defRPr/>
            </a:pPr>
            <a:r>
              <a:rPr lang="en-GB" sz="1400" dirty="0">
                <a:latin typeface="+mn-lt"/>
                <a:ea typeface="+mn-ea"/>
                <a:cs typeface="+mn-cs"/>
              </a:rPr>
              <a:t>60</a:t>
            </a:r>
          </a:p>
        </p:txBody>
      </p:sp>
      <p:sp>
        <p:nvSpPr>
          <p:cNvPr id="117" name="TextBox 116"/>
          <p:cNvSpPr txBox="1"/>
          <p:nvPr/>
        </p:nvSpPr>
        <p:spPr>
          <a:xfrm>
            <a:off x="387350" y="2946400"/>
            <a:ext cx="382588" cy="307975"/>
          </a:xfrm>
          <a:prstGeom prst="rect">
            <a:avLst/>
          </a:prstGeom>
          <a:noFill/>
        </p:spPr>
        <p:txBody>
          <a:bodyPr wrap="none">
            <a:spAutoFit/>
          </a:bodyPr>
          <a:lstStyle/>
          <a:p>
            <a:pPr>
              <a:defRPr/>
            </a:pPr>
            <a:r>
              <a:rPr lang="en-GB" sz="1400" dirty="0">
                <a:latin typeface="+mn-lt"/>
                <a:ea typeface="+mn-ea"/>
                <a:cs typeface="+mn-cs"/>
              </a:rPr>
              <a:t>80</a:t>
            </a:r>
          </a:p>
        </p:txBody>
      </p:sp>
      <p:sp>
        <p:nvSpPr>
          <p:cNvPr id="118" name="TextBox 117"/>
          <p:cNvSpPr txBox="1"/>
          <p:nvPr/>
        </p:nvSpPr>
        <p:spPr>
          <a:xfrm>
            <a:off x="301625" y="2476500"/>
            <a:ext cx="482600" cy="307975"/>
          </a:xfrm>
          <a:prstGeom prst="rect">
            <a:avLst/>
          </a:prstGeom>
          <a:noFill/>
        </p:spPr>
        <p:txBody>
          <a:bodyPr wrap="none">
            <a:spAutoFit/>
          </a:bodyPr>
          <a:lstStyle/>
          <a:p>
            <a:pPr>
              <a:defRPr/>
            </a:pPr>
            <a:r>
              <a:rPr lang="en-GB" sz="1400" dirty="0">
                <a:latin typeface="+mn-lt"/>
                <a:ea typeface="+mn-ea"/>
                <a:cs typeface="+mn-cs"/>
              </a:rPr>
              <a:t>100</a:t>
            </a:r>
          </a:p>
        </p:txBody>
      </p:sp>
      <p:sp>
        <p:nvSpPr>
          <p:cNvPr id="43049" name="TextBox 118"/>
          <p:cNvSpPr txBox="1">
            <a:spLocks noChangeArrowheads="1"/>
          </p:cNvSpPr>
          <p:nvPr/>
        </p:nvSpPr>
        <p:spPr bwMode="auto">
          <a:xfrm>
            <a:off x="676275" y="5046663"/>
            <a:ext cx="284163" cy="307975"/>
          </a:xfrm>
          <a:prstGeom prst="rect">
            <a:avLst/>
          </a:prstGeom>
          <a:noFill/>
          <a:ln w="9525">
            <a:noFill/>
            <a:miter lim="800000"/>
            <a:headEnd/>
            <a:tailEnd/>
          </a:ln>
        </p:spPr>
        <p:txBody>
          <a:bodyPr wrap="none">
            <a:spAutoFit/>
          </a:bodyPr>
          <a:lstStyle/>
          <a:p>
            <a:r>
              <a:rPr lang="en-GB" sz="1400"/>
              <a:t>0</a:t>
            </a:r>
          </a:p>
        </p:txBody>
      </p:sp>
      <p:sp>
        <p:nvSpPr>
          <p:cNvPr id="43050" name="TextBox 119"/>
          <p:cNvSpPr txBox="1">
            <a:spLocks noChangeArrowheads="1"/>
          </p:cNvSpPr>
          <p:nvPr/>
        </p:nvSpPr>
        <p:spPr bwMode="auto">
          <a:xfrm>
            <a:off x="1557338" y="5048250"/>
            <a:ext cx="284162" cy="307975"/>
          </a:xfrm>
          <a:prstGeom prst="rect">
            <a:avLst/>
          </a:prstGeom>
          <a:noFill/>
          <a:ln w="9525">
            <a:noFill/>
            <a:miter lim="800000"/>
            <a:headEnd/>
            <a:tailEnd/>
          </a:ln>
        </p:spPr>
        <p:txBody>
          <a:bodyPr wrap="none">
            <a:spAutoFit/>
          </a:bodyPr>
          <a:lstStyle/>
          <a:p>
            <a:r>
              <a:rPr lang="en-GB" sz="1400"/>
              <a:t>5</a:t>
            </a:r>
          </a:p>
        </p:txBody>
      </p:sp>
      <p:sp>
        <p:nvSpPr>
          <p:cNvPr id="121" name="TextBox 120"/>
          <p:cNvSpPr txBox="1"/>
          <p:nvPr/>
        </p:nvSpPr>
        <p:spPr>
          <a:xfrm>
            <a:off x="2408238" y="5049838"/>
            <a:ext cx="384175" cy="307975"/>
          </a:xfrm>
          <a:prstGeom prst="rect">
            <a:avLst/>
          </a:prstGeom>
          <a:noFill/>
        </p:spPr>
        <p:txBody>
          <a:bodyPr wrap="none">
            <a:spAutoFit/>
          </a:bodyPr>
          <a:lstStyle/>
          <a:p>
            <a:pPr>
              <a:defRPr/>
            </a:pPr>
            <a:r>
              <a:rPr lang="en-GB" sz="1400" dirty="0">
                <a:latin typeface="+mn-lt"/>
                <a:ea typeface="+mn-ea"/>
                <a:cs typeface="+mn-cs"/>
              </a:rPr>
              <a:t>10</a:t>
            </a:r>
          </a:p>
        </p:txBody>
      </p:sp>
      <p:sp>
        <p:nvSpPr>
          <p:cNvPr id="122" name="TextBox 121"/>
          <p:cNvSpPr txBox="1"/>
          <p:nvPr/>
        </p:nvSpPr>
        <p:spPr>
          <a:xfrm>
            <a:off x="3289300" y="5053013"/>
            <a:ext cx="382588" cy="307975"/>
          </a:xfrm>
          <a:prstGeom prst="rect">
            <a:avLst/>
          </a:prstGeom>
          <a:noFill/>
        </p:spPr>
        <p:txBody>
          <a:bodyPr wrap="none">
            <a:spAutoFit/>
          </a:bodyPr>
          <a:lstStyle/>
          <a:p>
            <a:pPr>
              <a:defRPr/>
            </a:pPr>
            <a:r>
              <a:rPr lang="en-GB" sz="1400" dirty="0">
                <a:latin typeface="+mn-lt"/>
                <a:ea typeface="+mn-ea"/>
                <a:cs typeface="+mn-cs"/>
              </a:rPr>
              <a:t>15</a:t>
            </a:r>
          </a:p>
        </p:txBody>
      </p:sp>
      <p:sp>
        <p:nvSpPr>
          <p:cNvPr id="123" name="TextBox 122"/>
          <p:cNvSpPr txBox="1"/>
          <p:nvPr/>
        </p:nvSpPr>
        <p:spPr>
          <a:xfrm>
            <a:off x="4164013" y="5054600"/>
            <a:ext cx="384175" cy="307975"/>
          </a:xfrm>
          <a:prstGeom prst="rect">
            <a:avLst/>
          </a:prstGeom>
          <a:noFill/>
        </p:spPr>
        <p:txBody>
          <a:bodyPr wrap="none">
            <a:spAutoFit/>
          </a:bodyPr>
          <a:lstStyle/>
          <a:p>
            <a:pPr>
              <a:defRPr/>
            </a:pPr>
            <a:r>
              <a:rPr lang="en-GB" sz="1400" dirty="0">
                <a:latin typeface="+mn-lt"/>
                <a:ea typeface="+mn-ea"/>
                <a:cs typeface="+mn-cs"/>
              </a:rPr>
              <a:t>20</a:t>
            </a:r>
          </a:p>
        </p:txBody>
      </p:sp>
      <p:sp>
        <p:nvSpPr>
          <p:cNvPr id="43054" name="TextBox 123"/>
          <p:cNvSpPr txBox="1">
            <a:spLocks noChangeArrowheads="1"/>
          </p:cNvSpPr>
          <p:nvPr/>
        </p:nvSpPr>
        <p:spPr bwMode="auto">
          <a:xfrm>
            <a:off x="5084763" y="5049838"/>
            <a:ext cx="284162" cy="307975"/>
          </a:xfrm>
          <a:prstGeom prst="rect">
            <a:avLst/>
          </a:prstGeom>
          <a:noFill/>
          <a:ln w="9525">
            <a:noFill/>
            <a:miter lim="800000"/>
            <a:headEnd/>
            <a:tailEnd/>
          </a:ln>
        </p:spPr>
        <p:txBody>
          <a:bodyPr wrap="none">
            <a:spAutoFit/>
          </a:bodyPr>
          <a:lstStyle/>
          <a:p>
            <a:r>
              <a:rPr lang="en-GB" sz="1400"/>
              <a:t>0</a:t>
            </a:r>
          </a:p>
        </p:txBody>
      </p:sp>
      <p:sp>
        <p:nvSpPr>
          <p:cNvPr id="43055" name="TextBox 124"/>
          <p:cNvSpPr txBox="1">
            <a:spLocks noChangeArrowheads="1"/>
          </p:cNvSpPr>
          <p:nvPr/>
        </p:nvSpPr>
        <p:spPr bwMode="auto">
          <a:xfrm>
            <a:off x="5964238" y="5051425"/>
            <a:ext cx="284162" cy="307975"/>
          </a:xfrm>
          <a:prstGeom prst="rect">
            <a:avLst/>
          </a:prstGeom>
          <a:noFill/>
          <a:ln w="9525">
            <a:noFill/>
            <a:miter lim="800000"/>
            <a:headEnd/>
            <a:tailEnd/>
          </a:ln>
        </p:spPr>
        <p:txBody>
          <a:bodyPr wrap="none">
            <a:spAutoFit/>
          </a:bodyPr>
          <a:lstStyle/>
          <a:p>
            <a:r>
              <a:rPr lang="en-GB" sz="1400"/>
              <a:t>5</a:t>
            </a:r>
          </a:p>
        </p:txBody>
      </p:sp>
      <p:sp>
        <p:nvSpPr>
          <p:cNvPr id="126" name="TextBox 125"/>
          <p:cNvSpPr txBox="1"/>
          <p:nvPr/>
        </p:nvSpPr>
        <p:spPr>
          <a:xfrm>
            <a:off x="6816725" y="5053013"/>
            <a:ext cx="382588" cy="307975"/>
          </a:xfrm>
          <a:prstGeom prst="rect">
            <a:avLst/>
          </a:prstGeom>
          <a:noFill/>
        </p:spPr>
        <p:txBody>
          <a:bodyPr wrap="none">
            <a:spAutoFit/>
          </a:bodyPr>
          <a:lstStyle/>
          <a:p>
            <a:pPr>
              <a:defRPr/>
            </a:pPr>
            <a:r>
              <a:rPr lang="en-GB" sz="1400" dirty="0">
                <a:latin typeface="+mn-lt"/>
                <a:ea typeface="+mn-ea"/>
                <a:cs typeface="+mn-cs"/>
              </a:rPr>
              <a:t>10</a:t>
            </a:r>
          </a:p>
        </p:txBody>
      </p:sp>
      <p:sp>
        <p:nvSpPr>
          <p:cNvPr id="127" name="TextBox 126"/>
          <p:cNvSpPr txBox="1"/>
          <p:nvPr/>
        </p:nvSpPr>
        <p:spPr>
          <a:xfrm>
            <a:off x="7696200" y="5056188"/>
            <a:ext cx="384175" cy="307975"/>
          </a:xfrm>
          <a:prstGeom prst="rect">
            <a:avLst/>
          </a:prstGeom>
          <a:noFill/>
        </p:spPr>
        <p:txBody>
          <a:bodyPr wrap="none">
            <a:spAutoFit/>
          </a:bodyPr>
          <a:lstStyle/>
          <a:p>
            <a:pPr>
              <a:defRPr/>
            </a:pPr>
            <a:r>
              <a:rPr lang="en-GB" sz="1400" dirty="0">
                <a:latin typeface="+mn-lt"/>
                <a:ea typeface="+mn-ea"/>
                <a:cs typeface="+mn-cs"/>
              </a:rPr>
              <a:t>15</a:t>
            </a:r>
          </a:p>
        </p:txBody>
      </p:sp>
      <p:sp>
        <p:nvSpPr>
          <p:cNvPr id="128" name="TextBox 127"/>
          <p:cNvSpPr txBox="1"/>
          <p:nvPr/>
        </p:nvSpPr>
        <p:spPr>
          <a:xfrm>
            <a:off x="8572500" y="5057775"/>
            <a:ext cx="382588" cy="307975"/>
          </a:xfrm>
          <a:prstGeom prst="rect">
            <a:avLst/>
          </a:prstGeom>
          <a:noFill/>
        </p:spPr>
        <p:txBody>
          <a:bodyPr wrap="none">
            <a:spAutoFit/>
          </a:bodyPr>
          <a:lstStyle/>
          <a:p>
            <a:pPr>
              <a:defRPr/>
            </a:pPr>
            <a:r>
              <a:rPr lang="en-GB" sz="1400" dirty="0">
                <a:latin typeface="+mn-lt"/>
                <a:ea typeface="+mn-ea"/>
                <a:cs typeface="+mn-cs"/>
              </a:rPr>
              <a:t>20</a:t>
            </a:r>
          </a:p>
        </p:txBody>
      </p:sp>
      <p:sp>
        <p:nvSpPr>
          <p:cNvPr id="43059" name="TextBox 128"/>
          <p:cNvSpPr txBox="1">
            <a:spLocks noChangeArrowheads="1"/>
          </p:cNvSpPr>
          <p:nvPr/>
        </p:nvSpPr>
        <p:spPr bwMode="auto">
          <a:xfrm>
            <a:off x="4878388" y="4838700"/>
            <a:ext cx="284162" cy="307975"/>
          </a:xfrm>
          <a:prstGeom prst="rect">
            <a:avLst/>
          </a:prstGeom>
          <a:noFill/>
          <a:ln w="9525">
            <a:noFill/>
            <a:miter lim="800000"/>
            <a:headEnd/>
            <a:tailEnd/>
          </a:ln>
        </p:spPr>
        <p:txBody>
          <a:bodyPr wrap="none">
            <a:spAutoFit/>
          </a:bodyPr>
          <a:lstStyle/>
          <a:p>
            <a:r>
              <a:rPr lang="en-GB" sz="1400"/>
              <a:t>0</a:t>
            </a:r>
          </a:p>
        </p:txBody>
      </p:sp>
      <p:sp>
        <p:nvSpPr>
          <p:cNvPr id="130" name="TextBox 129"/>
          <p:cNvSpPr txBox="1"/>
          <p:nvPr/>
        </p:nvSpPr>
        <p:spPr>
          <a:xfrm>
            <a:off x="4794250" y="4359275"/>
            <a:ext cx="382588" cy="307975"/>
          </a:xfrm>
          <a:prstGeom prst="rect">
            <a:avLst/>
          </a:prstGeom>
          <a:noFill/>
        </p:spPr>
        <p:txBody>
          <a:bodyPr wrap="none">
            <a:spAutoFit/>
          </a:bodyPr>
          <a:lstStyle/>
          <a:p>
            <a:pPr>
              <a:defRPr/>
            </a:pPr>
            <a:r>
              <a:rPr lang="en-GB" sz="1400" dirty="0">
                <a:latin typeface="+mn-lt"/>
                <a:ea typeface="+mn-ea"/>
                <a:cs typeface="+mn-cs"/>
              </a:rPr>
              <a:t>20</a:t>
            </a:r>
          </a:p>
        </p:txBody>
      </p:sp>
      <p:sp>
        <p:nvSpPr>
          <p:cNvPr id="131" name="TextBox 130"/>
          <p:cNvSpPr txBox="1"/>
          <p:nvPr/>
        </p:nvSpPr>
        <p:spPr>
          <a:xfrm>
            <a:off x="4794250" y="3889375"/>
            <a:ext cx="382588" cy="307975"/>
          </a:xfrm>
          <a:prstGeom prst="rect">
            <a:avLst/>
          </a:prstGeom>
          <a:noFill/>
        </p:spPr>
        <p:txBody>
          <a:bodyPr wrap="none">
            <a:spAutoFit/>
          </a:bodyPr>
          <a:lstStyle/>
          <a:p>
            <a:pPr>
              <a:defRPr/>
            </a:pPr>
            <a:r>
              <a:rPr lang="en-GB" sz="1400" dirty="0">
                <a:latin typeface="+mn-lt"/>
                <a:ea typeface="+mn-ea"/>
                <a:cs typeface="+mn-cs"/>
              </a:rPr>
              <a:t>40</a:t>
            </a:r>
          </a:p>
        </p:txBody>
      </p:sp>
      <p:sp>
        <p:nvSpPr>
          <p:cNvPr id="132" name="TextBox 131"/>
          <p:cNvSpPr txBox="1"/>
          <p:nvPr/>
        </p:nvSpPr>
        <p:spPr>
          <a:xfrm>
            <a:off x="4794250" y="3419475"/>
            <a:ext cx="382588" cy="307975"/>
          </a:xfrm>
          <a:prstGeom prst="rect">
            <a:avLst/>
          </a:prstGeom>
          <a:noFill/>
        </p:spPr>
        <p:txBody>
          <a:bodyPr wrap="none">
            <a:spAutoFit/>
          </a:bodyPr>
          <a:lstStyle/>
          <a:p>
            <a:pPr>
              <a:defRPr/>
            </a:pPr>
            <a:r>
              <a:rPr lang="en-GB" sz="1400" dirty="0">
                <a:latin typeface="+mn-lt"/>
                <a:ea typeface="+mn-ea"/>
                <a:cs typeface="+mn-cs"/>
              </a:rPr>
              <a:t>60</a:t>
            </a:r>
          </a:p>
        </p:txBody>
      </p:sp>
      <p:sp>
        <p:nvSpPr>
          <p:cNvPr id="133" name="TextBox 132"/>
          <p:cNvSpPr txBox="1"/>
          <p:nvPr/>
        </p:nvSpPr>
        <p:spPr>
          <a:xfrm>
            <a:off x="4794250" y="2951163"/>
            <a:ext cx="382588" cy="307975"/>
          </a:xfrm>
          <a:prstGeom prst="rect">
            <a:avLst/>
          </a:prstGeom>
          <a:noFill/>
        </p:spPr>
        <p:txBody>
          <a:bodyPr wrap="none">
            <a:spAutoFit/>
          </a:bodyPr>
          <a:lstStyle/>
          <a:p>
            <a:pPr>
              <a:defRPr/>
            </a:pPr>
            <a:r>
              <a:rPr lang="en-GB" sz="1400" dirty="0">
                <a:latin typeface="+mn-lt"/>
                <a:ea typeface="+mn-ea"/>
                <a:cs typeface="+mn-cs"/>
              </a:rPr>
              <a:t>80</a:t>
            </a:r>
          </a:p>
        </p:txBody>
      </p:sp>
      <p:sp>
        <p:nvSpPr>
          <p:cNvPr id="134" name="TextBox 133"/>
          <p:cNvSpPr txBox="1"/>
          <p:nvPr/>
        </p:nvSpPr>
        <p:spPr>
          <a:xfrm>
            <a:off x="4708525" y="2481263"/>
            <a:ext cx="482600" cy="307975"/>
          </a:xfrm>
          <a:prstGeom prst="rect">
            <a:avLst/>
          </a:prstGeom>
          <a:noFill/>
        </p:spPr>
        <p:txBody>
          <a:bodyPr wrap="none">
            <a:spAutoFit/>
          </a:bodyPr>
          <a:lstStyle/>
          <a:p>
            <a:pPr>
              <a:defRPr/>
            </a:pPr>
            <a:r>
              <a:rPr lang="en-GB" sz="1400" dirty="0">
                <a:latin typeface="+mn-lt"/>
                <a:ea typeface="+mn-ea"/>
                <a:cs typeface="+mn-cs"/>
              </a:rPr>
              <a:t>100</a:t>
            </a:r>
          </a:p>
        </p:txBody>
      </p:sp>
      <p:sp>
        <p:nvSpPr>
          <p:cNvPr id="135" name="TextBox 134"/>
          <p:cNvSpPr txBox="1"/>
          <p:nvPr/>
        </p:nvSpPr>
        <p:spPr>
          <a:xfrm>
            <a:off x="3403600" y="2495550"/>
            <a:ext cx="1003300" cy="307975"/>
          </a:xfrm>
          <a:prstGeom prst="rect">
            <a:avLst/>
          </a:prstGeom>
          <a:noFill/>
        </p:spPr>
        <p:txBody>
          <a:bodyPr wrap="none">
            <a:spAutoFit/>
          </a:bodyPr>
          <a:lstStyle/>
          <a:p>
            <a:pPr algn="ctr">
              <a:defRPr/>
            </a:pPr>
            <a:r>
              <a:rPr lang="en-GB" sz="1400" dirty="0">
                <a:latin typeface="+mn-lt"/>
                <a:ea typeface="+mn-ea"/>
                <a:cs typeface="+mn-cs"/>
              </a:rPr>
              <a:t>RANK low</a:t>
            </a:r>
          </a:p>
        </p:txBody>
      </p:sp>
      <p:sp>
        <p:nvSpPr>
          <p:cNvPr id="136" name="TextBox 135"/>
          <p:cNvSpPr txBox="1"/>
          <p:nvPr/>
        </p:nvSpPr>
        <p:spPr>
          <a:xfrm>
            <a:off x="3397250" y="2792413"/>
            <a:ext cx="1073150" cy="307975"/>
          </a:xfrm>
          <a:prstGeom prst="rect">
            <a:avLst/>
          </a:prstGeom>
          <a:noFill/>
        </p:spPr>
        <p:txBody>
          <a:bodyPr wrap="none">
            <a:spAutoFit/>
          </a:bodyPr>
          <a:lstStyle/>
          <a:p>
            <a:pPr algn="ctr">
              <a:defRPr/>
            </a:pPr>
            <a:r>
              <a:rPr lang="en-GB" sz="1400" dirty="0">
                <a:latin typeface="+mn-lt"/>
                <a:ea typeface="+mn-ea"/>
                <a:cs typeface="+mn-cs"/>
              </a:rPr>
              <a:t>RANK high</a:t>
            </a:r>
          </a:p>
        </p:txBody>
      </p:sp>
      <p:cxnSp>
        <p:nvCxnSpPr>
          <p:cNvPr id="137" name="Straight Connector 136"/>
          <p:cNvCxnSpPr/>
          <p:nvPr/>
        </p:nvCxnSpPr>
        <p:spPr>
          <a:xfrm>
            <a:off x="3175000" y="2649538"/>
            <a:ext cx="241300" cy="0"/>
          </a:xfrm>
          <a:prstGeom prst="line">
            <a:avLst/>
          </a:prstGeom>
          <a:ln w="19050">
            <a:solidFill>
              <a:srgbClr val="5F595B"/>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p:cNvCxnSpPr/>
          <p:nvPr/>
        </p:nvCxnSpPr>
        <p:spPr>
          <a:xfrm>
            <a:off x="3175000" y="2921000"/>
            <a:ext cx="241300" cy="0"/>
          </a:xfrm>
          <a:prstGeom prst="line">
            <a:avLst/>
          </a:prstGeom>
          <a:ln w="19050">
            <a:solidFill>
              <a:srgbClr val="E25326"/>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p:nvCxnSpPr>
        <p:spPr>
          <a:xfrm>
            <a:off x="3295650" y="2847975"/>
            <a:ext cx="0" cy="7302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p:nvCxnSpPr>
        <p:spPr>
          <a:xfrm>
            <a:off x="3295650" y="2578100"/>
            <a:ext cx="0" cy="71438"/>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3" name="TextBox 142"/>
          <p:cNvSpPr txBox="1"/>
          <p:nvPr/>
        </p:nvSpPr>
        <p:spPr>
          <a:xfrm>
            <a:off x="7810500" y="2495550"/>
            <a:ext cx="1003300" cy="307975"/>
          </a:xfrm>
          <a:prstGeom prst="rect">
            <a:avLst/>
          </a:prstGeom>
          <a:noFill/>
        </p:spPr>
        <p:txBody>
          <a:bodyPr wrap="none">
            <a:spAutoFit/>
          </a:bodyPr>
          <a:lstStyle/>
          <a:p>
            <a:pPr algn="ctr">
              <a:defRPr/>
            </a:pPr>
            <a:r>
              <a:rPr lang="en-GB" sz="1400" dirty="0">
                <a:latin typeface="+mn-lt"/>
                <a:ea typeface="+mn-ea"/>
                <a:cs typeface="+mn-cs"/>
              </a:rPr>
              <a:t>RANK low</a:t>
            </a:r>
          </a:p>
        </p:txBody>
      </p:sp>
      <p:sp>
        <p:nvSpPr>
          <p:cNvPr id="144" name="TextBox 143"/>
          <p:cNvSpPr txBox="1"/>
          <p:nvPr/>
        </p:nvSpPr>
        <p:spPr>
          <a:xfrm>
            <a:off x="7805738" y="2792413"/>
            <a:ext cx="1073150" cy="307975"/>
          </a:xfrm>
          <a:prstGeom prst="rect">
            <a:avLst/>
          </a:prstGeom>
          <a:noFill/>
        </p:spPr>
        <p:txBody>
          <a:bodyPr wrap="none">
            <a:spAutoFit/>
          </a:bodyPr>
          <a:lstStyle/>
          <a:p>
            <a:pPr algn="ctr">
              <a:defRPr/>
            </a:pPr>
            <a:r>
              <a:rPr lang="en-GB" sz="1400" dirty="0">
                <a:latin typeface="+mn-lt"/>
                <a:ea typeface="+mn-ea"/>
                <a:cs typeface="+mn-cs"/>
              </a:rPr>
              <a:t>RANK high</a:t>
            </a:r>
          </a:p>
        </p:txBody>
      </p:sp>
      <p:cxnSp>
        <p:nvCxnSpPr>
          <p:cNvPr id="145" name="Straight Connector 144"/>
          <p:cNvCxnSpPr/>
          <p:nvPr/>
        </p:nvCxnSpPr>
        <p:spPr>
          <a:xfrm>
            <a:off x="7581900" y="2649538"/>
            <a:ext cx="241300" cy="0"/>
          </a:xfrm>
          <a:prstGeom prst="line">
            <a:avLst/>
          </a:prstGeom>
          <a:ln w="19050">
            <a:solidFill>
              <a:srgbClr val="5F595B"/>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p:cNvCxnSpPr/>
          <p:nvPr/>
        </p:nvCxnSpPr>
        <p:spPr>
          <a:xfrm>
            <a:off x="7581900" y="2917825"/>
            <a:ext cx="241300" cy="0"/>
          </a:xfrm>
          <a:prstGeom prst="line">
            <a:avLst/>
          </a:prstGeom>
          <a:ln w="19050">
            <a:solidFill>
              <a:srgbClr val="E25326"/>
            </a:solidFill>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p:nvCxnSpPr>
        <p:spPr>
          <a:xfrm>
            <a:off x="7702550" y="2841625"/>
            <a:ext cx="0" cy="730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p:nvCxnSpPr>
        <p:spPr>
          <a:xfrm>
            <a:off x="7702550" y="2573338"/>
            <a:ext cx="0" cy="7143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p:cNvCxnSpPr/>
          <p:nvPr/>
        </p:nvCxnSpPr>
        <p:spPr>
          <a:xfrm>
            <a:off x="871538" y="25685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p:cNvCxnSpPr/>
          <p:nvPr/>
        </p:nvCxnSpPr>
        <p:spPr>
          <a:xfrm>
            <a:off x="971550" y="2605088"/>
            <a:ext cx="0" cy="3492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p:nvCxnSpPr>
        <p:spPr>
          <a:xfrm>
            <a:off x="914400" y="2574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p:nvCxnSpPr>
        <p:spPr>
          <a:xfrm>
            <a:off x="971550" y="25987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p:cNvCxnSpPr/>
          <p:nvPr/>
        </p:nvCxnSpPr>
        <p:spPr>
          <a:xfrm>
            <a:off x="993775" y="2627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p:nvCxnSpPr>
        <p:spPr>
          <a:xfrm>
            <a:off x="1011238" y="26558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7" name="Straight Connector 156"/>
          <p:cNvCxnSpPr/>
          <p:nvPr/>
        </p:nvCxnSpPr>
        <p:spPr>
          <a:xfrm>
            <a:off x="1028700" y="26844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p:cNvCxnSpPr/>
          <p:nvPr/>
        </p:nvCxnSpPr>
        <p:spPr>
          <a:xfrm>
            <a:off x="1044575" y="27130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9" name="Straight Connector 158"/>
          <p:cNvCxnSpPr/>
          <p:nvPr/>
        </p:nvCxnSpPr>
        <p:spPr>
          <a:xfrm>
            <a:off x="1062038" y="27130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p:cNvCxnSpPr/>
          <p:nvPr/>
        </p:nvCxnSpPr>
        <p:spPr>
          <a:xfrm>
            <a:off x="1101725" y="27305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p:cNvCxnSpPr/>
          <p:nvPr/>
        </p:nvCxnSpPr>
        <p:spPr>
          <a:xfrm>
            <a:off x="1125538" y="28225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p:nvPr/>
        </p:nvCxnSpPr>
        <p:spPr>
          <a:xfrm>
            <a:off x="1077913" y="27686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3" name="Straight Connector 162"/>
          <p:cNvCxnSpPr/>
          <p:nvPr/>
        </p:nvCxnSpPr>
        <p:spPr>
          <a:xfrm>
            <a:off x="1100138" y="27987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p:cNvCxnSpPr/>
          <p:nvPr/>
        </p:nvCxnSpPr>
        <p:spPr>
          <a:xfrm>
            <a:off x="1122363" y="2830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p:cNvCxnSpPr/>
          <p:nvPr/>
        </p:nvCxnSpPr>
        <p:spPr>
          <a:xfrm>
            <a:off x="1154113" y="28924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6" name="Straight Connector 165"/>
          <p:cNvCxnSpPr/>
          <p:nvPr/>
        </p:nvCxnSpPr>
        <p:spPr>
          <a:xfrm>
            <a:off x="1168400" y="29114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a:off x="1184275" y="29448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8" name="Straight Connector 167"/>
          <p:cNvCxnSpPr/>
          <p:nvPr/>
        </p:nvCxnSpPr>
        <p:spPr>
          <a:xfrm>
            <a:off x="1198563" y="29638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9" name="Straight Connector 168"/>
          <p:cNvCxnSpPr/>
          <p:nvPr/>
        </p:nvCxnSpPr>
        <p:spPr>
          <a:xfrm>
            <a:off x="1212850" y="29749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0" name="Straight Connector 169"/>
          <p:cNvCxnSpPr/>
          <p:nvPr/>
        </p:nvCxnSpPr>
        <p:spPr>
          <a:xfrm>
            <a:off x="1228725" y="29924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1" name="Straight Connector 170"/>
          <p:cNvCxnSpPr/>
          <p:nvPr/>
        </p:nvCxnSpPr>
        <p:spPr>
          <a:xfrm>
            <a:off x="1243013" y="29940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2" name="Straight Connector 171"/>
          <p:cNvCxnSpPr/>
          <p:nvPr/>
        </p:nvCxnSpPr>
        <p:spPr>
          <a:xfrm>
            <a:off x="1258888" y="29987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3" name="Straight Connector 172"/>
          <p:cNvCxnSpPr/>
          <p:nvPr/>
        </p:nvCxnSpPr>
        <p:spPr>
          <a:xfrm>
            <a:off x="1273175" y="3003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4" name="Straight Connector 173"/>
          <p:cNvCxnSpPr/>
          <p:nvPr/>
        </p:nvCxnSpPr>
        <p:spPr>
          <a:xfrm>
            <a:off x="1282700" y="30368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5" name="Straight Connector 174"/>
          <p:cNvCxnSpPr/>
          <p:nvPr/>
        </p:nvCxnSpPr>
        <p:spPr>
          <a:xfrm>
            <a:off x="1293813" y="3041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6" name="Straight Connector 175"/>
          <p:cNvCxnSpPr/>
          <p:nvPr/>
        </p:nvCxnSpPr>
        <p:spPr>
          <a:xfrm>
            <a:off x="1303338" y="30464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7" name="Straight Connector 176"/>
          <p:cNvCxnSpPr/>
          <p:nvPr/>
        </p:nvCxnSpPr>
        <p:spPr>
          <a:xfrm>
            <a:off x="1312863" y="30511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8" name="Straight Connector 177"/>
          <p:cNvCxnSpPr/>
          <p:nvPr/>
        </p:nvCxnSpPr>
        <p:spPr>
          <a:xfrm>
            <a:off x="1323975" y="30559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9" name="Straight Connector 178"/>
          <p:cNvCxnSpPr/>
          <p:nvPr/>
        </p:nvCxnSpPr>
        <p:spPr>
          <a:xfrm>
            <a:off x="1333500" y="30559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0" name="Straight Connector 179"/>
          <p:cNvCxnSpPr/>
          <p:nvPr/>
        </p:nvCxnSpPr>
        <p:spPr>
          <a:xfrm>
            <a:off x="1343025" y="30559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1" name="Straight Connector 180"/>
          <p:cNvCxnSpPr/>
          <p:nvPr/>
        </p:nvCxnSpPr>
        <p:spPr>
          <a:xfrm>
            <a:off x="1354138" y="30559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p:nvCxnSpPr>
        <p:spPr>
          <a:xfrm>
            <a:off x="1363663" y="30559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3" name="Straight Connector 182"/>
          <p:cNvCxnSpPr/>
          <p:nvPr/>
        </p:nvCxnSpPr>
        <p:spPr>
          <a:xfrm>
            <a:off x="1374775" y="3079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4" name="Straight Connector 183"/>
          <p:cNvCxnSpPr/>
          <p:nvPr/>
        </p:nvCxnSpPr>
        <p:spPr>
          <a:xfrm>
            <a:off x="1384300" y="31035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5" name="Straight Connector 184"/>
          <p:cNvCxnSpPr/>
          <p:nvPr/>
        </p:nvCxnSpPr>
        <p:spPr>
          <a:xfrm>
            <a:off x="1393825" y="31178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p:nvCxnSpPr>
        <p:spPr>
          <a:xfrm>
            <a:off x="1404938" y="3132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7" name="Straight Connector 186"/>
          <p:cNvCxnSpPr/>
          <p:nvPr/>
        </p:nvCxnSpPr>
        <p:spPr>
          <a:xfrm>
            <a:off x="1414463" y="31464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8" name="Straight Connector 187"/>
          <p:cNvCxnSpPr/>
          <p:nvPr/>
        </p:nvCxnSpPr>
        <p:spPr>
          <a:xfrm>
            <a:off x="1423988" y="3160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9" name="Straight Connector 188"/>
          <p:cNvCxnSpPr/>
          <p:nvPr/>
        </p:nvCxnSpPr>
        <p:spPr>
          <a:xfrm>
            <a:off x="1435100" y="31702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0" name="Straight Connector 189"/>
          <p:cNvCxnSpPr/>
          <p:nvPr/>
        </p:nvCxnSpPr>
        <p:spPr>
          <a:xfrm>
            <a:off x="1444625" y="31702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1" name="Straight Connector 190"/>
          <p:cNvCxnSpPr/>
          <p:nvPr/>
        </p:nvCxnSpPr>
        <p:spPr>
          <a:xfrm>
            <a:off x="1454150" y="31702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2" name="Straight Connector 191"/>
          <p:cNvCxnSpPr/>
          <p:nvPr/>
        </p:nvCxnSpPr>
        <p:spPr>
          <a:xfrm>
            <a:off x="1465263" y="31702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3" name="Straight Connector 192"/>
          <p:cNvCxnSpPr/>
          <p:nvPr/>
        </p:nvCxnSpPr>
        <p:spPr>
          <a:xfrm>
            <a:off x="1503363" y="31797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4" name="Straight Connector 193"/>
          <p:cNvCxnSpPr/>
          <p:nvPr/>
        </p:nvCxnSpPr>
        <p:spPr>
          <a:xfrm>
            <a:off x="1516063" y="31829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5" name="Straight Connector 194"/>
          <p:cNvCxnSpPr/>
          <p:nvPr/>
        </p:nvCxnSpPr>
        <p:spPr>
          <a:xfrm>
            <a:off x="1552575" y="31845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6" name="Straight Connector 195"/>
          <p:cNvCxnSpPr/>
          <p:nvPr/>
        </p:nvCxnSpPr>
        <p:spPr>
          <a:xfrm>
            <a:off x="1604963" y="32083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7" name="Straight Connector 196"/>
          <p:cNvCxnSpPr/>
          <p:nvPr/>
        </p:nvCxnSpPr>
        <p:spPr>
          <a:xfrm>
            <a:off x="1620838" y="32258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8" name="Straight Connector 197"/>
          <p:cNvCxnSpPr/>
          <p:nvPr/>
        </p:nvCxnSpPr>
        <p:spPr>
          <a:xfrm>
            <a:off x="1630363" y="32416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p:cNvCxnSpPr/>
          <p:nvPr/>
        </p:nvCxnSpPr>
        <p:spPr>
          <a:xfrm>
            <a:off x="1639888" y="32496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0" name="Straight Connector 199"/>
          <p:cNvCxnSpPr/>
          <p:nvPr/>
        </p:nvCxnSpPr>
        <p:spPr>
          <a:xfrm>
            <a:off x="1651000" y="32559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p:nvCxnSpPr>
        <p:spPr>
          <a:xfrm>
            <a:off x="1689100" y="32559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2" name="Straight Connector 201"/>
          <p:cNvCxnSpPr/>
          <p:nvPr/>
        </p:nvCxnSpPr>
        <p:spPr>
          <a:xfrm>
            <a:off x="1697038" y="33035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3" name="Straight Connector 202"/>
          <p:cNvCxnSpPr/>
          <p:nvPr/>
        </p:nvCxnSpPr>
        <p:spPr>
          <a:xfrm>
            <a:off x="1704975" y="3300413"/>
            <a:ext cx="0" cy="55562"/>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a:off x="1712913"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5" name="Straight Connector 204"/>
          <p:cNvCxnSpPr/>
          <p:nvPr/>
        </p:nvCxnSpPr>
        <p:spPr>
          <a:xfrm>
            <a:off x="1720850" y="3295650"/>
            <a:ext cx="0" cy="5556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6" name="Straight Connector 205"/>
          <p:cNvCxnSpPr/>
          <p:nvPr/>
        </p:nvCxnSpPr>
        <p:spPr>
          <a:xfrm>
            <a:off x="1727200"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a:off x="1735138" y="3300413"/>
            <a:ext cx="0" cy="55562"/>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p:cNvCxnSpPr/>
          <p:nvPr/>
        </p:nvCxnSpPr>
        <p:spPr>
          <a:xfrm>
            <a:off x="1743075" y="33035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p:cNvCxnSpPr/>
          <p:nvPr/>
        </p:nvCxnSpPr>
        <p:spPr>
          <a:xfrm>
            <a:off x="1751013"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p:cNvCxnSpPr/>
          <p:nvPr/>
        </p:nvCxnSpPr>
        <p:spPr>
          <a:xfrm>
            <a:off x="1782763"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p:cNvCxnSpPr/>
          <p:nvPr/>
        </p:nvCxnSpPr>
        <p:spPr>
          <a:xfrm>
            <a:off x="1792288"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p:cNvCxnSpPr/>
          <p:nvPr/>
        </p:nvCxnSpPr>
        <p:spPr>
          <a:xfrm>
            <a:off x="1803400"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p:cNvCxnSpPr/>
          <p:nvPr/>
        </p:nvCxnSpPr>
        <p:spPr>
          <a:xfrm>
            <a:off x="1812925"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p:cNvCxnSpPr/>
          <p:nvPr/>
        </p:nvCxnSpPr>
        <p:spPr>
          <a:xfrm>
            <a:off x="1822450"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p:cNvCxnSpPr/>
          <p:nvPr/>
        </p:nvCxnSpPr>
        <p:spPr>
          <a:xfrm>
            <a:off x="1833563"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p:cNvCxnSpPr/>
          <p:nvPr/>
        </p:nvCxnSpPr>
        <p:spPr>
          <a:xfrm>
            <a:off x="1843088"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p:nvCxnSpPr>
        <p:spPr>
          <a:xfrm>
            <a:off x="1852613"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p:cNvCxnSpPr/>
          <p:nvPr/>
        </p:nvCxnSpPr>
        <p:spPr>
          <a:xfrm>
            <a:off x="1863725"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p:cNvCxnSpPr/>
          <p:nvPr/>
        </p:nvCxnSpPr>
        <p:spPr>
          <a:xfrm>
            <a:off x="1873250"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0" name="Straight Connector 219"/>
          <p:cNvCxnSpPr/>
          <p:nvPr/>
        </p:nvCxnSpPr>
        <p:spPr>
          <a:xfrm>
            <a:off x="1884363"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1" name="Straight Connector 220"/>
          <p:cNvCxnSpPr/>
          <p:nvPr/>
        </p:nvCxnSpPr>
        <p:spPr>
          <a:xfrm>
            <a:off x="1893888"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p:cNvCxnSpPr/>
          <p:nvPr/>
        </p:nvCxnSpPr>
        <p:spPr>
          <a:xfrm>
            <a:off x="1903413"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3" name="Straight Connector 222"/>
          <p:cNvCxnSpPr/>
          <p:nvPr/>
        </p:nvCxnSpPr>
        <p:spPr>
          <a:xfrm>
            <a:off x="1914525"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p:nvCxnSpPr>
        <p:spPr>
          <a:xfrm>
            <a:off x="1924050"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p:nvCxnSpPr>
        <p:spPr>
          <a:xfrm>
            <a:off x="1933575"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p:nvCxnSpPr>
        <p:spPr>
          <a:xfrm>
            <a:off x="1944688"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p:nvCxnSpPr>
        <p:spPr>
          <a:xfrm>
            <a:off x="1954213" y="3298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8" name="Straight Connector 227"/>
          <p:cNvCxnSpPr/>
          <p:nvPr/>
        </p:nvCxnSpPr>
        <p:spPr>
          <a:xfrm>
            <a:off x="1943100" y="33416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9" name="Straight Connector 228"/>
          <p:cNvCxnSpPr/>
          <p:nvPr/>
        </p:nvCxnSpPr>
        <p:spPr>
          <a:xfrm>
            <a:off x="1955800" y="3338513"/>
            <a:ext cx="0" cy="55562"/>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p:nvCxnSpPr>
        <p:spPr>
          <a:xfrm>
            <a:off x="1968500"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p:nvCxnSpPr>
        <p:spPr>
          <a:xfrm>
            <a:off x="1981200" y="3333750"/>
            <a:ext cx="0" cy="5556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2" name="Straight Connector 231"/>
          <p:cNvCxnSpPr/>
          <p:nvPr/>
        </p:nvCxnSpPr>
        <p:spPr>
          <a:xfrm>
            <a:off x="1992313"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6" name="Straight Connector 235"/>
          <p:cNvCxnSpPr/>
          <p:nvPr/>
        </p:nvCxnSpPr>
        <p:spPr>
          <a:xfrm>
            <a:off x="1997075"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7" name="Straight Connector 236"/>
          <p:cNvCxnSpPr/>
          <p:nvPr/>
        </p:nvCxnSpPr>
        <p:spPr>
          <a:xfrm>
            <a:off x="2001838"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8" name="Straight Connector 237"/>
          <p:cNvCxnSpPr/>
          <p:nvPr/>
        </p:nvCxnSpPr>
        <p:spPr>
          <a:xfrm>
            <a:off x="2006600"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9" name="Straight Connector 238"/>
          <p:cNvCxnSpPr/>
          <p:nvPr/>
        </p:nvCxnSpPr>
        <p:spPr>
          <a:xfrm>
            <a:off x="2011363"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p:nvCxnSpPr>
        <p:spPr>
          <a:xfrm>
            <a:off x="2016125"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p:nvCxnSpPr>
        <p:spPr>
          <a:xfrm>
            <a:off x="2020888"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2" name="Straight Connector 241"/>
          <p:cNvCxnSpPr/>
          <p:nvPr/>
        </p:nvCxnSpPr>
        <p:spPr>
          <a:xfrm>
            <a:off x="2025650"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3" name="Straight Connector 242"/>
          <p:cNvCxnSpPr/>
          <p:nvPr/>
        </p:nvCxnSpPr>
        <p:spPr>
          <a:xfrm>
            <a:off x="2030413"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4" name="Straight Connector 243"/>
          <p:cNvCxnSpPr/>
          <p:nvPr/>
        </p:nvCxnSpPr>
        <p:spPr>
          <a:xfrm>
            <a:off x="2035175"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5" name="Straight Connector 244"/>
          <p:cNvCxnSpPr/>
          <p:nvPr/>
        </p:nvCxnSpPr>
        <p:spPr>
          <a:xfrm>
            <a:off x="2039938"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6" name="Straight Connector 245"/>
          <p:cNvCxnSpPr/>
          <p:nvPr/>
        </p:nvCxnSpPr>
        <p:spPr>
          <a:xfrm>
            <a:off x="2044700"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7" name="Straight Connector 246"/>
          <p:cNvCxnSpPr/>
          <p:nvPr/>
        </p:nvCxnSpPr>
        <p:spPr>
          <a:xfrm>
            <a:off x="2049463"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p:nvPr/>
        </p:nvCxnSpPr>
        <p:spPr>
          <a:xfrm>
            <a:off x="2054225"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9" name="Straight Connector 248"/>
          <p:cNvCxnSpPr/>
          <p:nvPr/>
        </p:nvCxnSpPr>
        <p:spPr>
          <a:xfrm>
            <a:off x="2060575" y="3336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p:nvCxnSpPr>
        <p:spPr>
          <a:xfrm>
            <a:off x="2055813" y="33591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1" name="Straight Connector 250"/>
          <p:cNvCxnSpPr/>
          <p:nvPr/>
        </p:nvCxnSpPr>
        <p:spPr>
          <a:xfrm>
            <a:off x="2066925" y="33591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2" name="Straight Connector 251"/>
          <p:cNvCxnSpPr/>
          <p:nvPr/>
        </p:nvCxnSpPr>
        <p:spPr>
          <a:xfrm>
            <a:off x="2079625" y="33591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3" name="Straight Connector 252"/>
          <p:cNvCxnSpPr/>
          <p:nvPr/>
        </p:nvCxnSpPr>
        <p:spPr>
          <a:xfrm>
            <a:off x="2090738" y="33591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4" name="Straight Connector 253"/>
          <p:cNvCxnSpPr/>
          <p:nvPr/>
        </p:nvCxnSpPr>
        <p:spPr>
          <a:xfrm>
            <a:off x="2103438" y="33591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5" name="Straight Connector 254"/>
          <p:cNvCxnSpPr/>
          <p:nvPr/>
        </p:nvCxnSpPr>
        <p:spPr>
          <a:xfrm>
            <a:off x="2114550" y="33591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p:cNvCxnSpPr/>
          <p:nvPr/>
        </p:nvCxnSpPr>
        <p:spPr>
          <a:xfrm>
            <a:off x="2127250" y="33591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p:nvCxnSpPr>
        <p:spPr>
          <a:xfrm>
            <a:off x="2138363" y="33591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8" name="Straight Connector 257"/>
          <p:cNvCxnSpPr/>
          <p:nvPr/>
        </p:nvCxnSpPr>
        <p:spPr>
          <a:xfrm>
            <a:off x="2151063" y="34115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9" name="Straight Connector 258"/>
          <p:cNvCxnSpPr/>
          <p:nvPr/>
        </p:nvCxnSpPr>
        <p:spPr>
          <a:xfrm>
            <a:off x="2162175" y="34131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0" name="Straight Connector 259"/>
          <p:cNvCxnSpPr/>
          <p:nvPr/>
        </p:nvCxnSpPr>
        <p:spPr>
          <a:xfrm>
            <a:off x="2174875" y="34115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1" name="Straight Connector 260"/>
          <p:cNvCxnSpPr/>
          <p:nvPr/>
        </p:nvCxnSpPr>
        <p:spPr>
          <a:xfrm>
            <a:off x="2185988" y="34083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2" name="Straight Connector 261"/>
          <p:cNvCxnSpPr/>
          <p:nvPr/>
        </p:nvCxnSpPr>
        <p:spPr>
          <a:xfrm>
            <a:off x="2198688" y="34083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3" name="Straight Connector 262"/>
          <p:cNvCxnSpPr/>
          <p:nvPr/>
        </p:nvCxnSpPr>
        <p:spPr>
          <a:xfrm>
            <a:off x="2209800" y="34083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4" name="Straight Connector 263"/>
          <p:cNvCxnSpPr/>
          <p:nvPr/>
        </p:nvCxnSpPr>
        <p:spPr>
          <a:xfrm>
            <a:off x="2222500" y="34083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5" name="Straight Connector 264"/>
          <p:cNvCxnSpPr/>
          <p:nvPr/>
        </p:nvCxnSpPr>
        <p:spPr>
          <a:xfrm>
            <a:off x="2233613" y="34083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6" name="Straight Connector 265"/>
          <p:cNvCxnSpPr/>
          <p:nvPr/>
        </p:nvCxnSpPr>
        <p:spPr>
          <a:xfrm>
            <a:off x="2246313" y="34178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7" name="Straight Connector 266"/>
          <p:cNvCxnSpPr/>
          <p:nvPr/>
        </p:nvCxnSpPr>
        <p:spPr>
          <a:xfrm>
            <a:off x="2257425" y="3421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8" name="Straight Connector 267"/>
          <p:cNvCxnSpPr/>
          <p:nvPr/>
        </p:nvCxnSpPr>
        <p:spPr>
          <a:xfrm>
            <a:off x="2270125" y="3422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9" name="Straight Connector 268"/>
          <p:cNvCxnSpPr/>
          <p:nvPr/>
        </p:nvCxnSpPr>
        <p:spPr>
          <a:xfrm>
            <a:off x="2281238" y="3421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0" name="Straight Connector 269"/>
          <p:cNvCxnSpPr/>
          <p:nvPr/>
        </p:nvCxnSpPr>
        <p:spPr>
          <a:xfrm>
            <a:off x="2279650" y="34544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1" name="Straight Connector 270"/>
          <p:cNvCxnSpPr/>
          <p:nvPr/>
        </p:nvCxnSpPr>
        <p:spPr>
          <a:xfrm>
            <a:off x="2290763" y="34544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2" name="Straight Connector 271"/>
          <p:cNvCxnSpPr/>
          <p:nvPr/>
        </p:nvCxnSpPr>
        <p:spPr>
          <a:xfrm>
            <a:off x="2303463" y="34544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3" name="Straight Connector 272"/>
          <p:cNvCxnSpPr/>
          <p:nvPr/>
        </p:nvCxnSpPr>
        <p:spPr>
          <a:xfrm>
            <a:off x="2314575" y="34544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4" name="Straight Connector 273"/>
          <p:cNvCxnSpPr/>
          <p:nvPr/>
        </p:nvCxnSpPr>
        <p:spPr>
          <a:xfrm>
            <a:off x="2327275" y="34734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5" name="Straight Connector 274"/>
          <p:cNvCxnSpPr/>
          <p:nvPr/>
        </p:nvCxnSpPr>
        <p:spPr>
          <a:xfrm>
            <a:off x="2338388" y="34750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6" name="Straight Connector 275"/>
          <p:cNvCxnSpPr/>
          <p:nvPr/>
        </p:nvCxnSpPr>
        <p:spPr>
          <a:xfrm>
            <a:off x="2351088" y="34734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7" name="Straight Connector 276"/>
          <p:cNvCxnSpPr/>
          <p:nvPr/>
        </p:nvCxnSpPr>
        <p:spPr>
          <a:xfrm>
            <a:off x="2362200" y="34734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8" name="Straight Connector 277"/>
          <p:cNvCxnSpPr/>
          <p:nvPr/>
        </p:nvCxnSpPr>
        <p:spPr>
          <a:xfrm>
            <a:off x="2374900" y="34734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9" name="Straight Connector 278"/>
          <p:cNvCxnSpPr/>
          <p:nvPr/>
        </p:nvCxnSpPr>
        <p:spPr>
          <a:xfrm>
            <a:off x="2386013"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0" name="Straight Connector 279"/>
          <p:cNvCxnSpPr/>
          <p:nvPr/>
        </p:nvCxnSpPr>
        <p:spPr>
          <a:xfrm>
            <a:off x="2398713"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1" name="Straight Connector 280"/>
          <p:cNvCxnSpPr/>
          <p:nvPr/>
        </p:nvCxnSpPr>
        <p:spPr>
          <a:xfrm>
            <a:off x="2409825"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2" name="Straight Connector 281"/>
          <p:cNvCxnSpPr/>
          <p:nvPr/>
        </p:nvCxnSpPr>
        <p:spPr>
          <a:xfrm>
            <a:off x="2422525"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3" name="Straight Connector 282"/>
          <p:cNvCxnSpPr/>
          <p:nvPr/>
        </p:nvCxnSpPr>
        <p:spPr>
          <a:xfrm>
            <a:off x="2433638"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4" name="Straight Connector 283"/>
          <p:cNvCxnSpPr/>
          <p:nvPr/>
        </p:nvCxnSpPr>
        <p:spPr>
          <a:xfrm>
            <a:off x="2446338"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5" name="Straight Connector 284"/>
          <p:cNvCxnSpPr/>
          <p:nvPr/>
        </p:nvCxnSpPr>
        <p:spPr>
          <a:xfrm>
            <a:off x="2457450"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6" name="Straight Connector 285"/>
          <p:cNvCxnSpPr/>
          <p:nvPr/>
        </p:nvCxnSpPr>
        <p:spPr>
          <a:xfrm>
            <a:off x="2470150"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7" name="Straight Connector 286"/>
          <p:cNvCxnSpPr/>
          <p:nvPr/>
        </p:nvCxnSpPr>
        <p:spPr>
          <a:xfrm>
            <a:off x="2481263"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8" name="Straight Connector 287"/>
          <p:cNvCxnSpPr/>
          <p:nvPr/>
        </p:nvCxnSpPr>
        <p:spPr>
          <a:xfrm>
            <a:off x="2493963" y="3511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9" name="Straight Connector 288"/>
          <p:cNvCxnSpPr/>
          <p:nvPr/>
        </p:nvCxnSpPr>
        <p:spPr>
          <a:xfrm>
            <a:off x="2493963" y="35687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0" name="Straight Connector 289"/>
          <p:cNvCxnSpPr/>
          <p:nvPr/>
        </p:nvCxnSpPr>
        <p:spPr>
          <a:xfrm>
            <a:off x="2503488" y="35766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1" name="Straight Connector 290"/>
          <p:cNvCxnSpPr/>
          <p:nvPr/>
        </p:nvCxnSpPr>
        <p:spPr>
          <a:xfrm>
            <a:off x="2513013"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2" name="Straight Connector 291"/>
          <p:cNvCxnSpPr/>
          <p:nvPr/>
        </p:nvCxnSpPr>
        <p:spPr>
          <a:xfrm>
            <a:off x="2522538" y="3592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3" name="Straight Connector 292"/>
          <p:cNvCxnSpPr/>
          <p:nvPr/>
        </p:nvCxnSpPr>
        <p:spPr>
          <a:xfrm>
            <a:off x="2566988" y="3590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4" name="Straight Connector 293"/>
          <p:cNvCxnSpPr/>
          <p:nvPr/>
        </p:nvCxnSpPr>
        <p:spPr>
          <a:xfrm>
            <a:off x="2576513"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p:cNvCxnSpPr/>
          <p:nvPr/>
        </p:nvCxnSpPr>
        <p:spPr>
          <a:xfrm>
            <a:off x="2586038"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6" name="Straight Connector 295"/>
          <p:cNvCxnSpPr/>
          <p:nvPr/>
        </p:nvCxnSpPr>
        <p:spPr>
          <a:xfrm>
            <a:off x="2595563"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7" name="Straight Connector 296"/>
          <p:cNvCxnSpPr/>
          <p:nvPr/>
        </p:nvCxnSpPr>
        <p:spPr>
          <a:xfrm>
            <a:off x="2605088"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8" name="Straight Connector 297"/>
          <p:cNvCxnSpPr/>
          <p:nvPr/>
        </p:nvCxnSpPr>
        <p:spPr>
          <a:xfrm>
            <a:off x="2614613"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9" name="Straight Connector 298"/>
          <p:cNvCxnSpPr/>
          <p:nvPr/>
        </p:nvCxnSpPr>
        <p:spPr>
          <a:xfrm>
            <a:off x="2624138"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0" name="Straight Connector 299"/>
          <p:cNvCxnSpPr/>
          <p:nvPr/>
        </p:nvCxnSpPr>
        <p:spPr>
          <a:xfrm>
            <a:off x="2633663"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1" name="Straight Connector 300"/>
          <p:cNvCxnSpPr/>
          <p:nvPr/>
        </p:nvCxnSpPr>
        <p:spPr>
          <a:xfrm>
            <a:off x="2643188"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2" name="Straight Connector 301"/>
          <p:cNvCxnSpPr/>
          <p:nvPr/>
        </p:nvCxnSpPr>
        <p:spPr>
          <a:xfrm>
            <a:off x="2652713"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3" name="Straight Connector 302"/>
          <p:cNvCxnSpPr/>
          <p:nvPr/>
        </p:nvCxnSpPr>
        <p:spPr>
          <a:xfrm>
            <a:off x="2663825"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4" name="Straight Connector 303"/>
          <p:cNvCxnSpPr/>
          <p:nvPr/>
        </p:nvCxnSpPr>
        <p:spPr>
          <a:xfrm>
            <a:off x="2703513"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5" name="Straight Connector 304"/>
          <p:cNvCxnSpPr/>
          <p:nvPr/>
        </p:nvCxnSpPr>
        <p:spPr>
          <a:xfrm>
            <a:off x="2716213"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6" name="Straight Connector 305"/>
          <p:cNvCxnSpPr/>
          <p:nvPr/>
        </p:nvCxnSpPr>
        <p:spPr>
          <a:xfrm>
            <a:off x="2727325"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7" name="Straight Connector 306"/>
          <p:cNvCxnSpPr/>
          <p:nvPr/>
        </p:nvCxnSpPr>
        <p:spPr>
          <a:xfrm>
            <a:off x="2770188"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8" name="Straight Connector 307"/>
          <p:cNvCxnSpPr/>
          <p:nvPr/>
        </p:nvCxnSpPr>
        <p:spPr>
          <a:xfrm>
            <a:off x="2787650" y="3587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9" name="Straight Connector 308"/>
          <p:cNvCxnSpPr/>
          <p:nvPr/>
        </p:nvCxnSpPr>
        <p:spPr>
          <a:xfrm>
            <a:off x="2787650" y="3643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0" name="Straight Connector 309"/>
          <p:cNvCxnSpPr/>
          <p:nvPr/>
        </p:nvCxnSpPr>
        <p:spPr>
          <a:xfrm>
            <a:off x="2797175" y="3638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1" name="Straight Connector 310"/>
          <p:cNvCxnSpPr/>
          <p:nvPr/>
        </p:nvCxnSpPr>
        <p:spPr>
          <a:xfrm>
            <a:off x="2806700" y="3640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2" name="Straight Connector 311"/>
          <p:cNvCxnSpPr/>
          <p:nvPr/>
        </p:nvCxnSpPr>
        <p:spPr>
          <a:xfrm>
            <a:off x="2816225" y="3643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3" name="Straight Connector 312"/>
          <p:cNvCxnSpPr/>
          <p:nvPr/>
        </p:nvCxnSpPr>
        <p:spPr>
          <a:xfrm>
            <a:off x="2825750"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4" name="Straight Connector 313"/>
          <p:cNvCxnSpPr/>
          <p:nvPr/>
        </p:nvCxnSpPr>
        <p:spPr>
          <a:xfrm>
            <a:off x="2835275"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5" name="Straight Connector 314"/>
          <p:cNvCxnSpPr/>
          <p:nvPr/>
        </p:nvCxnSpPr>
        <p:spPr>
          <a:xfrm>
            <a:off x="2844800"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6" name="Straight Connector 315"/>
          <p:cNvCxnSpPr/>
          <p:nvPr/>
        </p:nvCxnSpPr>
        <p:spPr>
          <a:xfrm>
            <a:off x="2854325"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7" name="Straight Connector 316"/>
          <p:cNvCxnSpPr/>
          <p:nvPr/>
        </p:nvCxnSpPr>
        <p:spPr>
          <a:xfrm>
            <a:off x="2863850"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8" name="Straight Connector 317"/>
          <p:cNvCxnSpPr/>
          <p:nvPr/>
        </p:nvCxnSpPr>
        <p:spPr>
          <a:xfrm>
            <a:off x="2873375"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9" name="Straight Connector 318"/>
          <p:cNvCxnSpPr/>
          <p:nvPr/>
        </p:nvCxnSpPr>
        <p:spPr>
          <a:xfrm>
            <a:off x="2882900"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0" name="Straight Connector 319"/>
          <p:cNvCxnSpPr/>
          <p:nvPr/>
        </p:nvCxnSpPr>
        <p:spPr>
          <a:xfrm>
            <a:off x="2892425"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1" name="Straight Connector 320"/>
          <p:cNvCxnSpPr/>
          <p:nvPr/>
        </p:nvCxnSpPr>
        <p:spPr>
          <a:xfrm>
            <a:off x="2901950"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2" name="Straight Connector 321"/>
          <p:cNvCxnSpPr/>
          <p:nvPr/>
        </p:nvCxnSpPr>
        <p:spPr>
          <a:xfrm>
            <a:off x="2911475"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3" name="Straight Connector 322"/>
          <p:cNvCxnSpPr/>
          <p:nvPr/>
        </p:nvCxnSpPr>
        <p:spPr>
          <a:xfrm>
            <a:off x="2921000"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4" name="Straight Connector 323"/>
          <p:cNvCxnSpPr/>
          <p:nvPr/>
        </p:nvCxnSpPr>
        <p:spPr>
          <a:xfrm>
            <a:off x="2965450"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5" name="Straight Connector 324"/>
          <p:cNvCxnSpPr/>
          <p:nvPr/>
        </p:nvCxnSpPr>
        <p:spPr>
          <a:xfrm>
            <a:off x="3040063"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6" name="Straight Connector 325"/>
          <p:cNvCxnSpPr/>
          <p:nvPr/>
        </p:nvCxnSpPr>
        <p:spPr>
          <a:xfrm>
            <a:off x="3051175"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7" name="Straight Connector 326"/>
          <p:cNvCxnSpPr/>
          <p:nvPr/>
        </p:nvCxnSpPr>
        <p:spPr>
          <a:xfrm>
            <a:off x="3063875"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8" name="Straight Connector 327"/>
          <p:cNvCxnSpPr/>
          <p:nvPr/>
        </p:nvCxnSpPr>
        <p:spPr>
          <a:xfrm>
            <a:off x="3074988"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9" name="Straight Connector 328"/>
          <p:cNvCxnSpPr/>
          <p:nvPr/>
        </p:nvCxnSpPr>
        <p:spPr>
          <a:xfrm>
            <a:off x="3087688"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0" name="Straight Connector 329"/>
          <p:cNvCxnSpPr/>
          <p:nvPr/>
        </p:nvCxnSpPr>
        <p:spPr>
          <a:xfrm>
            <a:off x="3144838"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1" name="Straight Connector 330"/>
          <p:cNvCxnSpPr/>
          <p:nvPr/>
        </p:nvCxnSpPr>
        <p:spPr>
          <a:xfrm>
            <a:off x="3308350"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2" name="Straight Connector 331"/>
          <p:cNvCxnSpPr/>
          <p:nvPr/>
        </p:nvCxnSpPr>
        <p:spPr>
          <a:xfrm>
            <a:off x="3316288"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3" name="Straight Connector 332"/>
          <p:cNvCxnSpPr/>
          <p:nvPr/>
        </p:nvCxnSpPr>
        <p:spPr>
          <a:xfrm>
            <a:off x="3322638"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4" name="Straight Connector 333"/>
          <p:cNvCxnSpPr/>
          <p:nvPr/>
        </p:nvCxnSpPr>
        <p:spPr>
          <a:xfrm>
            <a:off x="3330575" y="3644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5" name="Straight Connector 334"/>
          <p:cNvCxnSpPr/>
          <p:nvPr/>
        </p:nvCxnSpPr>
        <p:spPr>
          <a:xfrm>
            <a:off x="3340100" y="3644900"/>
            <a:ext cx="0" cy="5556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6" name="Straight Connector 335"/>
          <p:cNvCxnSpPr/>
          <p:nvPr/>
        </p:nvCxnSpPr>
        <p:spPr>
          <a:xfrm>
            <a:off x="3432175" y="3644900"/>
            <a:ext cx="0" cy="5556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7" name="Straight Connector 336"/>
          <p:cNvCxnSpPr/>
          <p:nvPr/>
        </p:nvCxnSpPr>
        <p:spPr>
          <a:xfrm>
            <a:off x="3484563" y="3646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8" name="Straight Connector 337"/>
          <p:cNvCxnSpPr/>
          <p:nvPr/>
        </p:nvCxnSpPr>
        <p:spPr>
          <a:xfrm>
            <a:off x="3527425" y="3646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9" name="Straight Connector 338"/>
          <p:cNvCxnSpPr/>
          <p:nvPr/>
        </p:nvCxnSpPr>
        <p:spPr>
          <a:xfrm>
            <a:off x="3609975" y="3646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0" name="Straight Connector 339"/>
          <p:cNvCxnSpPr/>
          <p:nvPr/>
        </p:nvCxnSpPr>
        <p:spPr>
          <a:xfrm>
            <a:off x="3751263" y="3646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1" name="Straight Connector 340"/>
          <p:cNvCxnSpPr/>
          <p:nvPr/>
        </p:nvCxnSpPr>
        <p:spPr>
          <a:xfrm>
            <a:off x="3854450" y="3646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2" name="Straight Connector 341"/>
          <p:cNvCxnSpPr/>
          <p:nvPr/>
        </p:nvCxnSpPr>
        <p:spPr>
          <a:xfrm>
            <a:off x="3862388" y="3646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3" name="Straight Connector 342"/>
          <p:cNvCxnSpPr/>
          <p:nvPr/>
        </p:nvCxnSpPr>
        <p:spPr>
          <a:xfrm>
            <a:off x="3903663" y="3646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4" name="Straight Connector 343"/>
          <p:cNvCxnSpPr/>
          <p:nvPr/>
        </p:nvCxnSpPr>
        <p:spPr>
          <a:xfrm>
            <a:off x="3937000" y="3646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6" name="Straight Connector 345"/>
          <p:cNvCxnSpPr/>
          <p:nvPr/>
        </p:nvCxnSpPr>
        <p:spPr>
          <a:xfrm>
            <a:off x="1158875" y="2749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7" name="Straight Connector 346"/>
          <p:cNvCxnSpPr/>
          <p:nvPr/>
        </p:nvCxnSpPr>
        <p:spPr>
          <a:xfrm>
            <a:off x="1173163" y="2749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8" name="Straight Connector 347"/>
          <p:cNvCxnSpPr/>
          <p:nvPr/>
        </p:nvCxnSpPr>
        <p:spPr>
          <a:xfrm>
            <a:off x="1187450" y="2751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9" name="Straight Connector 348"/>
          <p:cNvCxnSpPr/>
          <p:nvPr/>
        </p:nvCxnSpPr>
        <p:spPr>
          <a:xfrm>
            <a:off x="1203325" y="2752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0" name="Straight Connector 349"/>
          <p:cNvCxnSpPr/>
          <p:nvPr/>
        </p:nvCxnSpPr>
        <p:spPr>
          <a:xfrm>
            <a:off x="1217613" y="27844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1" name="Straight Connector 350"/>
          <p:cNvCxnSpPr/>
          <p:nvPr/>
        </p:nvCxnSpPr>
        <p:spPr>
          <a:xfrm>
            <a:off x="1233488" y="28178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2" name="Straight Connector 351"/>
          <p:cNvCxnSpPr/>
          <p:nvPr/>
        </p:nvCxnSpPr>
        <p:spPr>
          <a:xfrm>
            <a:off x="1296988" y="28416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3" name="Straight Connector 352"/>
          <p:cNvCxnSpPr/>
          <p:nvPr/>
        </p:nvCxnSpPr>
        <p:spPr>
          <a:xfrm>
            <a:off x="1347788" y="2878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4" name="Straight Connector 353"/>
          <p:cNvCxnSpPr/>
          <p:nvPr/>
        </p:nvCxnSpPr>
        <p:spPr>
          <a:xfrm>
            <a:off x="1387475" y="29051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5" name="Straight Connector 354"/>
          <p:cNvCxnSpPr/>
          <p:nvPr/>
        </p:nvCxnSpPr>
        <p:spPr>
          <a:xfrm>
            <a:off x="1425575" y="29225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6" name="Straight Connector 355"/>
          <p:cNvCxnSpPr/>
          <p:nvPr/>
        </p:nvCxnSpPr>
        <p:spPr>
          <a:xfrm>
            <a:off x="1530350" y="29479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7" name="Straight Connector 356"/>
          <p:cNvCxnSpPr/>
          <p:nvPr/>
        </p:nvCxnSpPr>
        <p:spPr>
          <a:xfrm>
            <a:off x="1627188" y="29749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8" name="Straight Connector 357"/>
          <p:cNvCxnSpPr/>
          <p:nvPr/>
        </p:nvCxnSpPr>
        <p:spPr>
          <a:xfrm>
            <a:off x="1644650" y="29924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9" name="Straight Connector 358"/>
          <p:cNvCxnSpPr/>
          <p:nvPr/>
        </p:nvCxnSpPr>
        <p:spPr>
          <a:xfrm>
            <a:off x="1660525" y="29940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0" name="Straight Connector 359"/>
          <p:cNvCxnSpPr/>
          <p:nvPr/>
        </p:nvCxnSpPr>
        <p:spPr>
          <a:xfrm>
            <a:off x="1677988" y="29940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1" name="Straight Connector 360"/>
          <p:cNvCxnSpPr/>
          <p:nvPr/>
        </p:nvCxnSpPr>
        <p:spPr>
          <a:xfrm>
            <a:off x="1695450" y="30241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2" name="Straight Connector 361"/>
          <p:cNvCxnSpPr/>
          <p:nvPr/>
        </p:nvCxnSpPr>
        <p:spPr>
          <a:xfrm>
            <a:off x="1712913" y="30226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3" name="Straight Connector 362"/>
          <p:cNvCxnSpPr/>
          <p:nvPr/>
        </p:nvCxnSpPr>
        <p:spPr>
          <a:xfrm>
            <a:off x="1730375" y="30210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4" name="Straight Connector 363"/>
          <p:cNvCxnSpPr/>
          <p:nvPr/>
        </p:nvCxnSpPr>
        <p:spPr>
          <a:xfrm>
            <a:off x="1747838" y="30194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5" name="Straight Connector 364"/>
          <p:cNvCxnSpPr/>
          <p:nvPr/>
        </p:nvCxnSpPr>
        <p:spPr>
          <a:xfrm>
            <a:off x="1765300" y="30194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6" name="Straight Connector 365"/>
          <p:cNvCxnSpPr/>
          <p:nvPr/>
        </p:nvCxnSpPr>
        <p:spPr>
          <a:xfrm>
            <a:off x="1800225" y="30226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7" name="Straight Connector 366"/>
          <p:cNvCxnSpPr/>
          <p:nvPr/>
        </p:nvCxnSpPr>
        <p:spPr>
          <a:xfrm>
            <a:off x="1811338" y="30257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8" name="Straight Connector 367"/>
          <p:cNvCxnSpPr/>
          <p:nvPr/>
        </p:nvCxnSpPr>
        <p:spPr>
          <a:xfrm>
            <a:off x="1820863" y="30289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9" name="Straight Connector 368"/>
          <p:cNvCxnSpPr/>
          <p:nvPr/>
        </p:nvCxnSpPr>
        <p:spPr>
          <a:xfrm>
            <a:off x="1831975" y="30273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0" name="Straight Connector 369"/>
          <p:cNvCxnSpPr/>
          <p:nvPr/>
        </p:nvCxnSpPr>
        <p:spPr>
          <a:xfrm>
            <a:off x="1841500" y="30257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1" name="Straight Connector 370"/>
          <p:cNvCxnSpPr/>
          <p:nvPr/>
        </p:nvCxnSpPr>
        <p:spPr>
          <a:xfrm>
            <a:off x="1851025" y="30241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2" name="Straight Connector 371"/>
          <p:cNvCxnSpPr/>
          <p:nvPr/>
        </p:nvCxnSpPr>
        <p:spPr>
          <a:xfrm>
            <a:off x="1862138" y="30241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3" name="Straight Connector 372"/>
          <p:cNvCxnSpPr/>
          <p:nvPr/>
        </p:nvCxnSpPr>
        <p:spPr>
          <a:xfrm>
            <a:off x="1871663" y="30527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4" name="Straight Connector 373"/>
          <p:cNvCxnSpPr/>
          <p:nvPr/>
        </p:nvCxnSpPr>
        <p:spPr>
          <a:xfrm>
            <a:off x="1884363" y="30543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5" name="Straight Connector 374"/>
          <p:cNvCxnSpPr/>
          <p:nvPr/>
        </p:nvCxnSpPr>
        <p:spPr>
          <a:xfrm>
            <a:off x="1897063" y="30559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6" name="Straight Connector 375"/>
          <p:cNvCxnSpPr/>
          <p:nvPr/>
        </p:nvCxnSpPr>
        <p:spPr>
          <a:xfrm>
            <a:off x="1909763" y="30559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7" name="Straight Connector 376"/>
          <p:cNvCxnSpPr/>
          <p:nvPr/>
        </p:nvCxnSpPr>
        <p:spPr>
          <a:xfrm>
            <a:off x="1920875" y="30861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8" name="Straight Connector 377"/>
          <p:cNvCxnSpPr/>
          <p:nvPr/>
        </p:nvCxnSpPr>
        <p:spPr>
          <a:xfrm>
            <a:off x="1933575" y="30876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9" name="Straight Connector 378"/>
          <p:cNvCxnSpPr/>
          <p:nvPr/>
        </p:nvCxnSpPr>
        <p:spPr>
          <a:xfrm>
            <a:off x="1946275" y="30876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0" name="Straight Connector 379"/>
          <p:cNvCxnSpPr/>
          <p:nvPr/>
        </p:nvCxnSpPr>
        <p:spPr>
          <a:xfrm>
            <a:off x="1971675" y="3127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1" name="Straight Connector 380"/>
          <p:cNvCxnSpPr/>
          <p:nvPr/>
        </p:nvCxnSpPr>
        <p:spPr>
          <a:xfrm>
            <a:off x="2000250" y="31242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2" name="Straight Connector 381"/>
          <p:cNvCxnSpPr/>
          <p:nvPr/>
        </p:nvCxnSpPr>
        <p:spPr>
          <a:xfrm>
            <a:off x="2017713" y="31464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3" name="Straight Connector 382"/>
          <p:cNvCxnSpPr/>
          <p:nvPr/>
        </p:nvCxnSpPr>
        <p:spPr>
          <a:xfrm>
            <a:off x="2035175" y="31464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4" name="Straight Connector 383"/>
          <p:cNvCxnSpPr/>
          <p:nvPr/>
        </p:nvCxnSpPr>
        <p:spPr>
          <a:xfrm>
            <a:off x="2052638" y="31480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5" name="Straight Connector 384"/>
          <p:cNvCxnSpPr/>
          <p:nvPr/>
        </p:nvCxnSpPr>
        <p:spPr>
          <a:xfrm>
            <a:off x="2068513" y="31496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6" name="Straight Connector 385"/>
          <p:cNvCxnSpPr/>
          <p:nvPr/>
        </p:nvCxnSpPr>
        <p:spPr>
          <a:xfrm>
            <a:off x="2085975" y="31496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7" name="Straight Connector 386"/>
          <p:cNvCxnSpPr/>
          <p:nvPr/>
        </p:nvCxnSpPr>
        <p:spPr>
          <a:xfrm>
            <a:off x="2103438" y="31511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8" name="Straight Connector 387"/>
          <p:cNvCxnSpPr/>
          <p:nvPr/>
        </p:nvCxnSpPr>
        <p:spPr>
          <a:xfrm>
            <a:off x="2120900" y="31527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9" name="Straight Connector 388"/>
          <p:cNvCxnSpPr/>
          <p:nvPr/>
        </p:nvCxnSpPr>
        <p:spPr>
          <a:xfrm>
            <a:off x="2173288" y="31527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0" name="Straight Connector 389"/>
          <p:cNvCxnSpPr/>
          <p:nvPr/>
        </p:nvCxnSpPr>
        <p:spPr>
          <a:xfrm>
            <a:off x="2190750" y="31543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p:nvPr/>
        </p:nvCxnSpPr>
        <p:spPr>
          <a:xfrm>
            <a:off x="2208213" y="31559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2" name="Straight Connector 391"/>
          <p:cNvCxnSpPr/>
          <p:nvPr/>
        </p:nvCxnSpPr>
        <p:spPr>
          <a:xfrm>
            <a:off x="2249488" y="31559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3" name="Straight Connector 392"/>
          <p:cNvCxnSpPr/>
          <p:nvPr/>
        </p:nvCxnSpPr>
        <p:spPr>
          <a:xfrm>
            <a:off x="2290763" y="31575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4" name="Straight Connector 393"/>
          <p:cNvCxnSpPr/>
          <p:nvPr/>
        </p:nvCxnSpPr>
        <p:spPr>
          <a:xfrm>
            <a:off x="2336800" y="31972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5" name="Straight Connector 394"/>
          <p:cNvCxnSpPr/>
          <p:nvPr/>
        </p:nvCxnSpPr>
        <p:spPr>
          <a:xfrm>
            <a:off x="2382838" y="31972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6" name="Straight Connector 395"/>
          <p:cNvCxnSpPr/>
          <p:nvPr/>
        </p:nvCxnSpPr>
        <p:spPr>
          <a:xfrm>
            <a:off x="2427288" y="32464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7" name="Straight Connector 396"/>
          <p:cNvCxnSpPr/>
          <p:nvPr/>
        </p:nvCxnSpPr>
        <p:spPr>
          <a:xfrm>
            <a:off x="2468563" y="3241675"/>
            <a:ext cx="0" cy="5556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8" name="Straight Connector 397"/>
          <p:cNvCxnSpPr/>
          <p:nvPr/>
        </p:nvCxnSpPr>
        <p:spPr>
          <a:xfrm>
            <a:off x="2547938" y="32480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9" name="Straight Connector 398"/>
          <p:cNvCxnSpPr/>
          <p:nvPr/>
        </p:nvCxnSpPr>
        <p:spPr>
          <a:xfrm>
            <a:off x="2560638" y="32448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0" name="Straight Connector 399"/>
          <p:cNvCxnSpPr/>
          <p:nvPr/>
        </p:nvCxnSpPr>
        <p:spPr>
          <a:xfrm>
            <a:off x="2606675" y="3295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1" name="Straight Connector 400"/>
          <p:cNvCxnSpPr/>
          <p:nvPr/>
        </p:nvCxnSpPr>
        <p:spPr>
          <a:xfrm>
            <a:off x="2640013" y="3294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2" name="Straight Connector 401"/>
          <p:cNvCxnSpPr/>
          <p:nvPr/>
        </p:nvCxnSpPr>
        <p:spPr>
          <a:xfrm>
            <a:off x="2714625" y="32924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3" name="Straight Connector 402"/>
          <p:cNvCxnSpPr/>
          <p:nvPr/>
        </p:nvCxnSpPr>
        <p:spPr>
          <a:xfrm>
            <a:off x="2727325" y="32908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4" name="Straight Connector 403"/>
          <p:cNvCxnSpPr/>
          <p:nvPr/>
        </p:nvCxnSpPr>
        <p:spPr>
          <a:xfrm>
            <a:off x="2740025" y="32908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5" name="Straight Connector 404"/>
          <p:cNvCxnSpPr/>
          <p:nvPr/>
        </p:nvCxnSpPr>
        <p:spPr>
          <a:xfrm>
            <a:off x="2752725" y="32893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6" name="Straight Connector 405"/>
          <p:cNvCxnSpPr/>
          <p:nvPr/>
        </p:nvCxnSpPr>
        <p:spPr>
          <a:xfrm>
            <a:off x="2763838" y="3287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7" name="Straight Connector 406"/>
          <p:cNvCxnSpPr/>
          <p:nvPr/>
        </p:nvCxnSpPr>
        <p:spPr>
          <a:xfrm>
            <a:off x="2776538" y="32861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8" name="Straight Connector 407"/>
          <p:cNvCxnSpPr/>
          <p:nvPr/>
        </p:nvCxnSpPr>
        <p:spPr>
          <a:xfrm>
            <a:off x="2789238" y="32893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9" name="Straight Connector 408"/>
          <p:cNvCxnSpPr/>
          <p:nvPr/>
        </p:nvCxnSpPr>
        <p:spPr>
          <a:xfrm>
            <a:off x="2801938" y="32924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0" name="Straight Connector 409"/>
          <p:cNvCxnSpPr/>
          <p:nvPr/>
        </p:nvCxnSpPr>
        <p:spPr>
          <a:xfrm>
            <a:off x="2814638" y="32924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1" name="Straight Connector 410"/>
          <p:cNvCxnSpPr/>
          <p:nvPr/>
        </p:nvCxnSpPr>
        <p:spPr>
          <a:xfrm>
            <a:off x="2827338" y="32908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2" name="Straight Connector 411"/>
          <p:cNvCxnSpPr/>
          <p:nvPr/>
        </p:nvCxnSpPr>
        <p:spPr>
          <a:xfrm>
            <a:off x="2949575" y="32893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3" name="Straight Connector 412"/>
          <p:cNvCxnSpPr/>
          <p:nvPr/>
        </p:nvCxnSpPr>
        <p:spPr>
          <a:xfrm>
            <a:off x="3014663" y="3287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4" name="Straight Connector 413"/>
          <p:cNvCxnSpPr/>
          <p:nvPr/>
        </p:nvCxnSpPr>
        <p:spPr>
          <a:xfrm>
            <a:off x="3030538" y="32861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5" name="Straight Connector 414"/>
          <p:cNvCxnSpPr/>
          <p:nvPr/>
        </p:nvCxnSpPr>
        <p:spPr>
          <a:xfrm>
            <a:off x="3065463" y="32845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6" name="Straight Connector 415"/>
          <p:cNvCxnSpPr/>
          <p:nvPr/>
        </p:nvCxnSpPr>
        <p:spPr>
          <a:xfrm>
            <a:off x="3074988" y="32829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7" name="Straight Connector 416"/>
          <p:cNvCxnSpPr/>
          <p:nvPr/>
        </p:nvCxnSpPr>
        <p:spPr>
          <a:xfrm>
            <a:off x="3108325" y="32845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8" name="Straight Connector 417"/>
          <p:cNvCxnSpPr/>
          <p:nvPr/>
        </p:nvCxnSpPr>
        <p:spPr>
          <a:xfrm>
            <a:off x="3176588" y="32861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9" name="Straight Connector 418"/>
          <p:cNvCxnSpPr/>
          <p:nvPr/>
        </p:nvCxnSpPr>
        <p:spPr>
          <a:xfrm>
            <a:off x="3241675" y="32861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0" name="Straight Connector 419"/>
          <p:cNvCxnSpPr/>
          <p:nvPr/>
        </p:nvCxnSpPr>
        <p:spPr>
          <a:xfrm>
            <a:off x="3259138" y="3287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1" name="Straight Connector 420"/>
          <p:cNvCxnSpPr/>
          <p:nvPr/>
        </p:nvCxnSpPr>
        <p:spPr>
          <a:xfrm>
            <a:off x="3275013" y="32893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2" name="Straight Connector 421"/>
          <p:cNvCxnSpPr/>
          <p:nvPr/>
        </p:nvCxnSpPr>
        <p:spPr>
          <a:xfrm>
            <a:off x="3282950" y="3463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3" name="Straight Connector 422"/>
          <p:cNvCxnSpPr/>
          <p:nvPr/>
        </p:nvCxnSpPr>
        <p:spPr>
          <a:xfrm>
            <a:off x="3300413" y="3460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4" name="Straight Connector 423"/>
          <p:cNvCxnSpPr/>
          <p:nvPr/>
        </p:nvCxnSpPr>
        <p:spPr>
          <a:xfrm>
            <a:off x="3317875" y="3460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5" name="Straight Connector 424"/>
          <p:cNvCxnSpPr/>
          <p:nvPr/>
        </p:nvCxnSpPr>
        <p:spPr>
          <a:xfrm>
            <a:off x="3440113" y="34623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6" name="Straight Connector 425"/>
          <p:cNvCxnSpPr/>
          <p:nvPr/>
        </p:nvCxnSpPr>
        <p:spPr>
          <a:xfrm>
            <a:off x="3482975" y="34623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7" name="Straight Connector 426"/>
          <p:cNvCxnSpPr/>
          <p:nvPr/>
        </p:nvCxnSpPr>
        <p:spPr>
          <a:xfrm>
            <a:off x="3527425" y="3463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8" name="Straight Connector 427"/>
          <p:cNvCxnSpPr/>
          <p:nvPr/>
        </p:nvCxnSpPr>
        <p:spPr>
          <a:xfrm>
            <a:off x="3675063" y="3465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9" name="Straight Connector 428"/>
          <p:cNvCxnSpPr/>
          <p:nvPr/>
        </p:nvCxnSpPr>
        <p:spPr>
          <a:xfrm>
            <a:off x="3846513" y="3465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0" name="Straight Connector 429"/>
          <p:cNvCxnSpPr/>
          <p:nvPr/>
        </p:nvCxnSpPr>
        <p:spPr>
          <a:xfrm>
            <a:off x="3890963" y="34671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1" name="Straight Connector 430"/>
          <p:cNvCxnSpPr/>
          <p:nvPr/>
        </p:nvCxnSpPr>
        <p:spPr>
          <a:xfrm>
            <a:off x="3905250" y="34607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2" name="Straight Connector 431"/>
          <p:cNvCxnSpPr/>
          <p:nvPr/>
        </p:nvCxnSpPr>
        <p:spPr>
          <a:xfrm>
            <a:off x="4003675" y="34623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3" name="Straight Connector 432"/>
          <p:cNvCxnSpPr/>
          <p:nvPr/>
        </p:nvCxnSpPr>
        <p:spPr>
          <a:xfrm>
            <a:off x="4017963" y="3463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4" name="Straight Connector 433"/>
          <p:cNvCxnSpPr/>
          <p:nvPr/>
        </p:nvCxnSpPr>
        <p:spPr>
          <a:xfrm>
            <a:off x="4054475" y="3463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8" name="Straight Connector 437"/>
          <p:cNvCxnSpPr/>
          <p:nvPr/>
        </p:nvCxnSpPr>
        <p:spPr>
          <a:xfrm>
            <a:off x="5354638" y="2619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9" name="Straight Connector 438"/>
          <p:cNvCxnSpPr/>
          <p:nvPr/>
        </p:nvCxnSpPr>
        <p:spPr>
          <a:xfrm>
            <a:off x="5392738" y="26177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0" name="Straight Connector 439"/>
          <p:cNvCxnSpPr/>
          <p:nvPr/>
        </p:nvCxnSpPr>
        <p:spPr>
          <a:xfrm>
            <a:off x="5407025" y="26177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1" name="Straight Connector 440"/>
          <p:cNvCxnSpPr/>
          <p:nvPr/>
        </p:nvCxnSpPr>
        <p:spPr>
          <a:xfrm>
            <a:off x="5421313" y="26177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2" name="Straight Connector 441"/>
          <p:cNvCxnSpPr/>
          <p:nvPr/>
        </p:nvCxnSpPr>
        <p:spPr>
          <a:xfrm>
            <a:off x="5451475" y="2628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3" name="Straight Connector 442"/>
          <p:cNvCxnSpPr/>
          <p:nvPr/>
        </p:nvCxnSpPr>
        <p:spPr>
          <a:xfrm>
            <a:off x="5475288" y="2628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4" name="Straight Connector 443"/>
          <p:cNvCxnSpPr/>
          <p:nvPr/>
        </p:nvCxnSpPr>
        <p:spPr>
          <a:xfrm>
            <a:off x="5499100" y="2628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5" name="Straight Connector 444"/>
          <p:cNvCxnSpPr/>
          <p:nvPr/>
        </p:nvCxnSpPr>
        <p:spPr>
          <a:xfrm>
            <a:off x="5518150" y="2659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6" name="Straight Connector 445"/>
          <p:cNvCxnSpPr/>
          <p:nvPr/>
        </p:nvCxnSpPr>
        <p:spPr>
          <a:xfrm>
            <a:off x="5537200" y="26622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7" name="Straight Connector 446"/>
          <p:cNvCxnSpPr/>
          <p:nvPr/>
        </p:nvCxnSpPr>
        <p:spPr>
          <a:xfrm>
            <a:off x="5556250" y="26638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8" name="Straight Connector 447"/>
          <p:cNvCxnSpPr/>
          <p:nvPr/>
        </p:nvCxnSpPr>
        <p:spPr>
          <a:xfrm>
            <a:off x="5575300" y="26670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9" name="Straight Connector 448"/>
          <p:cNvCxnSpPr/>
          <p:nvPr/>
        </p:nvCxnSpPr>
        <p:spPr>
          <a:xfrm>
            <a:off x="5580063" y="26876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0" name="Straight Connector 449"/>
          <p:cNvCxnSpPr/>
          <p:nvPr/>
        </p:nvCxnSpPr>
        <p:spPr>
          <a:xfrm>
            <a:off x="5602288" y="27209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1" name="Straight Connector 450"/>
          <p:cNvCxnSpPr/>
          <p:nvPr/>
        </p:nvCxnSpPr>
        <p:spPr>
          <a:xfrm>
            <a:off x="5622925" y="2751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2" name="Straight Connector 451"/>
          <p:cNvCxnSpPr/>
          <p:nvPr/>
        </p:nvCxnSpPr>
        <p:spPr>
          <a:xfrm>
            <a:off x="5656263" y="27701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3" name="Straight Connector 452"/>
          <p:cNvCxnSpPr/>
          <p:nvPr/>
        </p:nvCxnSpPr>
        <p:spPr>
          <a:xfrm>
            <a:off x="5678488" y="28130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4" name="Straight Connector 453"/>
          <p:cNvCxnSpPr/>
          <p:nvPr/>
        </p:nvCxnSpPr>
        <p:spPr>
          <a:xfrm>
            <a:off x="5711825" y="2830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5" name="Straight Connector 454"/>
          <p:cNvCxnSpPr/>
          <p:nvPr/>
        </p:nvCxnSpPr>
        <p:spPr>
          <a:xfrm>
            <a:off x="5730875" y="2857500"/>
            <a:ext cx="0" cy="55563"/>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6" name="Straight Connector 455"/>
          <p:cNvCxnSpPr/>
          <p:nvPr/>
        </p:nvCxnSpPr>
        <p:spPr>
          <a:xfrm>
            <a:off x="5761038" y="2881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7" name="Straight Connector 456"/>
          <p:cNvCxnSpPr/>
          <p:nvPr/>
        </p:nvCxnSpPr>
        <p:spPr>
          <a:xfrm>
            <a:off x="5808663" y="29035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8" name="Straight Connector 457"/>
          <p:cNvCxnSpPr/>
          <p:nvPr/>
        </p:nvCxnSpPr>
        <p:spPr>
          <a:xfrm>
            <a:off x="5873750" y="29241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59" name="Straight Connector 458"/>
          <p:cNvCxnSpPr/>
          <p:nvPr/>
        </p:nvCxnSpPr>
        <p:spPr>
          <a:xfrm>
            <a:off x="5902325" y="29479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0" name="Straight Connector 459"/>
          <p:cNvCxnSpPr/>
          <p:nvPr/>
        </p:nvCxnSpPr>
        <p:spPr>
          <a:xfrm>
            <a:off x="5913438" y="29718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1" name="Straight Connector 460"/>
          <p:cNvCxnSpPr/>
          <p:nvPr/>
        </p:nvCxnSpPr>
        <p:spPr>
          <a:xfrm>
            <a:off x="5956300" y="29718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2" name="Straight Connector 461"/>
          <p:cNvCxnSpPr/>
          <p:nvPr/>
        </p:nvCxnSpPr>
        <p:spPr>
          <a:xfrm>
            <a:off x="6030913" y="29924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3" name="Straight Connector 462"/>
          <p:cNvCxnSpPr/>
          <p:nvPr/>
        </p:nvCxnSpPr>
        <p:spPr>
          <a:xfrm>
            <a:off x="6064250" y="3005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4" name="Straight Connector 463"/>
          <p:cNvCxnSpPr/>
          <p:nvPr/>
        </p:nvCxnSpPr>
        <p:spPr>
          <a:xfrm>
            <a:off x="6080125" y="3033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5" name="Straight Connector 464"/>
          <p:cNvCxnSpPr/>
          <p:nvPr/>
        </p:nvCxnSpPr>
        <p:spPr>
          <a:xfrm>
            <a:off x="6094413" y="30384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6" name="Straight Connector 465"/>
          <p:cNvCxnSpPr/>
          <p:nvPr/>
        </p:nvCxnSpPr>
        <p:spPr>
          <a:xfrm>
            <a:off x="6107113" y="3040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7" name="Straight Connector 466"/>
          <p:cNvCxnSpPr/>
          <p:nvPr/>
        </p:nvCxnSpPr>
        <p:spPr>
          <a:xfrm>
            <a:off x="6118225" y="30432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8" name="Straight Connector 467"/>
          <p:cNvCxnSpPr/>
          <p:nvPr/>
        </p:nvCxnSpPr>
        <p:spPr>
          <a:xfrm>
            <a:off x="6130925" y="30638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9" name="Straight Connector 468"/>
          <p:cNvCxnSpPr/>
          <p:nvPr/>
        </p:nvCxnSpPr>
        <p:spPr>
          <a:xfrm>
            <a:off x="6142038" y="30734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0" name="Straight Connector 469"/>
          <p:cNvCxnSpPr/>
          <p:nvPr/>
        </p:nvCxnSpPr>
        <p:spPr>
          <a:xfrm>
            <a:off x="6154738" y="30734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1" name="Straight Connector 470"/>
          <p:cNvCxnSpPr/>
          <p:nvPr/>
        </p:nvCxnSpPr>
        <p:spPr>
          <a:xfrm>
            <a:off x="6165850" y="30924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2" name="Straight Connector 471"/>
          <p:cNvCxnSpPr/>
          <p:nvPr/>
        </p:nvCxnSpPr>
        <p:spPr>
          <a:xfrm>
            <a:off x="6178550" y="31210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3" name="Straight Connector 472"/>
          <p:cNvCxnSpPr/>
          <p:nvPr/>
        </p:nvCxnSpPr>
        <p:spPr>
          <a:xfrm>
            <a:off x="6213475" y="31416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4" name="Straight Connector 473"/>
          <p:cNvCxnSpPr/>
          <p:nvPr/>
        </p:nvCxnSpPr>
        <p:spPr>
          <a:xfrm>
            <a:off x="6227763" y="31543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5" name="Straight Connector 474"/>
          <p:cNvCxnSpPr/>
          <p:nvPr/>
        </p:nvCxnSpPr>
        <p:spPr>
          <a:xfrm>
            <a:off x="6237288" y="31638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6" name="Straight Connector 475"/>
          <p:cNvCxnSpPr/>
          <p:nvPr/>
        </p:nvCxnSpPr>
        <p:spPr>
          <a:xfrm>
            <a:off x="6265863" y="31845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7" name="Straight Connector 476"/>
          <p:cNvCxnSpPr/>
          <p:nvPr/>
        </p:nvCxnSpPr>
        <p:spPr>
          <a:xfrm>
            <a:off x="6280150" y="31908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8" name="Straight Connector 477"/>
          <p:cNvCxnSpPr/>
          <p:nvPr/>
        </p:nvCxnSpPr>
        <p:spPr>
          <a:xfrm>
            <a:off x="6292850" y="31988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9" name="Straight Connector 478"/>
          <p:cNvCxnSpPr/>
          <p:nvPr/>
        </p:nvCxnSpPr>
        <p:spPr>
          <a:xfrm>
            <a:off x="6303963" y="31956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0" name="Straight Connector 479"/>
          <p:cNvCxnSpPr/>
          <p:nvPr/>
        </p:nvCxnSpPr>
        <p:spPr>
          <a:xfrm>
            <a:off x="6316663" y="31940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1" name="Straight Connector 480"/>
          <p:cNvCxnSpPr/>
          <p:nvPr/>
        </p:nvCxnSpPr>
        <p:spPr>
          <a:xfrm>
            <a:off x="6327775" y="31940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2" name="Straight Connector 481"/>
          <p:cNvCxnSpPr/>
          <p:nvPr/>
        </p:nvCxnSpPr>
        <p:spPr>
          <a:xfrm>
            <a:off x="6340475" y="3192463"/>
            <a:ext cx="0" cy="55562"/>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3" name="Straight Connector 482"/>
          <p:cNvCxnSpPr/>
          <p:nvPr/>
        </p:nvCxnSpPr>
        <p:spPr>
          <a:xfrm>
            <a:off x="6369050" y="32051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4" name="Straight Connector 483"/>
          <p:cNvCxnSpPr/>
          <p:nvPr/>
        </p:nvCxnSpPr>
        <p:spPr>
          <a:xfrm>
            <a:off x="6383338" y="32162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5" name="Straight Connector 484"/>
          <p:cNvCxnSpPr/>
          <p:nvPr/>
        </p:nvCxnSpPr>
        <p:spPr>
          <a:xfrm>
            <a:off x="6397625" y="32289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6" name="Straight Connector 485"/>
          <p:cNvCxnSpPr/>
          <p:nvPr/>
        </p:nvCxnSpPr>
        <p:spPr>
          <a:xfrm>
            <a:off x="6407150" y="32337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7" name="Straight Connector 486"/>
          <p:cNvCxnSpPr/>
          <p:nvPr/>
        </p:nvCxnSpPr>
        <p:spPr>
          <a:xfrm>
            <a:off x="6440488" y="32305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8" name="Straight Connector 487"/>
          <p:cNvCxnSpPr/>
          <p:nvPr/>
        </p:nvCxnSpPr>
        <p:spPr>
          <a:xfrm>
            <a:off x="6451600" y="32289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9" name="Straight Connector 488"/>
          <p:cNvCxnSpPr/>
          <p:nvPr/>
        </p:nvCxnSpPr>
        <p:spPr>
          <a:xfrm>
            <a:off x="6464300" y="32258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0" name="Straight Connector 489"/>
          <p:cNvCxnSpPr/>
          <p:nvPr/>
        </p:nvCxnSpPr>
        <p:spPr>
          <a:xfrm>
            <a:off x="6475413" y="32226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1" name="Straight Connector 490"/>
          <p:cNvCxnSpPr/>
          <p:nvPr/>
        </p:nvCxnSpPr>
        <p:spPr>
          <a:xfrm>
            <a:off x="6488113" y="32464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2" name="Straight Connector 491"/>
          <p:cNvCxnSpPr/>
          <p:nvPr/>
        </p:nvCxnSpPr>
        <p:spPr>
          <a:xfrm>
            <a:off x="6499225" y="32734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3" name="Straight Connector 492"/>
          <p:cNvCxnSpPr/>
          <p:nvPr/>
        </p:nvCxnSpPr>
        <p:spPr>
          <a:xfrm>
            <a:off x="6511925" y="32781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4" name="Straight Connector 493"/>
          <p:cNvCxnSpPr/>
          <p:nvPr/>
        </p:nvCxnSpPr>
        <p:spPr>
          <a:xfrm>
            <a:off x="6523038" y="32829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5" name="Straight Connector 494"/>
          <p:cNvCxnSpPr/>
          <p:nvPr/>
        </p:nvCxnSpPr>
        <p:spPr>
          <a:xfrm>
            <a:off x="6535738" y="32797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6" name="Straight Connector 495"/>
          <p:cNvCxnSpPr/>
          <p:nvPr/>
        </p:nvCxnSpPr>
        <p:spPr>
          <a:xfrm>
            <a:off x="6546850" y="32766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7" name="Straight Connector 496"/>
          <p:cNvCxnSpPr/>
          <p:nvPr/>
        </p:nvCxnSpPr>
        <p:spPr>
          <a:xfrm>
            <a:off x="6559550" y="32766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8" name="Straight Connector 497"/>
          <p:cNvCxnSpPr/>
          <p:nvPr/>
        </p:nvCxnSpPr>
        <p:spPr>
          <a:xfrm>
            <a:off x="6570663" y="32797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9" name="Straight Connector 498"/>
          <p:cNvCxnSpPr/>
          <p:nvPr/>
        </p:nvCxnSpPr>
        <p:spPr>
          <a:xfrm>
            <a:off x="6583363" y="32813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0" name="Straight Connector 499"/>
          <p:cNvCxnSpPr/>
          <p:nvPr/>
        </p:nvCxnSpPr>
        <p:spPr>
          <a:xfrm>
            <a:off x="6592888" y="32845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1" name="Straight Connector 500"/>
          <p:cNvCxnSpPr/>
          <p:nvPr/>
        </p:nvCxnSpPr>
        <p:spPr>
          <a:xfrm>
            <a:off x="6635750" y="32845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2" name="Straight Connector 501"/>
          <p:cNvCxnSpPr/>
          <p:nvPr/>
        </p:nvCxnSpPr>
        <p:spPr>
          <a:xfrm>
            <a:off x="6673850" y="32845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3" name="Straight Connector 502"/>
          <p:cNvCxnSpPr/>
          <p:nvPr/>
        </p:nvCxnSpPr>
        <p:spPr>
          <a:xfrm>
            <a:off x="6711950" y="32829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4" name="Straight Connector 503"/>
          <p:cNvCxnSpPr/>
          <p:nvPr/>
        </p:nvCxnSpPr>
        <p:spPr>
          <a:xfrm>
            <a:off x="6750050" y="33162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5" name="Straight Connector 504"/>
          <p:cNvCxnSpPr/>
          <p:nvPr/>
        </p:nvCxnSpPr>
        <p:spPr>
          <a:xfrm>
            <a:off x="6764338" y="33162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6" name="Straight Connector 505"/>
          <p:cNvCxnSpPr/>
          <p:nvPr/>
        </p:nvCxnSpPr>
        <p:spPr>
          <a:xfrm>
            <a:off x="6778625" y="33162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7" name="Straight Connector 506"/>
          <p:cNvCxnSpPr/>
          <p:nvPr/>
        </p:nvCxnSpPr>
        <p:spPr>
          <a:xfrm>
            <a:off x="6792913" y="33162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8" name="Straight Connector 507"/>
          <p:cNvCxnSpPr/>
          <p:nvPr/>
        </p:nvCxnSpPr>
        <p:spPr>
          <a:xfrm>
            <a:off x="6807200" y="33162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9" name="Straight Connector 508"/>
          <p:cNvCxnSpPr/>
          <p:nvPr/>
        </p:nvCxnSpPr>
        <p:spPr>
          <a:xfrm>
            <a:off x="6832600" y="33162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0" name="Straight Connector 509"/>
          <p:cNvCxnSpPr/>
          <p:nvPr/>
        </p:nvCxnSpPr>
        <p:spPr>
          <a:xfrm>
            <a:off x="6846888" y="33162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1" name="Straight Connector 510"/>
          <p:cNvCxnSpPr/>
          <p:nvPr/>
        </p:nvCxnSpPr>
        <p:spPr>
          <a:xfrm>
            <a:off x="6878638" y="33162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2" name="Straight Connector 511"/>
          <p:cNvCxnSpPr/>
          <p:nvPr/>
        </p:nvCxnSpPr>
        <p:spPr>
          <a:xfrm>
            <a:off x="6908800" y="33416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3" name="Straight Connector 512"/>
          <p:cNvCxnSpPr/>
          <p:nvPr/>
        </p:nvCxnSpPr>
        <p:spPr>
          <a:xfrm>
            <a:off x="6908800" y="33782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4" name="Straight Connector 513"/>
          <p:cNvCxnSpPr/>
          <p:nvPr/>
        </p:nvCxnSpPr>
        <p:spPr>
          <a:xfrm>
            <a:off x="6935788" y="3389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5" name="Straight Connector 514"/>
          <p:cNvCxnSpPr/>
          <p:nvPr/>
        </p:nvCxnSpPr>
        <p:spPr>
          <a:xfrm>
            <a:off x="6951663" y="34163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6" name="Straight Connector 515"/>
          <p:cNvCxnSpPr/>
          <p:nvPr/>
        </p:nvCxnSpPr>
        <p:spPr>
          <a:xfrm>
            <a:off x="6992938" y="34178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7" name="Straight Connector 516"/>
          <p:cNvCxnSpPr/>
          <p:nvPr/>
        </p:nvCxnSpPr>
        <p:spPr>
          <a:xfrm>
            <a:off x="7007225" y="34194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8" name="Straight Connector 517"/>
          <p:cNvCxnSpPr/>
          <p:nvPr/>
        </p:nvCxnSpPr>
        <p:spPr>
          <a:xfrm>
            <a:off x="7021513" y="3422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9" name="Straight Connector 518"/>
          <p:cNvCxnSpPr/>
          <p:nvPr/>
        </p:nvCxnSpPr>
        <p:spPr>
          <a:xfrm>
            <a:off x="7035800" y="3422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0" name="Straight Connector 519"/>
          <p:cNvCxnSpPr/>
          <p:nvPr/>
        </p:nvCxnSpPr>
        <p:spPr>
          <a:xfrm>
            <a:off x="7050088" y="3422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1" name="Straight Connector 520"/>
          <p:cNvCxnSpPr/>
          <p:nvPr/>
        </p:nvCxnSpPr>
        <p:spPr>
          <a:xfrm>
            <a:off x="7064375" y="3422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2" name="Straight Connector 521"/>
          <p:cNvCxnSpPr/>
          <p:nvPr/>
        </p:nvCxnSpPr>
        <p:spPr>
          <a:xfrm>
            <a:off x="7078663" y="3422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3" name="Straight Connector 522"/>
          <p:cNvCxnSpPr/>
          <p:nvPr/>
        </p:nvCxnSpPr>
        <p:spPr>
          <a:xfrm>
            <a:off x="7121525" y="3421063"/>
            <a:ext cx="0" cy="55562"/>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4" name="Straight Connector 523"/>
          <p:cNvCxnSpPr/>
          <p:nvPr/>
        </p:nvCxnSpPr>
        <p:spPr>
          <a:xfrm>
            <a:off x="7185025" y="3421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5" name="Straight Connector 524"/>
          <p:cNvCxnSpPr/>
          <p:nvPr/>
        </p:nvCxnSpPr>
        <p:spPr>
          <a:xfrm>
            <a:off x="7197725" y="3421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6" name="Straight Connector 525"/>
          <p:cNvCxnSpPr/>
          <p:nvPr/>
        </p:nvCxnSpPr>
        <p:spPr>
          <a:xfrm>
            <a:off x="7208838" y="3421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7" name="Straight Connector 526"/>
          <p:cNvCxnSpPr/>
          <p:nvPr/>
        </p:nvCxnSpPr>
        <p:spPr>
          <a:xfrm>
            <a:off x="7221538" y="3421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8" name="Straight Connector 527"/>
          <p:cNvCxnSpPr/>
          <p:nvPr/>
        </p:nvCxnSpPr>
        <p:spPr>
          <a:xfrm>
            <a:off x="7232650" y="3421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9" name="Straight Connector 528"/>
          <p:cNvCxnSpPr/>
          <p:nvPr/>
        </p:nvCxnSpPr>
        <p:spPr>
          <a:xfrm>
            <a:off x="7269163" y="3421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0" name="Straight Connector 529"/>
          <p:cNvCxnSpPr/>
          <p:nvPr/>
        </p:nvCxnSpPr>
        <p:spPr>
          <a:xfrm>
            <a:off x="7278688" y="34210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1" name="Straight Connector 530"/>
          <p:cNvCxnSpPr/>
          <p:nvPr/>
        </p:nvCxnSpPr>
        <p:spPr>
          <a:xfrm>
            <a:off x="7307263" y="34750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2" name="Straight Connector 531"/>
          <p:cNvCxnSpPr/>
          <p:nvPr/>
        </p:nvCxnSpPr>
        <p:spPr>
          <a:xfrm>
            <a:off x="7342188" y="34750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3" name="Straight Connector 532"/>
          <p:cNvCxnSpPr/>
          <p:nvPr/>
        </p:nvCxnSpPr>
        <p:spPr>
          <a:xfrm>
            <a:off x="7378700" y="35448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4" name="Straight Connector 533"/>
          <p:cNvCxnSpPr/>
          <p:nvPr/>
        </p:nvCxnSpPr>
        <p:spPr>
          <a:xfrm>
            <a:off x="7412038" y="3541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5" name="Straight Connector 534"/>
          <p:cNvCxnSpPr/>
          <p:nvPr/>
        </p:nvCxnSpPr>
        <p:spPr>
          <a:xfrm>
            <a:off x="7456488" y="3541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6" name="Straight Connector 535"/>
          <p:cNvCxnSpPr/>
          <p:nvPr/>
        </p:nvCxnSpPr>
        <p:spPr>
          <a:xfrm>
            <a:off x="7489825" y="3541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7" name="Straight Connector 536"/>
          <p:cNvCxnSpPr/>
          <p:nvPr/>
        </p:nvCxnSpPr>
        <p:spPr>
          <a:xfrm>
            <a:off x="7540625" y="3541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8" name="Straight Connector 537"/>
          <p:cNvCxnSpPr/>
          <p:nvPr/>
        </p:nvCxnSpPr>
        <p:spPr>
          <a:xfrm>
            <a:off x="7551738" y="35417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9" name="Straight Connector 538"/>
          <p:cNvCxnSpPr/>
          <p:nvPr/>
        </p:nvCxnSpPr>
        <p:spPr>
          <a:xfrm>
            <a:off x="7726363" y="36337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0" name="Straight Connector 539"/>
          <p:cNvCxnSpPr/>
          <p:nvPr/>
        </p:nvCxnSpPr>
        <p:spPr>
          <a:xfrm>
            <a:off x="7737475" y="36369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1" name="Straight Connector 540"/>
          <p:cNvCxnSpPr/>
          <p:nvPr/>
        </p:nvCxnSpPr>
        <p:spPr>
          <a:xfrm>
            <a:off x="7750175" y="3638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2" name="Straight Connector 541"/>
          <p:cNvCxnSpPr/>
          <p:nvPr/>
        </p:nvCxnSpPr>
        <p:spPr>
          <a:xfrm>
            <a:off x="7850188" y="3641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3" name="Straight Connector 542"/>
          <p:cNvCxnSpPr/>
          <p:nvPr/>
        </p:nvCxnSpPr>
        <p:spPr>
          <a:xfrm>
            <a:off x="7897813" y="3638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4" name="Straight Connector 543"/>
          <p:cNvCxnSpPr/>
          <p:nvPr/>
        </p:nvCxnSpPr>
        <p:spPr>
          <a:xfrm>
            <a:off x="7945438" y="3635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5" name="Straight Connector 544"/>
          <p:cNvCxnSpPr/>
          <p:nvPr/>
        </p:nvCxnSpPr>
        <p:spPr>
          <a:xfrm>
            <a:off x="8023225" y="3635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6" name="Straight Connector 545"/>
          <p:cNvCxnSpPr/>
          <p:nvPr/>
        </p:nvCxnSpPr>
        <p:spPr>
          <a:xfrm>
            <a:off x="8161338" y="3635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7" name="Straight Connector 546"/>
          <p:cNvCxnSpPr/>
          <p:nvPr/>
        </p:nvCxnSpPr>
        <p:spPr>
          <a:xfrm>
            <a:off x="8212138" y="3635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8" name="Straight Connector 547"/>
          <p:cNvCxnSpPr/>
          <p:nvPr/>
        </p:nvCxnSpPr>
        <p:spPr>
          <a:xfrm>
            <a:off x="8275638" y="3635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9" name="Straight Connector 548"/>
          <p:cNvCxnSpPr/>
          <p:nvPr/>
        </p:nvCxnSpPr>
        <p:spPr>
          <a:xfrm>
            <a:off x="8316913" y="3635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0" name="Straight Connector 549"/>
          <p:cNvCxnSpPr/>
          <p:nvPr/>
        </p:nvCxnSpPr>
        <p:spPr>
          <a:xfrm>
            <a:off x="8356600" y="3635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1" name="Straight Connector 550"/>
          <p:cNvCxnSpPr/>
          <p:nvPr/>
        </p:nvCxnSpPr>
        <p:spPr>
          <a:xfrm>
            <a:off x="5641975" y="2660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2" name="Straight Connector 551"/>
          <p:cNvCxnSpPr/>
          <p:nvPr/>
        </p:nvCxnSpPr>
        <p:spPr>
          <a:xfrm>
            <a:off x="5699125" y="26892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3" name="Straight Connector 552"/>
          <p:cNvCxnSpPr/>
          <p:nvPr/>
        </p:nvCxnSpPr>
        <p:spPr>
          <a:xfrm>
            <a:off x="5732463" y="27162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4" name="Straight Connector 553"/>
          <p:cNvCxnSpPr/>
          <p:nvPr/>
        </p:nvCxnSpPr>
        <p:spPr>
          <a:xfrm>
            <a:off x="5749925" y="27400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5" name="Straight Connector 554"/>
          <p:cNvCxnSpPr/>
          <p:nvPr/>
        </p:nvCxnSpPr>
        <p:spPr>
          <a:xfrm>
            <a:off x="5797550" y="27400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6" name="Straight Connector 555"/>
          <p:cNvCxnSpPr/>
          <p:nvPr/>
        </p:nvCxnSpPr>
        <p:spPr>
          <a:xfrm>
            <a:off x="5845175" y="27876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7" name="Straight Connector 556"/>
          <p:cNvCxnSpPr/>
          <p:nvPr/>
        </p:nvCxnSpPr>
        <p:spPr>
          <a:xfrm>
            <a:off x="5907088" y="28098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8" name="Straight Connector 557"/>
          <p:cNvCxnSpPr/>
          <p:nvPr/>
        </p:nvCxnSpPr>
        <p:spPr>
          <a:xfrm>
            <a:off x="5999163" y="28225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9" name="Straight Connector 558"/>
          <p:cNvCxnSpPr/>
          <p:nvPr/>
        </p:nvCxnSpPr>
        <p:spPr>
          <a:xfrm>
            <a:off x="6032500" y="28479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0" name="Straight Connector 559"/>
          <p:cNvCxnSpPr/>
          <p:nvPr/>
        </p:nvCxnSpPr>
        <p:spPr>
          <a:xfrm>
            <a:off x="6103938" y="28511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1" name="Straight Connector 560"/>
          <p:cNvCxnSpPr/>
          <p:nvPr/>
        </p:nvCxnSpPr>
        <p:spPr>
          <a:xfrm>
            <a:off x="6115050" y="28543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2" name="Straight Connector 561"/>
          <p:cNvCxnSpPr/>
          <p:nvPr/>
        </p:nvCxnSpPr>
        <p:spPr>
          <a:xfrm>
            <a:off x="6127750" y="28543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3" name="Straight Connector 562"/>
          <p:cNvCxnSpPr/>
          <p:nvPr/>
        </p:nvCxnSpPr>
        <p:spPr>
          <a:xfrm>
            <a:off x="6167438" y="28527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4" name="Straight Connector 563"/>
          <p:cNvCxnSpPr/>
          <p:nvPr/>
        </p:nvCxnSpPr>
        <p:spPr>
          <a:xfrm>
            <a:off x="6208713" y="2876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5" name="Straight Connector 564"/>
          <p:cNvCxnSpPr/>
          <p:nvPr/>
        </p:nvCxnSpPr>
        <p:spPr>
          <a:xfrm>
            <a:off x="6246813" y="2882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6" name="Straight Connector 565"/>
          <p:cNvCxnSpPr/>
          <p:nvPr/>
        </p:nvCxnSpPr>
        <p:spPr>
          <a:xfrm>
            <a:off x="6257925" y="2881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7" name="Straight Connector 566"/>
          <p:cNvCxnSpPr/>
          <p:nvPr/>
        </p:nvCxnSpPr>
        <p:spPr>
          <a:xfrm>
            <a:off x="6315075" y="2879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8" name="Straight Connector 567"/>
          <p:cNvCxnSpPr/>
          <p:nvPr/>
        </p:nvCxnSpPr>
        <p:spPr>
          <a:xfrm>
            <a:off x="6324600" y="2879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9" name="Straight Connector 568"/>
          <p:cNvCxnSpPr/>
          <p:nvPr/>
        </p:nvCxnSpPr>
        <p:spPr>
          <a:xfrm>
            <a:off x="6361113" y="2878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0" name="Straight Connector 569"/>
          <p:cNvCxnSpPr/>
          <p:nvPr/>
        </p:nvCxnSpPr>
        <p:spPr>
          <a:xfrm>
            <a:off x="6375400" y="2878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1" name="Straight Connector 570"/>
          <p:cNvCxnSpPr/>
          <p:nvPr/>
        </p:nvCxnSpPr>
        <p:spPr>
          <a:xfrm>
            <a:off x="6383338" y="2879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2" name="Straight Connector 571"/>
          <p:cNvCxnSpPr/>
          <p:nvPr/>
        </p:nvCxnSpPr>
        <p:spPr>
          <a:xfrm>
            <a:off x="6421438" y="2881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3" name="Straight Connector 572"/>
          <p:cNvCxnSpPr/>
          <p:nvPr/>
        </p:nvCxnSpPr>
        <p:spPr>
          <a:xfrm>
            <a:off x="6434138" y="2881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4" name="Straight Connector 573"/>
          <p:cNvCxnSpPr/>
          <p:nvPr/>
        </p:nvCxnSpPr>
        <p:spPr>
          <a:xfrm>
            <a:off x="6472238" y="2882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5" name="Straight Connector 574"/>
          <p:cNvCxnSpPr/>
          <p:nvPr/>
        </p:nvCxnSpPr>
        <p:spPr>
          <a:xfrm>
            <a:off x="6481763" y="2884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6" name="Straight Connector 575"/>
          <p:cNvCxnSpPr/>
          <p:nvPr/>
        </p:nvCxnSpPr>
        <p:spPr>
          <a:xfrm>
            <a:off x="6491288" y="2884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7" name="Straight Connector 576"/>
          <p:cNvCxnSpPr/>
          <p:nvPr/>
        </p:nvCxnSpPr>
        <p:spPr>
          <a:xfrm>
            <a:off x="6500813" y="28860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8" name="Straight Connector 577"/>
          <p:cNvCxnSpPr/>
          <p:nvPr/>
        </p:nvCxnSpPr>
        <p:spPr>
          <a:xfrm>
            <a:off x="6510338" y="2884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9" name="Straight Connector 578"/>
          <p:cNvCxnSpPr/>
          <p:nvPr/>
        </p:nvCxnSpPr>
        <p:spPr>
          <a:xfrm>
            <a:off x="6521450" y="29194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0" name="Straight Connector 579"/>
          <p:cNvCxnSpPr/>
          <p:nvPr/>
        </p:nvCxnSpPr>
        <p:spPr>
          <a:xfrm>
            <a:off x="6596063" y="29194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1" name="Straight Connector 580"/>
          <p:cNvCxnSpPr/>
          <p:nvPr/>
        </p:nvCxnSpPr>
        <p:spPr>
          <a:xfrm>
            <a:off x="6605588" y="29210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2" name="Straight Connector 581"/>
          <p:cNvCxnSpPr/>
          <p:nvPr/>
        </p:nvCxnSpPr>
        <p:spPr>
          <a:xfrm>
            <a:off x="6613525" y="29225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3" name="Straight Connector 582"/>
          <p:cNvCxnSpPr/>
          <p:nvPr/>
        </p:nvCxnSpPr>
        <p:spPr>
          <a:xfrm>
            <a:off x="6623050" y="29606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4" name="Straight Connector 583"/>
          <p:cNvCxnSpPr/>
          <p:nvPr/>
        </p:nvCxnSpPr>
        <p:spPr>
          <a:xfrm>
            <a:off x="6661150" y="29622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5" name="Straight Connector 584"/>
          <p:cNvCxnSpPr/>
          <p:nvPr/>
        </p:nvCxnSpPr>
        <p:spPr>
          <a:xfrm>
            <a:off x="6708775" y="29638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6" name="Straight Connector 585"/>
          <p:cNvCxnSpPr/>
          <p:nvPr/>
        </p:nvCxnSpPr>
        <p:spPr>
          <a:xfrm>
            <a:off x="6750050" y="29638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7" name="Straight Connector 586"/>
          <p:cNvCxnSpPr/>
          <p:nvPr/>
        </p:nvCxnSpPr>
        <p:spPr>
          <a:xfrm>
            <a:off x="6789738" y="29987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8" name="Straight Connector 587"/>
          <p:cNvCxnSpPr/>
          <p:nvPr/>
        </p:nvCxnSpPr>
        <p:spPr>
          <a:xfrm>
            <a:off x="6831013" y="30019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9" name="Straight Connector 588"/>
          <p:cNvCxnSpPr/>
          <p:nvPr/>
        </p:nvCxnSpPr>
        <p:spPr>
          <a:xfrm>
            <a:off x="6870700" y="3003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0" name="Straight Connector 589"/>
          <p:cNvCxnSpPr/>
          <p:nvPr/>
        </p:nvCxnSpPr>
        <p:spPr>
          <a:xfrm>
            <a:off x="6942138" y="3003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1" name="Straight Connector 590"/>
          <p:cNvCxnSpPr/>
          <p:nvPr/>
        </p:nvCxnSpPr>
        <p:spPr>
          <a:xfrm>
            <a:off x="6950075" y="3005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2" name="Straight Connector 591"/>
          <p:cNvCxnSpPr/>
          <p:nvPr/>
        </p:nvCxnSpPr>
        <p:spPr>
          <a:xfrm>
            <a:off x="6956425" y="3006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3" name="Straight Connector 592"/>
          <p:cNvCxnSpPr/>
          <p:nvPr/>
        </p:nvCxnSpPr>
        <p:spPr>
          <a:xfrm>
            <a:off x="6962775" y="3006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4" name="Straight Connector 593"/>
          <p:cNvCxnSpPr/>
          <p:nvPr/>
        </p:nvCxnSpPr>
        <p:spPr>
          <a:xfrm>
            <a:off x="6970713" y="3008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5" name="Straight Connector 594"/>
          <p:cNvCxnSpPr/>
          <p:nvPr/>
        </p:nvCxnSpPr>
        <p:spPr>
          <a:xfrm>
            <a:off x="6977063" y="3006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6" name="Straight Connector 595"/>
          <p:cNvCxnSpPr/>
          <p:nvPr/>
        </p:nvCxnSpPr>
        <p:spPr>
          <a:xfrm>
            <a:off x="7018338" y="3005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7" name="Straight Connector 596"/>
          <p:cNvCxnSpPr/>
          <p:nvPr/>
        </p:nvCxnSpPr>
        <p:spPr>
          <a:xfrm>
            <a:off x="7053263" y="30051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8" name="Straight Connector 597"/>
          <p:cNvCxnSpPr/>
          <p:nvPr/>
        </p:nvCxnSpPr>
        <p:spPr>
          <a:xfrm>
            <a:off x="7137400" y="300355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9" name="Straight Connector 598"/>
          <p:cNvCxnSpPr/>
          <p:nvPr/>
        </p:nvCxnSpPr>
        <p:spPr>
          <a:xfrm>
            <a:off x="7143750" y="30019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0" name="Straight Connector 599"/>
          <p:cNvCxnSpPr/>
          <p:nvPr/>
        </p:nvCxnSpPr>
        <p:spPr>
          <a:xfrm>
            <a:off x="7151688" y="30003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1" name="Straight Connector 600"/>
          <p:cNvCxnSpPr/>
          <p:nvPr/>
        </p:nvCxnSpPr>
        <p:spPr>
          <a:xfrm>
            <a:off x="7158038" y="29987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2" name="Straight Connector 601"/>
          <p:cNvCxnSpPr/>
          <p:nvPr/>
        </p:nvCxnSpPr>
        <p:spPr>
          <a:xfrm>
            <a:off x="7175500" y="3082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3" name="Straight Connector 602"/>
          <p:cNvCxnSpPr/>
          <p:nvPr/>
        </p:nvCxnSpPr>
        <p:spPr>
          <a:xfrm>
            <a:off x="7191375" y="30861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4" name="Straight Connector 603"/>
          <p:cNvCxnSpPr/>
          <p:nvPr/>
        </p:nvCxnSpPr>
        <p:spPr>
          <a:xfrm>
            <a:off x="7207250" y="30813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5" name="Straight Connector 604"/>
          <p:cNvCxnSpPr/>
          <p:nvPr/>
        </p:nvCxnSpPr>
        <p:spPr>
          <a:xfrm>
            <a:off x="7224713" y="3084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6" name="Straight Connector 605"/>
          <p:cNvCxnSpPr/>
          <p:nvPr/>
        </p:nvCxnSpPr>
        <p:spPr>
          <a:xfrm>
            <a:off x="7240588" y="30876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7" name="Straight Connector 606"/>
          <p:cNvCxnSpPr/>
          <p:nvPr/>
        </p:nvCxnSpPr>
        <p:spPr>
          <a:xfrm>
            <a:off x="7367588" y="3084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8" name="Straight Connector 607"/>
          <p:cNvCxnSpPr/>
          <p:nvPr/>
        </p:nvCxnSpPr>
        <p:spPr>
          <a:xfrm>
            <a:off x="7440613" y="30829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9" name="Straight Connector 608"/>
          <p:cNvCxnSpPr/>
          <p:nvPr/>
        </p:nvCxnSpPr>
        <p:spPr>
          <a:xfrm>
            <a:off x="7486650" y="308133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0" name="Straight Connector 609"/>
          <p:cNvCxnSpPr/>
          <p:nvPr/>
        </p:nvCxnSpPr>
        <p:spPr>
          <a:xfrm>
            <a:off x="7531100" y="3084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1" name="Straight Connector 610"/>
          <p:cNvCxnSpPr/>
          <p:nvPr/>
        </p:nvCxnSpPr>
        <p:spPr>
          <a:xfrm>
            <a:off x="7591425" y="30876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2" name="Straight Connector 611"/>
          <p:cNvCxnSpPr/>
          <p:nvPr/>
        </p:nvCxnSpPr>
        <p:spPr>
          <a:xfrm>
            <a:off x="7664450" y="30861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3" name="Straight Connector 612"/>
          <p:cNvCxnSpPr/>
          <p:nvPr/>
        </p:nvCxnSpPr>
        <p:spPr>
          <a:xfrm>
            <a:off x="7669213" y="3084513"/>
            <a:ext cx="0" cy="55562"/>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4" name="Straight Connector 613"/>
          <p:cNvCxnSpPr/>
          <p:nvPr/>
        </p:nvCxnSpPr>
        <p:spPr>
          <a:xfrm>
            <a:off x="7673975" y="3084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5" name="Straight Connector 614"/>
          <p:cNvCxnSpPr/>
          <p:nvPr/>
        </p:nvCxnSpPr>
        <p:spPr>
          <a:xfrm>
            <a:off x="7678738" y="30845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6" name="Straight Connector 615"/>
          <p:cNvCxnSpPr/>
          <p:nvPr/>
        </p:nvCxnSpPr>
        <p:spPr>
          <a:xfrm>
            <a:off x="7683500" y="30861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7" name="Straight Connector 616"/>
          <p:cNvCxnSpPr/>
          <p:nvPr/>
        </p:nvCxnSpPr>
        <p:spPr>
          <a:xfrm>
            <a:off x="7731125" y="30876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8" name="Straight Connector 617"/>
          <p:cNvCxnSpPr/>
          <p:nvPr/>
        </p:nvCxnSpPr>
        <p:spPr>
          <a:xfrm>
            <a:off x="7859713" y="326866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9" name="Straight Connector 618"/>
          <p:cNvCxnSpPr/>
          <p:nvPr/>
        </p:nvCxnSpPr>
        <p:spPr>
          <a:xfrm>
            <a:off x="7899400" y="32670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0" name="Straight Connector 619"/>
          <p:cNvCxnSpPr/>
          <p:nvPr/>
        </p:nvCxnSpPr>
        <p:spPr>
          <a:xfrm>
            <a:off x="7937500" y="3265488"/>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1" name="Straight Connector 620"/>
          <p:cNvCxnSpPr/>
          <p:nvPr/>
        </p:nvCxnSpPr>
        <p:spPr>
          <a:xfrm>
            <a:off x="8074025" y="3263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2" name="Straight Connector 621"/>
          <p:cNvCxnSpPr/>
          <p:nvPr/>
        </p:nvCxnSpPr>
        <p:spPr>
          <a:xfrm>
            <a:off x="8261350" y="3262313"/>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3" name="Straight Connector 622"/>
          <p:cNvCxnSpPr/>
          <p:nvPr/>
        </p:nvCxnSpPr>
        <p:spPr>
          <a:xfrm>
            <a:off x="8310563" y="3260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4" name="Straight Connector 623"/>
          <p:cNvCxnSpPr/>
          <p:nvPr/>
        </p:nvCxnSpPr>
        <p:spPr>
          <a:xfrm>
            <a:off x="8342313" y="326072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5" name="Straight Connector 624"/>
          <p:cNvCxnSpPr/>
          <p:nvPr/>
        </p:nvCxnSpPr>
        <p:spPr>
          <a:xfrm>
            <a:off x="8424863" y="3263900"/>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6" name="Straight Connector 625"/>
          <p:cNvCxnSpPr/>
          <p:nvPr/>
        </p:nvCxnSpPr>
        <p:spPr>
          <a:xfrm>
            <a:off x="8475663" y="3267075"/>
            <a:ext cx="0" cy="53975"/>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7" name="Straight Connector 626"/>
          <p:cNvCxnSpPr/>
          <p:nvPr/>
        </p:nvCxnSpPr>
        <p:spPr>
          <a:xfrm rot="16200000">
            <a:off x="777082" y="2569369"/>
            <a:ext cx="0" cy="71437"/>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rot="16200000">
            <a:off x="-779462" y="3619500"/>
            <a:ext cx="2184400" cy="307975"/>
          </a:xfrm>
          <a:prstGeom prst="rect">
            <a:avLst/>
          </a:prstGeom>
          <a:noFill/>
        </p:spPr>
        <p:txBody>
          <a:bodyPr wrap="none">
            <a:spAutoFit/>
          </a:bodyPr>
          <a:lstStyle/>
          <a:p>
            <a:pPr>
              <a:defRPr/>
            </a:pPr>
            <a:r>
              <a:rPr lang="en-GB" sz="1400" dirty="0">
                <a:latin typeface="+mn-lt"/>
                <a:ea typeface="+mn-ea"/>
                <a:cs typeface="+mn-cs"/>
              </a:rPr>
              <a:t>Disease-free survival (%)</a:t>
            </a:r>
          </a:p>
        </p:txBody>
      </p:sp>
      <p:sp>
        <p:nvSpPr>
          <p:cNvPr id="628" name="TextBox 627"/>
          <p:cNvSpPr txBox="1"/>
          <p:nvPr/>
        </p:nvSpPr>
        <p:spPr>
          <a:xfrm rot="16200000">
            <a:off x="3852070" y="3621881"/>
            <a:ext cx="1738312" cy="307975"/>
          </a:xfrm>
          <a:prstGeom prst="rect">
            <a:avLst/>
          </a:prstGeom>
          <a:noFill/>
        </p:spPr>
        <p:txBody>
          <a:bodyPr wrap="none">
            <a:spAutoFit/>
          </a:bodyPr>
          <a:lstStyle/>
          <a:p>
            <a:pPr>
              <a:defRPr/>
            </a:pPr>
            <a:r>
              <a:rPr lang="en-GB" sz="1400" dirty="0">
                <a:latin typeface="+mn-lt"/>
                <a:ea typeface="+mn-ea"/>
                <a:cs typeface="+mn-cs"/>
              </a:rPr>
              <a:t>Overall survival (%)</a:t>
            </a:r>
          </a:p>
        </p:txBody>
      </p:sp>
    </p:spTree>
    <p:extLst>
      <p:ext uri="{BB962C8B-B14F-4D97-AF65-F5344CB8AC3E}">
        <p14:creationId xmlns:p14="http://schemas.microsoft.com/office/powerpoint/2010/main" val="1619170316"/>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4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4606" y="3259689"/>
            <a:ext cx="6554788" cy="320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0" name="Rectangle 11"/>
          <p:cNvSpPr>
            <a:spLocks noChangeArrowheads="1"/>
          </p:cNvSpPr>
          <p:nvPr/>
        </p:nvSpPr>
        <p:spPr bwMode="auto">
          <a:xfrm>
            <a:off x="5146923" y="2812926"/>
            <a:ext cx="25463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it-IT" altLang="it-IT" sz="2000" dirty="0">
                <a:latin typeface="Calibri" panose="020F0502020204030204" pitchFamily="34" charset="0"/>
              </a:rPr>
              <a:t>RANK+ CTC </a:t>
            </a:r>
            <a:r>
              <a:rPr lang="it-IT" altLang="it-IT" sz="2000" dirty="0" err="1">
                <a:latin typeface="Calibri" panose="020F0502020204030204" pitchFamily="34" charset="0"/>
              </a:rPr>
              <a:t>at</a:t>
            </a:r>
            <a:r>
              <a:rPr lang="it-IT" altLang="it-IT" sz="2000" dirty="0">
                <a:latin typeface="Calibri" panose="020F0502020204030204" pitchFamily="34" charset="0"/>
              </a:rPr>
              <a:t> baseline</a:t>
            </a:r>
          </a:p>
        </p:txBody>
      </p:sp>
      <p:sp>
        <p:nvSpPr>
          <p:cNvPr id="27651" name="CasellaDiTesto 4"/>
          <p:cNvSpPr txBox="1">
            <a:spLocks noChangeArrowheads="1"/>
          </p:cNvSpPr>
          <p:nvPr/>
        </p:nvSpPr>
        <p:spPr bwMode="auto">
          <a:xfrm>
            <a:off x="2030413" y="2579688"/>
            <a:ext cx="4413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it-IT" altLang="it-IT">
                <a:solidFill>
                  <a:schemeClr val="bg1"/>
                </a:solidFill>
              </a:rPr>
              <a:t>21</a:t>
            </a:r>
          </a:p>
        </p:txBody>
      </p:sp>
      <p:sp>
        <p:nvSpPr>
          <p:cNvPr id="27652" name="CasellaDiTesto 16"/>
          <p:cNvSpPr txBox="1">
            <a:spLocks noChangeArrowheads="1"/>
          </p:cNvSpPr>
          <p:nvPr/>
        </p:nvSpPr>
        <p:spPr bwMode="auto">
          <a:xfrm>
            <a:off x="1722438" y="2276475"/>
            <a:ext cx="3127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it-IT" altLang="it-IT">
                <a:solidFill>
                  <a:schemeClr val="bg1"/>
                </a:solidFill>
              </a:rPr>
              <a:t>7</a:t>
            </a:r>
          </a:p>
        </p:txBody>
      </p:sp>
      <p:pic>
        <p:nvPicPr>
          <p:cNvPr id="27653" name="Picture 3"/>
          <p:cNvPicPr>
            <a:picLocks noChangeAspect="1" noChangeArrowheads="1"/>
          </p:cNvPicPr>
          <p:nvPr/>
        </p:nvPicPr>
        <p:blipFill>
          <a:blip r:embed="rId4">
            <a:extLst>
              <a:ext uri="{28A0092B-C50C-407E-A947-70E740481C1C}">
                <a14:useLocalDpi xmlns:a14="http://schemas.microsoft.com/office/drawing/2010/main" val="0"/>
              </a:ext>
            </a:extLst>
          </a:blip>
          <a:srcRect l="42639" r="4051" b="59914"/>
          <a:stretch>
            <a:fillRect/>
          </a:stretch>
        </p:blipFill>
        <p:spPr bwMode="auto">
          <a:xfrm>
            <a:off x="2035175" y="1196975"/>
            <a:ext cx="4030663" cy="1703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654" name="Rectangle 2"/>
          <p:cNvSpPr txBox="1">
            <a:spLocks noChangeArrowheads="1"/>
          </p:cNvSpPr>
          <p:nvPr/>
        </p:nvSpPr>
        <p:spPr bwMode="auto">
          <a:xfrm>
            <a:off x="-252536" y="-35086"/>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n-US" altLang="it-IT" sz="2800" b="1" dirty="0" smtClean="0">
                <a:solidFill>
                  <a:srgbClr val="002060"/>
                </a:solidFill>
                <a:latin typeface="Calibri Light" panose="020F0302020204030204" pitchFamily="34" charset="0"/>
              </a:rPr>
              <a:t>RANK is expressed on CTC</a:t>
            </a:r>
            <a:endParaRPr lang="en-US" altLang="it-IT" sz="2800" b="1" dirty="0">
              <a:solidFill>
                <a:srgbClr val="002060"/>
              </a:solidFill>
              <a:latin typeface="Calibri Light" panose="020F0302020204030204" pitchFamily="34" charset="0"/>
            </a:endParaRPr>
          </a:p>
        </p:txBody>
      </p:sp>
      <p:sp>
        <p:nvSpPr>
          <p:cNvPr id="27655" name="Rectangle 11"/>
          <p:cNvSpPr>
            <a:spLocks noChangeArrowheads="1"/>
          </p:cNvSpPr>
          <p:nvPr/>
        </p:nvSpPr>
        <p:spPr bwMode="auto">
          <a:xfrm>
            <a:off x="2030413" y="2753730"/>
            <a:ext cx="18859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it-IT" altLang="it-IT" sz="2000" dirty="0">
                <a:latin typeface="Calibri" panose="020F0502020204030204" pitchFamily="34" charset="0"/>
              </a:rPr>
              <a:t>CTC </a:t>
            </a:r>
            <a:r>
              <a:rPr lang="it-IT" altLang="it-IT" sz="2000" dirty="0" err="1">
                <a:latin typeface="Calibri" panose="020F0502020204030204" pitchFamily="34" charset="0"/>
              </a:rPr>
              <a:t>at</a:t>
            </a:r>
            <a:r>
              <a:rPr lang="it-IT" altLang="it-IT" sz="2000" dirty="0">
                <a:latin typeface="Calibri" panose="020F0502020204030204" pitchFamily="34" charset="0"/>
              </a:rPr>
              <a:t> baseline</a:t>
            </a:r>
          </a:p>
        </p:txBody>
      </p:sp>
      <p:sp>
        <p:nvSpPr>
          <p:cNvPr id="2" name="CasellaDiTesto 1"/>
          <p:cNvSpPr txBox="1"/>
          <p:nvPr/>
        </p:nvSpPr>
        <p:spPr>
          <a:xfrm>
            <a:off x="5508104" y="6516327"/>
            <a:ext cx="3111749" cy="338554"/>
          </a:xfrm>
          <a:prstGeom prst="rect">
            <a:avLst/>
          </a:prstGeom>
          <a:noFill/>
        </p:spPr>
        <p:txBody>
          <a:bodyPr wrap="none" rtlCol="0">
            <a:spAutoFit/>
          </a:bodyPr>
          <a:lstStyle/>
          <a:p>
            <a:r>
              <a:rPr lang="it-IT" sz="1600" dirty="0" smtClean="0"/>
              <a:t>Santini D et </a:t>
            </a:r>
            <a:r>
              <a:rPr lang="it-IT" sz="1600" dirty="0" err="1" smtClean="0"/>
              <a:t>al.Unpublished</a:t>
            </a:r>
            <a:r>
              <a:rPr lang="it-IT" sz="1600" dirty="0" smtClean="0"/>
              <a:t> data</a:t>
            </a:r>
            <a:endParaRPr lang="it-IT" sz="1600" dirty="0"/>
          </a:p>
        </p:txBody>
      </p:sp>
    </p:spTree>
    <p:extLst>
      <p:ext uri="{BB962C8B-B14F-4D97-AF65-F5344CB8AC3E}">
        <p14:creationId xmlns:p14="http://schemas.microsoft.com/office/powerpoint/2010/main" val="14609342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091" y="1659731"/>
            <a:ext cx="8132762" cy="501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asellaDiTesto 3"/>
          <p:cNvSpPr txBox="1">
            <a:spLocks noChangeArrowheads="1"/>
          </p:cNvSpPr>
          <p:nvPr/>
        </p:nvSpPr>
        <p:spPr bwMode="auto">
          <a:xfrm>
            <a:off x="4041775" y="5519738"/>
            <a:ext cx="110013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1600" b="1">
                <a:solidFill>
                  <a:srgbClr val="000000"/>
                </a:solidFill>
              </a:rPr>
              <a:t>p = 0,058</a:t>
            </a:r>
          </a:p>
        </p:txBody>
      </p:sp>
      <p:sp>
        <p:nvSpPr>
          <p:cNvPr id="31747" name="Rectangle 2"/>
          <p:cNvSpPr txBox="1">
            <a:spLocks noChangeArrowheads="1"/>
          </p:cNvSpPr>
          <p:nvPr/>
        </p:nvSpPr>
        <p:spPr bwMode="auto">
          <a:xfrm>
            <a:off x="0" y="39688"/>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r>
              <a:rPr lang="en-US" altLang="it-IT" sz="2400" b="1" dirty="0" smtClean="0">
                <a:solidFill>
                  <a:srgbClr val="002060"/>
                </a:solidFill>
                <a:cs typeface="Arial" panose="020B0604020202020204" pitchFamily="34" charset="0"/>
              </a:rPr>
              <a:t>Time to first SRE according to CTC Rank+/Rank- </a:t>
            </a:r>
          </a:p>
          <a:p>
            <a:pPr algn="ctr"/>
            <a:r>
              <a:rPr lang="en-US" altLang="it-IT" sz="2400" b="1" dirty="0" smtClean="0">
                <a:solidFill>
                  <a:srgbClr val="002060"/>
                </a:solidFill>
                <a:cs typeface="Arial" panose="020B0604020202020204" pitchFamily="34" charset="0"/>
              </a:rPr>
              <a:t>at baseline (day 0) </a:t>
            </a:r>
            <a:endParaRPr lang="en-US" altLang="it-IT" sz="2400" b="1" dirty="0">
              <a:solidFill>
                <a:srgbClr val="002060"/>
              </a:solidFill>
              <a:cs typeface="Arial" panose="020B0604020202020204" pitchFamily="34" charset="0"/>
            </a:endParaRPr>
          </a:p>
        </p:txBody>
      </p:sp>
      <p:sp>
        <p:nvSpPr>
          <p:cNvPr id="6" name="CasellaDiTesto 5"/>
          <p:cNvSpPr txBox="1">
            <a:spLocks noChangeArrowheads="1"/>
          </p:cNvSpPr>
          <p:nvPr/>
        </p:nvSpPr>
        <p:spPr bwMode="auto">
          <a:xfrm>
            <a:off x="4992688" y="2654300"/>
            <a:ext cx="9779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1600">
                <a:solidFill>
                  <a:srgbClr val="000000"/>
                </a:solidFill>
              </a:rPr>
              <a:t>41 m</a:t>
            </a:r>
          </a:p>
        </p:txBody>
      </p:sp>
      <p:sp>
        <p:nvSpPr>
          <p:cNvPr id="7" name="CasellaDiTesto 6"/>
          <p:cNvSpPr txBox="1">
            <a:spLocks noChangeArrowheads="1"/>
          </p:cNvSpPr>
          <p:nvPr/>
        </p:nvSpPr>
        <p:spPr bwMode="auto">
          <a:xfrm>
            <a:off x="3078163" y="3122613"/>
            <a:ext cx="110013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1600">
                <a:solidFill>
                  <a:srgbClr val="000000"/>
                </a:solidFill>
              </a:rPr>
              <a:t>29 m</a:t>
            </a:r>
          </a:p>
        </p:txBody>
      </p:sp>
      <p:sp>
        <p:nvSpPr>
          <p:cNvPr id="8" name="CasellaDiTesto 7"/>
          <p:cNvSpPr txBox="1">
            <a:spLocks noChangeArrowheads="1"/>
          </p:cNvSpPr>
          <p:nvPr/>
        </p:nvSpPr>
        <p:spPr bwMode="auto">
          <a:xfrm>
            <a:off x="4443413" y="3829050"/>
            <a:ext cx="110013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1600">
                <a:solidFill>
                  <a:srgbClr val="000000"/>
                </a:solidFill>
              </a:rPr>
              <a:t>25 m</a:t>
            </a:r>
          </a:p>
        </p:txBody>
      </p:sp>
      <p:sp>
        <p:nvSpPr>
          <p:cNvPr id="9" name="CasellaDiTesto 8"/>
          <p:cNvSpPr txBox="1">
            <a:spLocks noChangeArrowheads="1"/>
          </p:cNvSpPr>
          <p:nvPr/>
        </p:nvSpPr>
        <p:spPr bwMode="auto">
          <a:xfrm>
            <a:off x="2703513" y="4113213"/>
            <a:ext cx="10985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it-IT" altLang="it-IT" sz="1600">
                <a:solidFill>
                  <a:srgbClr val="000000"/>
                </a:solidFill>
              </a:rPr>
              <a:t>19 m</a:t>
            </a:r>
          </a:p>
        </p:txBody>
      </p:sp>
      <p:sp>
        <p:nvSpPr>
          <p:cNvPr id="10" name="CasellaDiTesto 9"/>
          <p:cNvSpPr txBox="1"/>
          <p:nvPr/>
        </p:nvSpPr>
        <p:spPr>
          <a:xfrm>
            <a:off x="5508104" y="6516327"/>
            <a:ext cx="3111749" cy="338554"/>
          </a:xfrm>
          <a:prstGeom prst="rect">
            <a:avLst/>
          </a:prstGeom>
          <a:noFill/>
        </p:spPr>
        <p:txBody>
          <a:bodyPr wrap="none" rtlCol="0">
            <a:spAutoFit/>
          </a:bodyPr>
          <a:lstStyle/>
          <a:p>
            <a:r>
              <a:rPr lang="it-IT" sz="1600" dirty="0" smtClean="0"/>
              <a:t>Santini D et </a:t>
            </a:r>
            <a:r>
              <a:rPr lang="it-IT" sz="1600" dirty="0" err="1" smtClean="0"/>
              <a:t>al.Unpublished</a:t>
            </a:r>
            <a:r>
              <a:rPr lang="it-IT" sz="1600" dirty="0" smtClean="0"/>
              <a:t> data</a:t>
            </a:r>
            <a:endParaRPr lang="it-IT" sz="1600" dirty="0"/>
          </a:p>
        </p:txBody>
      </p:sp>
    </p:spTree>
    <p:extLst>
      <p:ext uri="{BB962C8B-B14F-4D97-AF65-F5344CB8AC3E}">
        <p14:creationId xmlns:p14="http://schemas.microsoft.com/office/powerpoint/2010/main" val="38429324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My </a:t>
            </a:r>
            <a:r>
              <a:rPr lang="it-IT" dirty="0" err="1" smtClean="0"/>
              <a:t>disclosures</a:t>
            </a:r>
            <a:endParaRPr lang="it-IT" dirty="0"/>
          </a:p>
        </p:txBody>
      </p:sp>
      <p:sp>
        <p:nvSpPr>
          <p:cNvPr id="3" name="Segnaposto contenuto 2"/>
          <p:cNvSpPr>
            <a:spLocks noGrp="1"/>
          </p:cNvSpPr>
          <p:nvPr>
            <p:ph idx="1"/>
          </p:nvPr>
        </p:nvSpPr>
        <p:spPr/>
        <p:txBody>
          <a:bodyPr/>
          <a:lstStyle/>
          <a:p>
            <a:r>
              <a:rPr lang="it-IT" dirty="0" err="1" smtClean="0"/>
              <a:t>Research</a:t>
            </a:r>
            <a:r>
              <a:rPr lang="it-IT" dirty="0" smtClean="0"/>
              <a:t> </a:t>
            </a:r>
            <a:r>
              <a:rPr lang="it-IT" dirty="0" err="1" smtClean="0"/>
              <a:t>grants</a:t>
            </a:r>
            <a:r>
              <a:rPr lang="it-IT" dirty="0" smtClean="0"/>
              <a:t> from: Amgen, </a:t>
            </a:r>
            <a:r>
              <a:rPr lang="it-IT" dirty="0" err="1" smtClean="0"/>
              <a:t>Janssen</a:t>
            </a:r>
            <a:r>
              <a:rPr lang="it-IT" dirty="0" smtClean="0"/>
              <a:t>, Roche</a:t>
            </a:r>
          </a:p>
          <a:p>
            <a:r>
              <a:rPr lang="it-IT" dirty="0" err="1" smtClean="0"/>
              <a:t>Advisory</a:t>
            </a:r>
            <a:r>
              <a:rPr lang="it-IT" dirty="0" smtClean="0"/>
              <a:t> </a:t>
            </a:r>
            <a:r>
              <a:rPr lang="it-IT" dirty="0" err="1" smtClean="0"/>
              <a:t>boards</a:t>
            </a:r>
            <a:r>
              <a:rPr lang="it-IT" dirty="0" smtClean="0"/>
              <a:t> from: Amgen, </a:t>
            </a:r>
            <a:r>
              <a:rPr lang="it-IT" dirty="0" err="1" smtClean="0"/>
              <a:t>Janssen</a:t>
            </a:r>
            <a:r>
              <a:rPr lang="it-IT" dirty="0" smtClean="0"/>
              <a:t>, Merck, Roche, Bayer, Novartis, Bristol</a:t>
            </a:r>
            <a:endParaRPr lang="it-IT" dirty="0"/>
          </a:p>
        </p:txBody>
      </p:sp>
    </p:spTree>
    <p:extLst>
      <p:ext uri="{BB962C8B-B14F-4D97-AF65-F5344CB8AC3E}">
        <p14:creationId xmlns:p14="http://schemas.microsoft.com/office/powerpoint/2010/main" val="14778793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09"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40048"/>
            <a:ext cx="7524328" cy="5261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asellaDiTesto 3"/>
          <p:cNvSpPr txBox="1">
            <a:spLocks noChangeArrowheads="1"/>
          </p:cNvSpPr>
          <p:nvPr/>
        </p:nvSpPr>
        <p:spPr bwMode="auto">
          <a:xfrm>
            <a:off x="846138" y="5054600"/>
            <a:ext cx="110013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it-IT" altLang="it-IT" sz="1600" b="1" u="sng">
                <a:solidFill>
                  <a:srgbClr val="000000"/>
                </a:solidFill>
              </a:rPr>
              <a:t>p = 0,011</a:t>
            </a:r>
          </a:p>
        </p:txBody>
      </p:sp>
      <p:sp>
        <p:nvSpPr>
          <p:cNvPr id="43011" name="Rectangle 2"/>
          <p:cNvSpPr txBox="1">
            <a:spLocks noChangeArrowheads="1"/>
          </p:cNvSpPr>
          <p:nvPr/>
        </p:nvSpPr>
        <p:spPr bwMode="auto">
          <a:xfrm>
            <a:off x="-32544" y="73984"/>
            <a:ext cx="91201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pPr algn="ctr"/>
            <a:r>
              <a:rPr lang="en-US" altLang="it-IT" sz="2800" b="1" dirty="0" smtClean="0">
                <a:solidFill>
                  <a:srgbClr val="002060"/>
                </a:solidFill>
                <a:latin typeface="Calibri" charset="0"/>
                <a:ea typeface="Calibri" charset="0"/>
                <a:cs typeface="Calibri" charset="0"/>
              </a:rPr>
              <a:t>Time to visceral progression according with CTC </a:t>
            </a:r>
            <a:r>
              <a:rPr lang="en-US" altLang="it-IT" sz="2800" b="1" dirty="0">
                <a:solidFill>
                  <a:srgbClr val="002060"/>
                </a:solidFill>
                <a:latin typeface="Calibri" charset="0"/>
                <a:ea typeface="Calibri" charset="0"/>
                <a:cs typeface="Calibri" charset="0"/>
              </a:rPr>
              <a:t>Rank+\Rank- </a:t>
            </a:r>
            <a:r>
              <a:rPr lang="en-US" altLang="it-IT" sz="2800" b="1" dirty="0" smtClean="0">
                <a:solidFill>
                  <a:srgbClr val="002060"/>
                </a:solidFill>
                <a:latin typeface="Calibri" charset="0"/>
                <a:ea typeface="Calibri" charset="0"/>
                <a:cs typeface="Calibri" charset="0"/>
              </a:rPr>
              <a:t>at baseline (day </a:t>
            </a:r>
            <a:r>
              <a:rPr lang="en-US" altLang="it-IT" sz="2800" b="1" dirty="0">
                <a:solidFill>
                  <a:srgbClr val="002060"/>
                </a:solidFill>
                <a:latin typeface="Calibri" charset="0"/>
                <a:ea typeface="Calibri" charset="0"/>
                <a:cs typeface="Calibri" charset="0"/>
              </a:rPr>
              <a:t>0) </a:t>
            </a:r>
          </a:p>
        </p:txBody>
      </p:sp>
      <p:sp>
        <p:nvSpPr>
          <p:cNvPr id="9" name="CasellaDiTesto 8"/>
          <p:cNvSpPr txBox="1">
            <a:spLocks noChangeArrowheads="1"/>
          </p:cNvSpPr>
          <p:nvPr/>
        </p:nvSpPr>
        <p:spPr bwMode="auto">
          <a:xfrm>
            <a:off x="3427413" y="3081338"/>
            <a:ext cx="110013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it-IT" altLang="it-IT" sz="1600">
                <a:solidFill>
                  <a:srgbClr val="000000"/>
                </a:solidFill>
              </a:rPr>
              <a:t>41 mesi</a:t>
            </a:r>
          </a:p>
        </p:txBody>
      </p:sp>
      <p:sp>
        <p:nvSpPr>
          <p:cNvPr id="10" name="CasellaDiTesto 9"/>
          <p:cNvSpPr txBox="1">
            <a:spLocks noChangeArrowheads="1"/>
          </p:cNvSpPr>
          <p:nvPr/>
        </p:nvSpPr>
        <p:spPr bwMode="auto">
          <a:xfrm>
            <a:off x="2109788" y="3216275"/>
            <a:ext cx="110013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it-IT" altLang="it-IT" sz="1600">
                <a:solidFill>
                  <a:srgbClr val="000000"/>
                </a:solidFill>
              </a:rPr>
              <a:t>39 mesi</a:t>
            </a:r>
          </a:p>
        </p:txBody>
      </p:sp>
      <p:sp>
        <p:nvSpPr>
          <p:cNvPr id="11" name="CasellaDiTesto 10"/>
          <p:cNvSpPr txBox="1">
            <a:spLocks noChangeArrowheads="1"/>
          </p:cNvSpPr>
          <p:nvPr/>
        </p:nvSpPr>
        <p:spPr bwMode="auto">
          <a:xfrm>
            <a:off x="2713038" y="3670300"/>
            <a:ext cx="110013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it-IT" altLang="it-IT" sz="1600">
                <a:solidFill>
                  <a:srgbClr val="000000"/>
                </a:solidFill>
              </a:rPr>
              <a:t>18 mesi</a:t>
            </a:r>
          </a:p>
        </p:txBody>
      </p:sp>
      <p:sp>
        <p:nvSpPr>
          <p:cNvPr id="12" name="CasellaDiTesto 11"/>
          <p:cNvSpPr txBox="1">
            <a:spLocks noChangeArrowheads="1"/>
          </p:cNvSpPr>
          <p:nvPr/>
        </p:nvSpPr>
        <p:spPr bwMode="auto">
          <a:xfrm>
            <a:off x="1946275" y="3940175"/>
            <a:ext cx="11001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MS PGothic" charset="-128"/>
              </a:defRPr>
            </a:lvl1pPr>
            <a:lvl2pPr marL="742950" indent="-285750">
              <a:defRPr>
                <a:solidFill>
                  <a:schemeClr val="tx1"/>
                </a:solidFill>
                <a:latin typeface="Arial" charset="0"/>
                <a:ea typeface="MS PGothic" charset="-128"/>
              </a:defRPr>
            </a:lvl2pPr>
            <a:lvl3pPr marL="1143000" indent="-228600">
              <a:defRPr>
                <a:solidFill>
                  <a:schemeClr val="tx1"/>
                </a:solidFill>
                <a:latin typeface="Arial" charset="0"/>
                <a:ea typeface="MS PGothic" charset="-128"/>
              </a:defRPr>
            </a:lvl3pPr>
            <a:lvl4pPr marL="1600200" indent="-228600">
              <a:defRPr>
                <a:solidFill>
                  <a:schemeClr val="tx1"/>
                </a:solidFill>
                <a:latin typeface="Arial" charset="0"/>
                <a:ea typeface="MS PGothic" charset="-128"/>
              </a:defRPr>
            </a:lvl4pPr>
            <a:lvl5pPr marL="2057400" indent="-228600">
              <a:defRPr>
                <a:solidFill>
                  <a:schemeClr val="tx1"/>
                </a:solidFill>
                <a:latin typeface="Arial" charset="0"/>
                <a:ea typeface="MS PGothic" charset="-128"/>
              </a:defRPr>
            </a:lvl5pPr>
            <a:lvl6pPr marL="2514600" indent="-228600" eaLnBrk="0" fontAlgn="base" hangingPunct="0">
              <a:spcBef>
                <a:spcPct val="0"/>
              </a:spcBef>
              <a:spcAft>
                <a:spcPct val="0"/>
              </a:spcAft>
              <a:defRPr>
                <a:solidFill>
                  <a:schemeClr val="tx1"/>
                </a:solidFill>
                <a:latin typeface="Arial" charset="0"/>
                <a:ea typeface="MS PGothic" charset="-128"/>
              </a:defRPr>
            </a:lvl6pPr>
            <a:lvl7pPr marL="2971800" indent="-228600" eaLnBrk="0" fontAlgn="base" hangingPunct="0">
              <a:spcBef>
                <a:spcPct val="0"/>
              </a:spcBef>
              <a:spcAft>
                <a:spcPct val="0"/>
              </a:spcAft>
              <a:defRPr>
                <a:solidFill>
                  <a:schemeClr val="tx1"/>
                </a:solidFill>
                <a:latin typeface="Arial" charset="0"/>
                <a:ea typeface="MS PGothic" charset="-128"/>
              </a:defRPr>
            </a:lvl7pPr>
            <a:lvl8pPr marL="3429000" indent="-228600" eaLnBrk="0" fontAlgn="base" hangingPunct="0">
              <a:spcBef>
                <a:spcPct val="0"/>
              </a:spcBef>
              <a:spcAft>
                <a:spcPct val="0"/>
              </a:spcAft>
              <a:defRPr>
                <a:solidFill>
                  <a:schemeClr val="tx1"/>
                </a:solidFill>
                <a:latin typeface="Arial" charset="0"/>
                <a:ea typeface="MS PGothic" charset="-128"/>
              </a:defRPr>
            </a:lvl8pPr>
            <a:lvl9pPr marL="3886200" indent="-228600" eaLnBrk="0" fontAlgn="base" hangingPunct="0">
              <a:spcBef>
                <a:spcPct val="0"/>
              </a:spcBef>
              <a:spcAft>
                <a:spcPct val="0"/>
              </a:spcAft>
              <a:defRPr>
                <a:solidFill>
                  <a:schemeClr val="tx1"/>
                </a:solidFill>
                <a:latin typeface="Arial" charset="0"/>
                <a:ea typeface="MS PGothic" charset="-128"/>
              </a:defRPr>
            </a:lvl9pPr>
          </a:lstStyle>
          <a:p>
            <a:r>
              <a:rPr lang="it-IT" altLang="it-IT" sz="1600">
                <a:solidFill>
                  <a:srgbClr val="000000"/>
                </a:solidFill>
              </a:rPr>
              <a:t>9 mesi</a:t>
            </a:r>
          </a:p>
        </p:txBody>
      </p:sp>
      <p:sp>
        <p:nvSpPr>
          <p:cNvPr id="14" name="CasellaDiTesto 13"/>
          <p:cNvSpPr txBox="1"/>
          <p:nvPr/>
        </p:nvSpPr>
        <p:spPr>
          <a:xfrm>
            <a:off x="5508104" y="6516327"/>
            <a:ext cx="3111749" cy="338554"/>
          </a:xfrm>
          <a:prstGeom prst="rect">
            <a:avLst/>
          </a:prstGeom>
          <a:noFill/>
        </p:spPr>
        <p:txBody>
          <a:bodyPr wrap="none" rtlCol="0">
            <a:spAutoFit/>
          </a:bodyPr>
          <a:lstStyle/>
          <a:p>
            <a:r>
              <a:rPr lang="it-IT" sz="1600" dirty="0" smtClean="0"/>
              <a:t>Santini D et </a:t>
            </a:r>
            <a:r>
              <a:rPr lang="it-IT" sz="1600" dirty="0" err="1" smtClean="0"/>
              <a:t>al.Unpublished</a:t>
            </a:r>
            <a:r>
              <a:rPr lang="it-IT" sz="1600" dirty="0" smtClean="0"/>
              <a:t> data</a:t>
            </a:r>
            <a:endParaRPr lang="it-IT" sz="1600" dirty="0"/>
          </a:p>
        </p:txBody>
      </p:sp>
    </p:spTree>
    <p:extLst>
      <p:ext uri="{BB962C8B-B14F-4D97-AF65-F5344CB8AC3E}">
        <p14:creationId xmlns:p14="http://schemas.microsoft.com/office/powerpoint/2010/main" val="10491089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5"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strVal val="#ppt_w*0.70"/>
                                          </p:val>
                                        </p:tav>
                                        <p:tav tm="100000">
                                          <p:val>
                                            <p:strVal val="#ppt_w"/>
                                          </p:val>
                                        </p:tav>
                                      </p:tavLst>
                                    </p:anim>
                                    <p:anim calcmode="lin" valueType="num">
                                      <p:cBhvr>
                                        <p:cTn id="8" dur="500" fill="hold"/>
                                        <p:tgtEl>
                                          <p:spTgt spid="4"/>
                                        </p:tgtEl>
                                        <p:attrNameLst>
                                          <p:attrName>ppt_h</p:attrName>
                                        </p:attrNameLst>
                                      </p:cBhvr>
                                      <p:tavLst>
                                        <p:tav tm="0">
                                          <p:val>
                                            <p:strVal val="#ppt_h"/>
                                          </p:val>
                                        </p:tav>
                                        <p:tav tm="100000">
                                          <p:val>
                                            <p:strVal val="#ppt_h"/>
                                          </p:val>
                                        </p:tav>
                                      </p:tavLst>
                                    </p:anim>
                                    <p:animEffect transition="in" filter="fade">
                                      <p:cBhvr>
                                        <p:cTn id="9" dur="500"/>
                                        <p:tgtEl>
                                          <p:spTgt spid="4"/>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strVal val="#ppt_w*0.70"/>
                                          </p:val>
                                        </p:tav>
                                        <p:tav tm="100000">
                                          <p:val>
                                            <p:strVal val="#ppt_w"/>
                                          </p:val>
                                        </p:tav>
                                      </p:tavLst>
                                    </p:anim>
                                    <p:anim calcmode="lin" valueType="num">
                                      <p:cBhvr>
                                        <p:cTn id="13" dur="500" fill="hold"/>
                                        <p:tgtEl>
                                          <p:spTgt spid="9"/>
                                        </p:tgtEl>
                                        <p:attrNameLst>
                                          <p:attrName>ppt_h</p:attrName>
                                        </p:attrNameLst>
                                      </p:cBhvr>
                                      <p:tavLst>
                                        <p:tav tm="0">
                                          <p:val>
                                            <p:strVal val="#ppt_h"/>
                                          </p:val>
                                        </p:tav>
                                        <p:tav tm="100000">
                                          <p:val>
                                            <p:strVal val="#ppt_h"/>
                                          </p:val>
                                        </p:tav>
                                      </p:tavLst>
                                    </p:anim>
                                    <p:animEffect transition="in" filter="fade">
                                      <p:cBhvr>
                                        <p:cTn id="14" dur="500"/>
                                        <p:tgtEl>
                                          <p:spTgt spid="9"/>
                                        </p:tgtEl>
                                      </p:cBhvr>
                                    </p:animEffect>
                                  </p:childTnLst>
                                </p:cTn>
                              </p:par>
                              <p:par>
                                <p:cTn id="15" presetID="55"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strVal val="#ppt_w*0.70"/>
                                          </p:val>
                                        </p:tav>
                                        <p:tav tm="100000">
                                          <p:val>
                                            <p:strVal val="#ppt_w"/>
                                          </p:val>
                                        </p:tav>
                                      </p:tavLst>
                                    </p:anim>
                                    <p:anim calcmode="lin" valueType="num">
                                      <p:cBhvr>
                                        <p:cTn id="18" dur="500" fill="hold"/>
                                        <p:tgtEl>
                                          <p:spTgt spid="10"/>
                                        </p:tgtEl>
                                        <p:attrNameLst>
                                          <p:attrName>ppt_h</p:attrName>
                                        </p:attrNameLst>
                                      </p:cBhvr>
                                      <p:tavLst>
                                        <p:tav tm="0">
                                          <p:val>
                                            <p:strVal val="#ppt_h"/>
                                          </p:val>
                                        </p:tav>
                                        <p:tav tm="100000">
                                          <p:val>
                                            <p:strVal val="#ppt_h"/>
                                          </p:val>
                                        </p:tav>
                                      </p:tavLst>
                                    </p:anim>
                                    <p:animEffect transition="in" filter="fade">
                                      <p:cBhvr>
                                        <p:cTn id="19" dur="500"/>
                                        <p:tgtEl>
                                          <p:spTgt spid="10"/>
                                        </p:tgtEl>
                                      </p:cBhvr>
                                    </p:animEffect>
                                  </p:childTnLst>
                                </p:cTn>
                              </p:par>
                              <p:par>
                                <p:cTn id="20" presetID="55"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strVal val="#ppt_w*0.70"/>
                                          </p:val>
                                        </p:tav>
                                        <p:tav tm="100000">
                                          <p:val>
                                            <p:strVal val="#ppt_w"/>
                                          </p:val>
                                        </p:tav>
                                      </p:tavLst>
                                    </p:anim>
                                    <p:anim calcmode="lin" valueType="num">
                                      <p:cBhvr>
                                        <p:cTn id="23" dur="500" fill="hold"/>
                                        <p:tgtEl>
                                          <p:spTgt spid="11"/>
                                        </p:tgtEl>
                                        <p:attrNameLst>
                                          <p:attrName>ppt_h</p:attrName>
                                        </p:attrNameLst>
                                      </p:cBhvr>
                                      <p:tavLst>
                                        <p:tav tm="0">
                                          <p:val>
                                            <p:strVal val="#ppt_h"/>
                                          </p:val>
                                        </p:tav>
                                        <p:tav tm="100000">
                                          <p:val>
                                            <p:strVal val="#ppt_h"/>
                                          </p:val>
                                        </p:tav>
                                      </p:tavLst>
                                    </p:anim>
                                    <p:animEffect transition="in" filter="fade">
                                      <p:cBhvr>
                                        <p:cTn id="24" dur="500"/>
                                        <p:tgtEl>
                                          <p:spTgt spid="11"/>
                                        </p:tgtEl>
                                      </p:cBhvr>
                                    </p:animEffect>
                                  </p:childTnLst>
                                </p:cTn>
                              </p:par>
                              <p:par>
                                <p:cTn id="25" presetID="55"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500" fill="hold"/>
                                        <p:tgtEl>
                                          <p:spTgt spid="12"/>
                                        </p:tgtEl>
                                        <p:attrNameLst>
                                          <p:attrName>ppt_w</p:attrName>
                                        </p:attrNameLst>
                                      </p:cBhvr>
                                      <p:tavLst>
                                        <p:tav tm="0">
                                          <p:val>
                                            <p:strVal val="#ppt_w*0.70"/>
                                          </p:val>
                                        </p:tav>
                                        <p:tav tm="100000">
                                          <p:val>
                                            <p:strVal val="#ppt_w"/>
                                          </p:val>
                                        </p:tav>
                                      </p:tavLst>
                                    </p:anim>
                                    <p:anim calcmode="lin" valueType="num">
                                      <p:cBhvr>
                                        <p:cTn id="28" dur="500" fill="hold"/>
                                        <p:tgtEl>
                                          <p:spTgt spid="12"/>
                                        </p:tgtEl>
                                        <p:attrNameLst>
                                          <p:attrName>ppt_h</p:attrName>
                                        </p:attrNameLst>
                                      </p:cBhvr>
                                      <p:tavLst>
                                        <p:tav tm="0">
                                          <p:val>
                                            <p:strVal val="#ppt_h"/>
                                          </p:val>
                                        </p:tav>
                                        <p:tav tm="100000">
                                          <p:val>
                                            <p:strVal val="#ppt_h"/>
                                          </p:val>
                                        </p:tav>
                                      </p:tavLst>
                                    </p:anim>
                                    <p:animEffect transition="in" filter="fade">
                                      <p:cBhvr>
                                        <p:cTn id="2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P spid="10" grpId="0"/>
      <p:bldP spid="11" grpId="0"/>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p:cNvSpPr txBox="1"/>
          <p:nvPr/>
        </p:nvSpPr>
        <p:spPr>
          <a:xfrm>
            <a:off x="1" y="0"/>
            <a:ext cx="9036496" cy="830997"/>
          </a:xfrm>
          <a:prstGeom prst="rect">
            <a:avLst/>
          </a:prstGeom>
          <a:noFill/>
        </p:spPr>
        <p:txBody>
          <a:bodyPr wrap="square" rtlCol="0">
            <a:spAutoFit/>
          </a:bodyPr>
          <a:lstStyle/>
          <a:p>
            <a:pPr algn="ctr"/>
            <a:r>
              <a:rPr lang="it-IT" sz="2400" b="1" dirty="0" smtClean="0"/>
              <a:t>CXCR4 </a:t>
            </a:r>
            <a:r>
              <a:rPr lang="it-IT" sz="2400" b="1" dirty="0" err="1" smtClean="0"/>
              <a:t>pharmacological</a:t>
            </a:r>
            <a:r>
              <a:rPr lang="it-IT" sz="2400" b="1" dirty="0" smtClean="0"/>
              <a:t> </a:t>
            </a:r>
            <a:r>
              <a:rPr lang="it-IT" sz="2400" b="1" dirty="0" err="1" smtClean="0"/>
              <a:t>Inhibition</a:t>
            </a:r>
            <a:r>
              <a:rPr lang="it-IT" sz="2400" b="1" dirty="0" smtClean="0"/>
              <a:t> </a:t>
            </a:r>
            <a:r>
              <a:rPr lang="it-IT" sz="2400" b="1" dirty="0" err="1" smtClean="0"/>
              <a:t>Reduces</a:t>
            </a:r>
            <a:r>
              <a:rPr lang="it-IT" sz="2400" b="1" dirty="0" smtClean="0"/>
              <a:t> </a:t>
            </a:r>
          </a:p>
          <a:p>
            <a:pPr algn="ctr"/>
            <a:r>
              <a:rPr lang="it-IT" sz="2400" b="1" dirty="0" err="1" smtClean="0"/>
              <a:t>Bone</a:t>
            </a:r>
            <a:r>
              <a:rPr lang="it-IT" sz="2400" b="1" dirty="0" smtClean="0"/>
              <a:t> </a:t>
            </a:r>
            <a:r>
              <a:rPr lang="it-IT" sz="2400" b="1" dirty="0" err="1" smtClean="0"/>
              <a:t>Metastatic</a:t>
            </a:r>
            <a:r>
              <a:rPr lang="it-IT" sz="2400" b="1" dirty="0" smtClean="0"/>
              <a:t> </a:t>
            </a:r>
            <a:r>
              <a:rPr lang="it-IT" sz="2400" b="1" dirty="0" err="1" smtClean="0"/>
              <a:t>Burden</a:t>
            </a:r>
            <a:r>
              <a:rPr lang="it-IT" sz="2400" b="1" dirty="0" smtClean="0"/>
              <a:t> </a:t>
            </a:r>
            <a:endParaRPr lang="it-IT" sz="2400" b="1" dirty="0"/>
          </a:p>
        </p:txBody>
      </p:sp>
      <p:pic>
        <p:nvPicPr>
          <p:cNvPr id="6147" name="Picture 3"/>
          <p:cNvPicPr>
            <a:picLocks noChangeAspect="1" noChangeArrowheads="1"/>
          </p:cNvPicPr>
          <p:nvPr/>
        </p:nvPicPr>
        <p:blipFill>
          <a:blip r:embed="rId2" cstate="print"/>
          <a:srcRect/>
          <a:stretch>
            <a:fillRect/>
          </a:stretch>
        </p:blipFill>
        <p:spPr bwMode="auto">
          <a:xfrm>
            <a:off x="5983246" y="6453336"/>
            <a:ext cx="3160754" cy="404664"/>
          </a:xfrm>
          <a:prstGeom prst="rect">
            <a:avLst/>
          </a:prstGeom>
          <a:noFill/>
          <a:ln w="9525">
            <a:noFill/>
            <a:miter lim="800000"/>
            <a:headEnd/>
            <a:tailEnd/>
          </a:ln>
        </p:spPr>
      </p:pic>
      <p:grpSp>
        <p:nvGrpSpPr>
          <p:cNvPr id="14" name="Gruppo 13"/>
          <p:cNvGrpSpPr/>
          <p:nvPr/>
        </p:nvGrpSpPr>
        <p:grpSpPr>
          <a:xfrm>
            <a:off x="0" y="1052736"/>
            <a:ext cx="9144000" cy="2963887"/>
            <a:chOff x="0" y="1052736"/>
            <a:chExt cx="9144000" cy="2963887"/>
          </a:xfrm>
        </p:grpSpPr>
        <p:pic>
          <p:nvPicPr>
            <p:cNvPr id="6149" name="Picture 5"/>
            <p:cNvPicPr>
              <a:picLocks noChangeAspect="1" noChangeArrowheads="1"/>
            </p:cNvPicPr>
            <p:nvPr/>
          </p:nvPicPr>
          <p:blipFill>
            <a:blip r:embed="rId3" cstate="print"/>
            <a:srcRect/>
            <a:stretch>
              <a:fillRect/>
            </a:stretch>
          </p:blipFill>
          <p:spPr bwMode="auto">
            <a:xfrm>
              <a:off x="5010952" y="1196752"/>
              <a:ext cx="4133048" cy="2819871"/>
            </a:xfrm>
            <a:prstGeom prst="rect">
              <a:avLst/>
            </a:prstGeom>
            <a:noFill/>
            <a:ln w="9525">
              <a:noFill/>
              <a:miter lim="800000"/>
              <a:headEnd/>
              <a:tailEnd/>
            </a:ln>
          </p:spPr>
        </p:pic>
        <p:pic>
          <p:nvPicPr>
            <p:cNvPr id="6150" name="Picture 6"/>
            <p:cNvPicPr>
              <a:picLocks noChangeAspect="1" noChangeArrowheads="1"/>
            </p:cNvPicPr>
            <p:nvPr/>
          </p:nvPicPr>
          <p:blipFill>
            <a:blip r:embed="rId4" cstate="print"/>
            <a:srcRect/>
            <a:stretch>
              <a:fillRect/>
            </a:stretch>
          </p:blipFill>
          <p:spPr bwMode="auto">
            <a:xfrm>
              <a:off x="0" y="1052736"/>
              <a:ext cx="5508104" cy="2813208"/>
            </a:xfrm>
            <a:prstGeom prst="rect">
              <a:avLst/>
            </a:prstGeom>
            <a:noFill/>
            <a:ln w="9525">
              <a:noFill/>
              <a:miter lim="800000"/>
              <a:headEnd/>
              <a:tailEnd/>
            </a:ln>
          </p:spPr>
        </p:pic>
      </p:grpSp>
      <p:sp>
        <p:nvSpPr>
          <p:cNvPr id="12" name="CasellaDiTesto 11"/>
          <p:cNvSpPr txBox="1"/>
          <p:nvPr/>
        </p:nvSpPr>
        <p:spPr>
          <a:xfrm>
            <a:off x="1115616" y="1340768"/>
            <a:ext cx="2590133" cy="369332"/>
          </a:xfrm>
          <a:prstGeom prst="rect">
            <a:avLst/>
          </a:prstGeom>
          <a:solidFill>
            <a:schemeClr val="bg1"/>
          </a:solidFill>
        </p:spPr>
        <p:txBody>
          <a:bodyPr wrap="none" rtlCol="0">
            <a:spAutoFit/>
          </a:bodyPr>
          <a:lstStyle/>
          <a:p>
            <a:r>
              <a:rPr lang="it-IT" dirty="0" err="1" smtClean="0">
                <a:solidFill>
                  <a:srgbClr val="0070C0"/>
                </a:solidFill>
              </a:rPr>
              <a:t>Intraventricular</a:t>
            </a:r>
            <a:r>
              <a:rPr lang="it-IT" dirty="0" smtClean="0">
                <a:solidFill>
                  <a:srgbClr val="0070C0"/>
                </a:solidFill>
              </a:rPr>
              <a:t> </a:t>
            </a:r>
            <a:r>
              <a:rPr lang="it-IT" dirty="0" err="1" smtClean="0">
                <a:solidFill>
                  <a:srgbClr val="0070C0"/>
                </a:solidFill>
              </a:rPr>
              <a:t>injection</a:t>
            </a:r>
            <a:endParaRPr lang="it-IT" dirty="0">
              <a:solidFill>
                <a:srgbClr val="0070C0"/>
              </a:solidFill>
            </a:endParaRPr>
          </a:p>
        </p:txBody>
      </p:sp>
      <p:grpSp>
        <p:nvGrpSpPr>
          <p:cNvPr id="15" name="Gruppo 14"/>
          <p:cNvGrpSpPr/>
          <p:nvPr/>
        </p:nvGrpSpPr>
        <p:grpSpPr>
          <a:xfrm>
            <a:off x="251520" y="4149080"/>
            <a:ext cx="6912768" cy="2708920"/>
            <a:chOff x="251520" y="4149080"/>
            <a:chExt cx="6912768" cy="2708920"/>
          </a:xfrm>
        </p:grpSpPr>
        <p:pic>
          <p:nvPicPr>
            <p:cNvPr id="6151" name="Picture 7"/>
            <p:cNvPicPr>
              <a:picLocks noChangeAspect="1" noChangeArrowheads="1"/>
            </p:cNvPicPr>
            <p:nvPr/>
          </p:nvPicPr>
          <p:blipFill>
            <a:blip r:embed="rId5" cstate="print"/>
            <a:srcRect/>
            <a:stretch>
              <a:fillRect/>
            </a:stretch>
          </p:blipFill>
          <p:spPr bwMode="auto">
            <a:xfrm>
              <a:off x="251520" y="4509120"/>
              <a:ext cx="3486522" cy="2348880"/>
            </a:xfrm>
            <a:prstGeom prst="rect">
              <a:avLst/>
            </a:prstGeom>
            <a:noFill/>
            <a:ln w="9525">
              <a:noFill/>
              <a:miter lim="800000"/>
              <a:headEnd/>
              <a:tailEnd/>
            </a:ln>
          </p:spPr>
        </p:pic>
        <p:pic>
          <p:nvPicPr>
            <p:cNvPr id="6152" name="Picture 8"/>
            <p:cNvPicPr>
              <a:picLocks noChangeAspect="1" noChangeArrowheads="1"/>
            </p:cNvPicPr>
            <p:nvPr/>
          </p:nvPicPr>
          <p:blipFill>
            <a:blip r:embed="rId6" cstate="print"/>
            <a:srcRect/>
            <a:stretch>
              <a:fillRect/>
            </a:stretch>
          </p:blipFill>
          <p:spPr bwMode="auto">
            <a:xfrm>
              <a:off x="3635896" y="4293096"/>
              <a:ext cx="3528392" cy="2229944"/>
            </a:xfrm>
            <a:prstGeom prst="rect">
              <a:avLst/>
            </a:prstGeom>
            <a:noFill/>
            <a:ln w="9525">
              <a:noFill/>
              <a:miter lim="800000"/>
              <a:headEnd/>
              <a:tailEnd/>
            </a:ln>
          </p:spPr>
        </p:pic>
        <p:sp>
          <p:nvSpPr>
            <p:cNvPr id="13" name="CasellaDiTesto 12"/>
            <p:cNvSpPr txBox="1"/>
            <p:nvPr/>
          </p:nvSpPr>
          <p:spPr>
            <a:xfrm>
              <a:off x="611560" y="4149080"/>
              <a:ext cx="3078728" cy="369332"/>
            </a:xfrm>
            <a:prstGeom prst="rect">
              <a:avLst/>
            </a:prstGeom>
            <a:noFill/>
          </p:spPr>
          <p:txBody>
            <a:bodyPr wrap="none" rtlCol="0">
              <a:spAutoFit/>
            </a:bodyPr>
            <a:lstStyle/>
            <a:p>
              <a:r>
                <a:rPr lang="it-IT" dirty="0" err="1" smtClean="0">
                  <a:solidFill>
                    <a:srgbClr val="0070C0"/>
                  </a:solidFill>
                </a:rPr>
                <a:t>Intratibial</a:t>
              </a:r>
              <a:r>
                <a:rPr lang="it-IT" dirty="0" smtClean="0">
                  <a:solidFill>
                    <a:srgbClr val="0070C0"/>
                  </a:solidFill>
                </a:rPr>
                <a:t> </a:t>
              </a:r>
              <a:r>
                <a:rPr lang="it-IT" dirty="0" err="1" smtClean="0">
                  <a:solidFill>
                    <a:srgbClr val="0070C0"/>
                  </a:solidFill>
                </a:rPr>
                <a:t>injection</a:t>
              </a:r>
              <a:r>
                <a:rPr lang="it-IT" dirty="0" smtClean="0">
                  <a:solidFill>
                    <a:srgbClr val="0070C0"/>
                  </a:solidFill>
                </a:rPr>
                <a:t> </a:t>
              </a:r>
              <a:r>
                <a:rPr lang="it-IT" dirty="0" err="1" smtClean="0">
                  <a:solidFill>
                    <a:srgbClr val="0070C0"/>
                  </a:solidFill>
                </a:rPr>
                <a:t>of</a:t>
              </a:r>
              <a:r>
                <a:rPr lang="it-IT" dirty="0" smtClean="0">
                  <a:solidFill>
                    <a:srgbClr val="0070C0"/>
                  </a:solidFill>
                </a:rPr>
                <a:t> PC3 </a:t>
              </a:r>
              <a:r>
                <a:rPr lang="it-IT" dirty="0" err="1" smtClean="0">
                  <a:solidFill>
                    <a:srgbClr val="0070C0"/>
                  </a:solidFill>
                </a:rPr>
                <a:t>cells</a:t>
              </a:r>
              <a:endParaRPr lang="it-IT" dirty="0">
                <a:solidFill>
                  <a:srgbClr val="0070C0"/>
                </a:solidFill>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Autofit/>
          </a:bodyPr>
          <a:lstStyle/>
          <a:p>
            <a:r>
              <a:rPr lang="it-IT" sz="2800" dirty="0" smtClean="0">
                <a:latin typeface="Arial" panose="020B0604020202020204" pitchFamily="34" charset="0"/>
                <a:cs typeface="Arial" panose="020B0604020202020204" pitchFamily="34" charset="0"/>
              </a:rPr>
              <a:t>4. </a:t>
            </a:r>
            <a:r>
              <a:rPr lang="it-IT" sz="2800" dirty="0" err="1" smtClean="0">
                <a:latin typeface="Arial" panose="020B0604020202020204" pitchFamily="34" charset="0"/>
                <a:cs typeface="Arial" panose="020B0604020202020204" pitchFamily="34" charset="0"/>
              </a:rPr>
              <a:t>Role</a:t>
            </a:r>
            <a:r>
              <a:rPr lang="it-IT" sz="2800" dirty="0" smtClean="0">
                <a:latin typeface="Arial" panose="020B0604020202020204" pitchFamily="34" charset="0"/>
                <a:cs typeface="Arial" panose="020B0604020202020204" pitchFamily="34" charset="0"/>
              </a:rPr>
              <a:t> of bone </a:t>
            </a:r>
            <a:r>
              <a:rPr lang="it-IT" sz="2800" dirty="0" err="1" smtClean="0">
                <a:latin typeface="Arial" panose="020B0604020202020204" pitchFamily="34" charset="0"/>
                <a:cs typeface="Arial" panose="020B0604020202020204" pitchFamily="34" charset="0"/>
              </a:rPr>
              <a:t>microenvironment</a:t>
            </a:r>
            <a:r>
              <a:rPr lang="it-IT" sz="2800" dirty="0" smtClean="0">
                <a:latin typeface="Arial" panose="020B0604020202020204" pitchFamily="34" charset="0"/>
                <a:cs typeface="Arial" panose="020B0604020202020204" pitchFamily="34" charset="0"/>
              </a:rPr>
              <a:t> bone </a:t>
            </a:r>
            <a:r>
              <a:rPr lang="it-IT" sz="2800" dirty="0" err="1" smtClean="0">
                <a:latin typeface="Arial" panose="020B0604020202020204" pitchFamily="34" charset="0"/>
                <a:cs typeface="Arial" panose="020B0604020202020204" pitchFamily="34" charset="0"/>
              </a:rPr>
              <a:t>cells</a:t>
            </a:r>
            <a:endParaRPr lang="it-IT"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148694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ext Box 96"/>
          <p:cNvSpPr txBox="1">
            <a:spLocks noChangeArrowheads="1"/>
          </p:cNvSpPr>
          <p:nvPr/>
        </p:nvSpPr>
        <p:spPr bwMode="auto">
          <a:xfrm>
            <a:off x="3892550" y="4808538"/>
            <a:ext cx="703263" cy="954087"/>
          </a:xfrm>
          <a:prstGeom prst="rect">
            <a:avLst/>
          </a:prstGeom>
          <a:noFill/>
          <a:ln w="9525">
            <a:noFill/>
            <a:miter lim="800000"/>
            <a:headEnd/>
            <a:tailEnd/>
          </a:ln>
        </p:spPr>
        <p:txBody>
          <a:bodyPr wrap="none">
            <a:spAutoFit/>
          </a:bodyPr>
          <a:lstStyle/>
          <a:p>
            <a:pPr eaLnBrk="0" hangingPunct="0"/>
            <a:r>
              <a:rPr lang="it-IT" sz="1400">
                <a:solidFill>
                  <a:schemeClr val="tx2"/>
                </a:solidFill>
                <a:cs typeface="Arial" charset="0"/>
              </a:rPr>
              <a:t>TGF-</a:t>
            </a:r>
            <a:r>
              <a:rPr lang="el-GR" sz="1400">
                <a:solidFill>
                  <a:schemeClr val="tx2"/>
                </a:solidFill>
                <a:cs typeface="Arial" charset="0"/>
              </a:rPr>
              <a:t>β</a:t>
            </a:r>
            <a:endParaRPr lang="it-IT" sz="1400">
              <a:solidFill>
                <a:schemeClr val="tx2"/>
              </a:solidFill>
              <a:cs typeface="Arial" charset="0"/>
            </a:endParaRPr>
          </a:p>
          <a:p>
            <a:pPr eaLnBrk="0" hangingPunct="0"/>
            <a:r>
              <a:rPr lang="it-IT" sz="1400">
                <a:solidFill>
                  <a:schemeClr val="tx2"/>
                </a:solidFill>
                <a:cs typeface="Arial" charset="0"/>
              </a:rPr>
              <a:t>BMPs</a:t>
            </a:r>
          </a:p>
          <a:p>
            <a:pPr eaLnBrk="0" hangingPunct="0"/>
            <a:r>
              <a:rPr lang="it-IT" sz="1400">
                <a:solidFill>
                  <a:schemeClr val="tx2"/>
                </a:solidFill>
                <a:cs typeface="Arial" charset="0"/>
              </a:rPr>
              <a:t>OPN</a:t>
            </a:r>
          </a:p>
          <a:p>
            <a:pPr eaLnBrk="0" hangingPunct="0"/>
            <a:r>
              <a:rPr lang="it-IT" sz="1400">
                <a:solidFill>
                  <a:schemeClr val="tx2"/>
                </a:solidFill>
                <a:cs typeface="Arial" charset="0"/>
              </a:rPr>
              <a:t>BSP</a:t>
            </a:r>
          </a:p>
        </p:txBody>
      </p:sp>
      <p:sp>
        <p:nvSpPr>
          <p:cNvPr id="19458" name="Rectangle 222"/>
          <p:cNvSpPr>
            <a:spLocks noGrp="1" noChangeArrowheads="1"/>
          </p:cNvSpPr>
          <p:nvPr>
            <p:ph type="title" idx="4294967295"/>
          </p:nvPr>
        </p:nvSpPr>
        <p:spPr>
          <a:xfrm>
            <a:off x="0" y="-152400"/>
            <a:ext cx="9144000" cy="1109663"/>
          </a:xfrm>
        </p:spPr>
        <p:txBody>
          <a:bodyPr>
            <a:normAutofit/>
          </a:bodyPr>
          <a:lstStyle/>
          <a:p>
            <a:pPr>
              <a:lnSpc>
                <a:spcPts val="3000"/>
              </a:lnSpc>
            </a:pPr>
            <a:r>
              <a:rPr lang="it-IT" sz="2500" b="1" dirty="0" err="1" smtClean="0">
                <a:solidFill>
                  <a:schemeClr val="accent2"/>
                </a:solidFill>
              </a:rPr>
              <a:t>Interactions</a:t>
            </a:r>
            <a:r>
              <a:rPr lang="it-IT" sz="2500" b="1" dirty="0" smtClean="0">
                <a:solidFill>
                  <a:schemeClr val="accent2"/>
                </a:solidFill>
              </a:rPr>
              <a:t> </a:t>
            </a:r>
            <a:r>
              <a:rPr lang="it-IT" sz="2500" b="1" dirty="0" err="1" smtClean="0">
                <a:solidFill>
                  <a:schemeClr val="accent2"/>
                </a:solidFill>
              </a:rPr>
              <a:t>between</a:t>
            </a:r>
            <a:r>
              <a:rPr lang="it-IT" sz="2500" b="1" dirty="0" smtClean="0">
                <a:solidFill>
                  <a:schemeClr val="accent2"/>
                </a:solidFill>
              </a:rPr>
              <a:t> </a:t>
            </a:r>
            <a:r>
              <a:rPr lang="it-IT" sz="2500" b="1" dirty="0" err="1" smtClean="0">
                <a:solidFill>
                  <a:schemeClr val="accent2"/>
                </a:solidFill>
              </a:rPr>
              <a:t>cancer</a:t>
            </a:r>
            <a:r>
              <a:rPr lang="it-IT" sz="2500" b="1" dirty="0" smtClean="0">
                <a:solidFill>
                  <a:schemeClr val="accent2"/>
                </a:solidFill>
              </a:rPr>
              <a:t> </a:t>
            </a:r>
            <a:r>
              <a:rPr lang="it-IT" sz="2500" b="1" dirty="0" err="1" smtClean="0">
                <a:solidFill>
                  <a:schemeClr val="accent2"/>
                </a:solidFill>
              </a:rPr>
              <a:t>cells</a:t>
            </a:r>
            <a:r>
              <a:rPr lang="it-IT" sz="2500" b="1" dirty="0" smtClean="0">
                <a:solidFill>
                  <a:schemeClr val="accent2"/>
                </a:solidFill>
              </a:rPr>
              <a:t> and bone </a:t>
            </a:r>
            <a:r>
              <a:rPr lang="it-IT" sz="2500" b="1" dirty="0" err="1" smtClean="0">
                <a:solidFill>
                  <a:schemeClr val="accent2"/>
                </a:solidFill>
              </a:rPr>
              <a:t>microenvironment</a:t>
            </a:r>
            <a:r>
              <a:rPr lang="it-IT" sz="2500" b="1" dirty="0" smtClean="0">
                <a:solidFill>
                  <a:schemeClr val="accent2"/>
                </a:solidFill>
              </a:rPr>
              <a:t> </a:t>
            </a:r>
            <a:r>
              <a:rPr lang="it-IT" sz="2500" b="1" dirty="0" err="1" smtClean="0">
                <a:solidFill>
                  <a:schemeClr val="accent2"/>
                </a:solidFill>
              </a:rPr>
              <a:t>cells</a:t>
            </a:r>
            <a:r>
              <a:rPr lang="it-IT" sz="2500" b="1" dirty="0" smtClean="0">
                <a:solidFill>
                  <a:schemeClr val="accent2"/>
                </a:solidFill>
              </a:rPr>
              <a:t> </a:t>
            </a:r>
            <a:endParaRPr lang="en-US" sz="2500" b="1" dirty="0" smtClean="0">
              <a:solidFill>
                <a:schemeClr val="accent2"/>
              </a:solidFill>
            </a:endParaRPr>
          </a:p>
        </p:txBody>
      </p:sp>
      <p:sp>
        <p:nvSpPr>
          <p:cNvPr id="19459" name="Oval 7"/>
          <p:cNvSpPr>
            <a:spLocks noChangeArrowheads="1"/>
          </p:cNvSpPr>
          <p:nvPr/>
        </p:nvSpPr>
        <p:spPr bwMode="auto">
          <a:xfrm>
            <a:off x="1379538"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0" name="Oval 8"/>
          <p:cNvSpPr>
            <a:spLocks noChangeArrowheads="1"/>
          </p:cNvSpPr>
          <p:nvPr/>
        </p:nvSpPr>
        <p:spPr bwMode="auto">
          <a:xfrm>
            <a:off x="1989138"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1" name="Oval 9"/>
          <p:cNvSpPr>
            <a:spLocks noChangeArrowheads="1"/>
          </p:cNvSpPr>
          <p:nvPr/>
        </p:nvSpPr>
        <p:spPr bwMode="auto">
          <a:xfrm>
            <a:off x="2598738"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2" name="Oval 10"/>
          <p:cNvSpPr>
            <a:spLocks noChangeArrowheads="1"/>
          </p:cNvSpPr>
          <p:nvPr/>
        </p:nvSpPr>
        <p:spPr bwMode="auto">
          <a:xfrm>
            <a:off x="3208338"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3" name="Oval 11"/>
          <p:cNvSpPr>
            <a:spLocks noChangeArrowheads="1"/>
          </p:cNvSpPr>
          <p:nvPr/>
        </p:nvSpPr>
        <p:spPr bwMode="auto">
          <a:xfrm>
            <a:off x="3749675"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4" name="Oval 12"/>
          <p:cNvSpPr>
            <a:spLocks noChangeArrowheads="1"/>
          </p:cNvSpPr>
          <p:nvPr/>
        </p:nvSpPr>
        <p:spPr bwMode="auto">
          <a:xfrm>
            <a:off x="4359275"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5" name="Oval 13"/>
          <p:cNvSpPr>
            <a:spLocks noChangeArrowheads="1"/>
          </p:cNvSpPr>
          <p:nvPr/>
        </p:nvSpPr>
        <p:spPr bwMode="auto">
          <a:xfrm>
            <a:off x="4968875"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6" name="Oval 14"/>
          <p:cNvSpPr>
            <a:spLocks noChangeArrowheads="1"/>
          </p:cNvSpPr>
          <p:nvPr/>
        </p:nvSpPr>
        <p:spPr bwMode="auto">
          <a:xfrm>
            <a:off x="5578475"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7" name="Oval 15"/>
          <p:cNvSpPr>
            <a:spLocks noChangeArrowheads="1"/>
          </p:cNvSpPr>
          <p:nvPr/>
        </p:nvSpPr>
        <p:spPr bwMode="auto">
          <a:xfrm>
            <a:off x="6188075"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8" name="Oval 16"/>
          <p:cNvSpPr>
            <a:spLocks noChangeArrowheads="1"/>
          </p:cNvSpPr>
          <p:nvPr/>
        </p:nvSpPr>
        <p:spPr bwMode="auto">
          <a:xfrm>
            <a:off x="6797675" y="2249488"/>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69" name="Oval 17"/>
          <p:cNvSpPr>
            <a:spLocks noChangeArrowheads="1"/>
          </p:cNvSpPr>
          <p:nvPr/>
        </p:nvSpPr>
        <p:spPr bwMode="auto">
          <a:xfrm>
            <a:off x="1379538" y="2660650"/>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0" name="Oval 18"/>
          <p:cNvSpPr>
            <a:spLocks noChangeArrowheads="1"/>
          </p:cNvSpPr>
          <p:nvPr/>
        </p:nvSpPr>
        <p:spPr bwMode="auto">
          <a:xfrm>
            <a:off x="1989138" y="2660650"/>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1" name="Oval 19"/>
          <p:cNvSpPr>
            <a:spLocks noChangeArrowheads="1"/>
          </p:cNvSpPr>
          <p:nvPr/>
        </p:nvSpPr>
        <p:spPr bwMode="auto">
          <a:xfrm>
            <a:off x="2598738" y="2660650"/>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2" name="Oval 20"/>
          <p:cNvSpPr>
            <a:spLocks noChangeArrowheads="1"/>
          </p:cNvSpPr>
          <p:nvPr/>
        </p:nvSpPr>
        <p:spPr bwMode="auto">
          <a:xfrm>
            <a:off x="3208338" y="2660650"/>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3" name="Oval 21"/>
          <p:cNvSpPr>
            <a:spLocks noChangeArrowheads="1"/>
          </p:cNvSpPr>
          <p:nvPr/>
        </p:nvSpPr>
        <p:spPr bwMode="auto">
          <a:xfrm>
            <a:off x="4359275" y="3617913"/>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4" name="Oval 22"/>
          <p:cNvSpPr>
            <a:spLocks noChangeArrowheads="1"/>
          </p:cNvSpPr>
          <p:nvPr/>
        </p:nvSpPr>
        <p:spPr bwMode="auto">
          <a:xfrm rot="-3031917">
            <a:off x="4863307" y="3350418"/>
            <a:ext cx="685800" cy="68263"/>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5" name="Oval 23"/>
          <p:cNvSpPr>
            <a:spLocks noChangeArrowheads="1"/>
          </p:cNvSpPr>
          <p:nvPr/>
        </p:nvSpPr>
        <p:spPr bwMode="auto">
          <a:xfrm rot="-3028878">
            <a:off x="5133976" y="2894012"/>
            <a:ext cx="685800" cy="66675"/>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6" name="Oval 24"/>
          <p:cNvSpPr>
            <a:spLocks noChangeArrowheads="1"/>
          </p:cNvSpPr>
          <p:nvPr/>
        </p:nvSpPr>
        <p:spPr bwMode="auto">
          <a:xfrm>
            <a:off x="5578475" y="2660650"/>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7" name="Oval 25"/>
          <p:cNvSpPr>
            <a:spLocks noChangeArrowheads="1"/>
          </p:cNvSpPr>
          <p:nvPr/>
        </p:nvSpPr>
        <p:spPr bwMode="auto">
          <a:xfrm>
            <a:off x="6188075" y="2660650"/>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8" name="Oval 26"/>
          <p:cNvSpPr>
            <a:spLocks noChangeArrowheads="1"/>
          </p:cNvSpPr>
          <p:nvPr/>
        </p:nvSpPr>
        <p:spPr bwMode="auto">
          <a:xfrm>
            <a:off x="6797675" y="2660650"/>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79" name="Oval 27"/>
          <p:cNvSpPr>
            <a:spLocks noChangeArrowheads="1"/>
          </p:cNvSpPr>
          <p:nvPr/>
        </p:nvSpPr>
        <p:spPr bwMode="auto">
          <a:xfrm rot="4229297">
            <a:off x="3575844" y="3045619"/>
            <a:ext cx="685800" cy="68262"/>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80" name="Oval 28"/>
          <p:cNvSpPr>
            <a:spLocks noChangeArrowheads="1"/>
          </p:cNvSpPr>
          <p:nvPr/>
        </p:nvSpPr>
        <p:spPr bwMode="auto">
          <a:xfrm>
            <a:off x="4765675" y="3651250"/>
            <a:ext cx="338138"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481" name="Oval 29"/>
          <p:cNvSpPr>
            <a:spLocks noChangeArrowheads="1"/>
          </p:cNvSpPr>
          <p:nvPr/>
        </p:nvSpPr>
        <p:spPr bwMode="auto">
          <a:xfrm rot="1724289">
            <a:off x="3952875" y="3498850"/>
            <a:ext cx="609600" cy="76200"/>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grpSp>
        <p:nvGrpSpPr>
          <p:cNvPr id="19482" name="Group 81"/>
          <p:cNvGrpSpPr>
            <a:grpSpLocks/>
          </p:cNvGrpSpPr>
          <p:nvPr/>
        </p:nvGrpSpPr>
        <p:grpSpPr bwMode="auto">
          <a:xfrm>
            <a:off x="2327275" y="4259263"/>
            <a:ext cx="677863" cy="457200"/>
            <a:chOff x="912" y="2832"/>
            <a:chExt cx="480" cy="288"/>
          </a:xfrm>
        </p:grpSpPr>
        <p:sp>
          <p:nvSpPr>
            <p:cNvPr id="19689" name="Oval 82"/>
            <p:cNvSpPr>
              <a:spLocks noChangeArrowheads="1"/>
            </p:cNvSpPr>
            <p:nvPr/>
          </p:nvSpPr>
          <p:spPr bwMode="auto">
            <a:xfrm>
              <a:off x="912" y="2832"/>
              <a:ext cx="480" cy="288"/>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690" name="Oval 83"/>
            <p:cNvSpPr>
              <a:spLocks noChangeArrowheads="1"/>
            </p:cNvSpPr>
            <p:nvPr/>
          </p:nvSpPr>
          <p:spPr bwMode="auto">
            <a:xfrm>
              <a:off x="1056" y="2976"/>
              <a:ext cx="96" cy="48"/>
            </a:xfrm>
            <a:prstGeom prst="ellipse">
              <a:avLst/>
            </a:prstGeom>
            <a:solidFill>
              <a:schemeClr val="bg2"/>
            </a:solidFill>
            <a:ln w="9525">
              <a:solidFill>
                <a:schemeClr val="tx1"/>
              </a:solidFill>
              <a:round/>
              <a:headEnd/>
              <a:tailEnd/>
            </a:ln>
          </p:spPr>
          <p:txBody>
            <a:bodyPr wrap="none" anchor="ctr"/>
            <a:lstStyle/>
            <a:p>
              <a:endParaRPr lang="it-IT" sz="1200">
                <a:cs typeface="Arial" charset="0"/>
              </a:endParaRPr>
            </a:p>
          </p:txBody>
        </p:sp>
      </p:grpSp>
      <p:grpSp>
        <p:nvGrpSpPr>
          <p:cNvPr id="19483" name="Group 90"/>
          <p:cNvGrpSpPr>
            <a:grpSpLocks/>
          </p:cNvGrpSpPr>
          <p:nvPr/>
        </p:nvGrpSpPr>
        <p:grpSpPr bwMode="auto">
          <a:xfrm>
            <a:off x="6323013" y="4183063"/>
            <a:ext cx="677862" cy="457200"/>
            <a:chOff x="912" y="2832"/>
            <a:chExt cx="480" cy="288"/>
          </a:xfrm>
        </p:grpSpPr>
        <p:sp>
          <p:nvSpPr>
            <p:cNvPr id="19687" name="Oval 91"/>
            <p:cNvSpPr>
              <a:spLocks noChangeArrowheads="1"/>
            </p:cNvSpPr>
            <p:nvPr/>
          </p:nvSpPr>
          <p:spPr bwMode="auto">
            <a:xfrm>
              <a:off x="912" y="2832"/>
              <a:ext cx="480" cy="288"/>
            </a:xfrm>
            <a:prstGeom prst="ellipse">
              <a:avLst/>
            </a:prstGeom>
            <a:solidFill>
              <a:schemeClr val="accent1"/>
            </a:solidFill>
            <a:ln w="9525">
              <a:solidFill>
                <a:schemeClr val="tx1"/>
              </a:solidFill>
              <a:round/>
              <a:headEnd/>
              <a:tailEnd/>
            </a:ln>
          </p:spPr>
          <p:txBody>
            <a:bodyPr wrap="none" anchor="ctr"/>
            <a:lstStyle/>
            <a:p>
              <a:endParaRPr lang="it-IT" sz="1200">
                <a:cs typeface="Arial" charset="0"/>
              </a:endParaRPr>
            </a:p>
          </p:txBody>
        </p:sp>
        <p:sp>
          <p:nvSpPr>
            <p:cNvPr id="19688" name="Oval 92"/>
            <p:cNvSpPr>
              <a:spLocks noChangeArrowheads="1"/>
            </p:cNvSpPr>
            <p:nvPr/>
          </p:nvSpPr>
          <p:spPr bwMode="auto">
            <a:xfrm>
              <a:off x="1056" y="2976"/>
              <a:ext cx="96" cy="48"/>
            </a:xfrm>
            <a:prstGeom prst="ellipse">
              <a:avLst/>
            </a:prstGeom>
            <a:solidFill>
              <a:schemeClr val="bg2"/>
            </a:solidFill>
            <a:ln w="9525">
              <a:solidFill>
                <a:schemeClr val="tx1"/>
              </a:solidFill>
              <a:round/>
              <a:headEnd/>
              <a:tailEnd/>
            </a:ln>
          </p:spPr>
          <p:txBody>
            <a:bodyPr wrap="none" anchor="ctr"/>
            <a:lstStyle/>
            <a:p>
              <a:endParaRPr lang="it-IT" sz="1200">
                <a:cs typeface="Arial" charset="0"/>
              </a:endParaRPr>
            </a:p>
          </p:txBody>
        </p:sp>
      </p:grpSp>
      <p:sp>
        <p:nvSpPr>
          <p:cNvPr id="19484" name="Text Box 96"/>
          <p:cNvSpPr txBox="1">
            <a:spLocks noChangeArrowheads="1"/>
          </p:cNvSpPr>
          <p:nvPr/>
        </p:nvSpPr>
        <p:spPr bwMode="auto">
          <a:xfrm>
            <a:off x="1511300" y="4879975"/>
            <a:ext cx="806450" cy="730250"/>
          </a:xfrm>
          <a:prstGeom prst="rect">
            <a:avLst/>
          </a:prstGeom>
          <a:noFill/>
          <a:ln w="9525">
            <a:noFill/>
            <a:miter lim="800000"/>
            <a:headEnd/>
            <a:tailEnd/>
          </a:ln>
        </p:spPr>
        <p:txBody>
          <a:bodyPr>
            <a:spAutoFit/>
          </a:bodyPr>
          <a:lstStyle/>
          <a:p>
            <a:r>
              <a:rPr lang="it-IT" sz="1400">
                <a:solidFill>
                  <a:schemeClr val="tx2"/>
                </a:solidFill>
                <a:cs typeface="Arial" charset="0"/>
              </a:rPr>
              <a:t>SDF</a:t>
            </a:r>
          </a:p>
          <a:p>
            <a:r>
              <a:rPr lang="it-IT" sz="1400">
                <a:solidFill>
                  <a:schemeClr val="tx2"/>
                </a:solidFill>
                <a:cs typeface="Arial" charset="0"/>
              </a:rPr>
              <a:t>Opn</a:t>
            </a:r>
          </a:p>
          <a:p>
            <a:r>
              <a:rPr lang="it-IT" sz="1400">
                <a:solidFill>
                  <a:schemeClr val="tx2"/>
                </a:solidFill>
                <a:cs typeface="Arial" charset="0"/>
              </a:rPr>
              <a:t>RANKL</a:t>
            </a:r>
          </a:p>
        </p:txBody>
      </p:sp>
      <p:sp>
        <p:nvSpPr>
          <p:cNvPr id="19485" name="Text Box 97"/>
          <p:cNvSpPr txBox="1">
            <a:spLocks noChangeArrowheads="1"/>
          </p:cNvSpPr>
          <p:nvPr/>
        </p:nvSpPr>
        <p:spPr bwMode="auto">
          <a:xfrm>
            <a:off x="1174750" y="6129338"/>
            <a:ext cx="527050" cy="366712"/>
          </a:xfrm>
          <a:prstGeom prst="rect">
            <a:avLst/>
          </a:prstGeom>
          <a:noFill/>
          <a:ln w="9525">
            <a:noFill/>
            <a:miter lim="800000"/>
            <a:headEnd/>
            <a:tailEnd/>
          </a:ln>
        </p:spPr>
        <p:txBody>
          <a:bodyPr wrap="none">
            <a:spAutoFit/>
          </a:bodyPr>
          <a:lstStyle/>
          <a:p>
            <a:r>
              <a:rPr lang="it-IT">
                <a:solidFill>
                  <a:schemeClr val="bg1"/>
                </a:solidFill>
                <a:cs typeface="Arial" charset="0"/>
              </a:rPr>
              <a:t>OB</a:t>
            </a:r>
          </a:p>
        </p:txBody>
      </p:sp>
      <p:sp>
        <p:nvSpPr>
          <p:cNvPr id="6175" name="Text Box 98"/>
          <p:cNvSpPr txBox="1">
            <a:spLocks noChangeArrowheads="1"/>
          </p:cNvSpPr>
          <p:nvPr/>
        </p:nvSpPr>
        <p:spPr bwMode="auto">
          <a:xfrm>
            <a:off x="3074988" y="4283075"/>
            <a:ext cx="666750" cy="366713"/>
          </a:xfrm>
          <a:prstGeom prst="rect">
            <a:avLst/>
          </a:prstGeom>
          <a:solidFill>
            <a:srgbClr val="FFCC00"/>
          </a:solidFill>
          <a:ln w="9525">
            <a:solidFill>
              <a:srgbClr val="FFCC00"/>
            </a:solidFill>
            <a:miter lim="800000"/>
            <a:headEnd/>
            <a:tailEnd/>
          </a:ln>
          <a:scene3d>
            <a:camera prst="orthographicFront"/>
            <a:lightRig rig="threePt" dir="t"/>
          </a:scene3d>
          <a:sp3d>
            <a:bevelT/>
          </a:sp3d>
        </p:spPr>
        <p:txBody>
          <a:bodyPr wrap="none">
            <a:spAutoFit/>
          </a:bodyPr>
          <a:lstStyle/>
          <a:p>
            <a:pPr>
              <a:defRPr/>
            </a:pPr>
            <a:r>
              <a:rPr lang="it-IT">
                <a:solidFill>
                  <a:srgbClr val="000099"/>
                </a:solidFill>
                <a:ea typeface="+mn-ea"/>
                <a:cs typeface="Arial" charset="0"/>
              </a:rPr>
              <a:t>HSC</a:t>
            </a:r>
          </a:p>
        </p:txBody>
      </p:sp>
      <p:grpSp>
        <p:nvGrpSpPr>
          <p:cNvPr id="75814" name="Group 99"/>
          <p:cNvGrpSpPr>
            <a:grpSpLocks/>
          </p:cNvGrpSpPr>
          <p:nvPr/>
        </p:nvGrpSpPr>
        <p:grpSpPr bwMode="auto">
          <a:xfrm>
            <a:off x="2846388" y="1825625"/>
            <a:ext cx="354012" cy="430213"/>
            <a:chOff x="864" y="1584"/>
            <a:chExt cx="491" cy="463"/>
          </a:xfrm>
        </p:grpSpPr>
        <p:sp>
          <p:nvSpPr>
            <p:cNvPr id="19685" name="Freeform 100"/>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86" name="Oval 101"/>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75817" name="Group 102"/>
          <p:cNvGrpSpPr>
            <a:grpSpLocks/>
          </p:cNvGrpSpPr>
          <p:nvPr/>
        </p:nvGrpSpPr>
        <p:grpSpPr bwMode="auto">
          <a:xfrm>
            <a:off x="3251200" y="1995488"/>
            <a:ext cx="354013" cy="430212"/>
            <a:chOff x="864" y="1584"/>
            <a:chExt cx="491" cy="463"/>
          </a:xfrm>
        </p:grpSpPr>
        <p:sp>
          <p:nvSpPr>
            <p:cNvPr id="19683" name="Freeform 103"/>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84" name="Oval 104"/>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75820" name="Group 105"/>
          <p:cNvGrpSpPr>
            <a:grpSpLocks/>
          </p:cNvGrpSpPr>
          <p:nvPr/>
        </p:nvGrpSpPr>
        <p:grpSpPr bwMode="auto">
          <a:xfrm>
            <a:off x="3817938" y="2401888"/>
            <a:ext cx="354012" cy="430212"/>
            <a:chOff x="864" y="1584"/>
            <a:chExt cx="491" cy="463"/>
          </a:xfrm>
        </p:grpSpPr>
        <p:sp>
          <p:nvSpPr>
            <p:cNvPr id="19681" name="Freeform 106"/>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82" name="Oval 107"/>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19492" name="Group 108"/>
          <p:cNvGrpSpPr>
            <a:grpSpLocks/>
          </p:cNvGrpSpPr>
          <p:nvPr/>
        </p:nvGrpSpPr>
        <p:grpSpPr bwMode="auto">
          <a:xfrm>
            <a:off x="666750" y="1446213"/>
            <a:ext cx="354013" cy="430212"/>
            <a:chOff x="864" y="1584"/>
            <a:chExt cx="491" cy="463"/>
          </a:xfrm>
        </p:grpSpPr>
        <p:sp>
          <p:nvSpPr>
            <p:cNvPr id="19679" name="Freeform 109"/>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80" name="Oval 110"/>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75826" name="Group 111"/>
          <p:cNvGrpSpPr>
            <a:grpSpLocks/>
          </p:cNvGrpSpPr>
          <p:nvPr/>
        </p:nvGrpSpPr>
        <p:grpSpPr bwMode="auto">
          <a:xfrm>
            <a:off x="3614738" y="3490913"/>
            <a:ext cx="354012" cy="430212"/>
            <a:chOff x="864" y="1584"/>
            <a:chExt cx="491" cy="463"/>
          </a:xfrm>
        </p:grpSpPr>
        <p:sp>
          <p:nvSpPr>
            <p:cNvPr id="19677" name="Freeform 112"/>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78" name="Oval 113"/>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19494" name="Group 114"/>
          <p:cNvGrpSpPr>
            <a:grpSpLocks/>
          </p:cNvGrpSpPr>
          <p:nvPr/>
        </p:nvGrpSpPr>
        <p:grpSpPr bwMode="auto">
          <a:xfrm>
            <a:off x="463550" y="1446213"/>
            <a:ext cx="354013" cy="430212"/>
            <a:chOff x="864" y="1584"/>
            <a:chExt cx="491" cy="463"/>
          </a:xfrm>
        </p:grpSpPr>
        <p:sp>
          <p:nvSpPr>
            <p:cNvPr id="19675" name="Freeform 115"/>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76" name="Oval 116"/>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19495" name="Group 117"/>
          <p:cNvGrpSpPr>
            <a:grpSpLocks/>
          </p:cNvGrpSpPr>
          <p:nvPr/>
        </p:nvGrpSpPr>
        <p:grpSpPr bwMode="auto">
          <a:xfrm flipH="1">
            <a:off x="260350" y="1446213"/>
            <a:ext cx="406400" cy="430212"/>
            <a:chOff x="864" y="1584"/>
            <a:chExt cx="491" cy="463"/>
          </a:xfrm>
        </p:grpSpPr>
        <p:sp>
          <p:nvSpPr>
            <p:cNvPr id="19673" name="Freeform 118"/>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74" name="Oval 119"/>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19496" name="Group 120"/>
          <p:cNvGrpSpPr>
            <a:grpSpLocks/>
          </p:cNvGrpSpPr>
          <p:nvPr/>
        </p:nvGrpSpPr>
        <p:grpSpPr bwMode="auto">
          <a:xfrm>
            <a:off x="600075" y="1752600"/>
            <a:ext cx="354013" cy="430213"/>
            <a:chOff x="864" y="1584"/>
            <a:chExt cx="491" cy="463"/>
          </a:xfrm>
        </p:grpSpPr>
        <p:sp>
          <p:nvSpPr>
            <p:cNvPr id="19671" name="Freeform 121"/>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72" name="Oval 122"/>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19497" name="Group 123"/>
          <p:cNvGrpSpPr>
            <a:grpSpLocks/>
          </p:cNvGrpSpPr>
          <p:nvPr/>
        </p:nvGrpSpPr>
        <p:grpSpPr bwMode="auto">
          <a:xfrm>
            <a:off x="396875" y="1779588"/>
            <a:ext cx="354013" cy="430212"/>
            <a:chOff x="864" y="1584"/>
            <a:chExt cx="491" cy="463"/>
          </a:xfrm>
        </p:grpSpPr>
        <p:sp>
          <p:nvSpPr>
            <p:cNvPr id="19669" name="Freeform 124"/>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70" name="Oval 125"/>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sp>
        <p:nvSpPr>
          <p:cNvPr id="19498" name="Text Box 126"/>
          <p:cNvSpPr txBox="1">
            <a:spLocks noChangeArrowheads="1"/>
          </p:cNvSpPr>
          <p:nvPr/>
        </p:nvSpPr>
        <p:spPr bwMode="auto">
          <a:xfrm>
            <a:off x="6483350" y="2298700"/>
            <a:ext cx="2317750" cy="366713"/>
          </a:xfrm>
          <a:prstGeom prst="rect">
            <a:avLst/>
          </a:prstGeom>
          <a:noFill/>
          <a:ln w="9525">
            <a:noFill/>
            <a:miter lim="800000"/>
            <a:headEnd/>
            <a:tailEnd/>
          </a:ln>
        </p:spPr>
        <p:txBody>
          <a:bodyPr wrap="none">
            <a:spAutoFit/>
          </a:bodyPr>
          <a:lstStyle/>
          <a:p>
            <a:r>
              <a:rPr lang="it-IT">
                <a:solidFill>
                  <a:schemeClr val="tx2"/>
                </a:solidFill>
                <a:cs typeface="Arial" charset="0"/>
              </a:rPr>
              <a:t>Periferal circulation</a:t>
            </a:r>
          </a:p>
        </p:txBody>
      </p:sp>
      <p:sp>
        <p:nvSpPr>
          <p:cNvPr id="19499" name="Text Box 127"/>
          <p:cNvSpPr txBox="1">
            <a:spLocks noChangeArrowheads="1"/>
          </p:cNvSpPr>
          <p:nvPr/>
        </p:nvSpPr>
        <p:spPr bwMode="auto">
          <a:xfrm>
            <a:off x="4254500" y="2597150"/>
            <a:ext cx="1166813" cy="730250"/>
          </a:xfrm>
          <a:prstGeom prst="rect">
            <a:avLst/>
          </a:prstGeom>
          <a:noFill/>
          <a:ln w="9525">
            <a:noFill/>
            <a:miter lim="800000"/>
            <a:headEnd/>
            <a:tailEnd/>
          </a:ln>
        </p:spPr>
        <p:txBody>
          <a:bodyPr wrap="none">
            <a:spAutoFit/>
          </a:bodyPr>
          <a:lstStyle/>
          <a:p>
            <a:r>
              <a:rPr lang="it-IT" sz="1400">
                <a:solidFill>
                  <a:schemeClr val="tx2"/>
                </a:solidFill>
                <a:cs typeface="Arial" charset="0"/>
              </a:rPr>
              <a:t>Sinusoidal </a:t>
            </a:r>
          </a:p>
          <a:p>
            <a:r>
              <a:rPr lang="it-IT" sz="1400">
                <a:solidFill>
                  <a:schemeClr val="tx2"/>
                </a:solidFill>
                <a:cs typeface="Arial" charset="0"/>
              </a:rPr>
              <a:t>endothelial </a:t>
            </a:r>
          </a:p>
          <a:p>
            <a:r>
              <a:rPr lang="it-IT" sz="1400">
                <a:solidFill>
                  <a:schemeClr val="tx2"/>
                </a:solidFill>
                <a:cs typeface="Arial" charset="0"/>
              </a:rPr>
              <a:t>cells</a:t>
            </a:r>
          </a:p>
        </p:txBody>
      </p:sp>
      <p:sp>
        <p:nvSpPr>
          <p:cNvPr id="19500" name="Text Box 128"/>
          <p:cNvSpPr txBox="1">
            <a:spLocks noChangeArrowheads="1"/>
          </p:cNvSpPr>
          <p:nvPr/>
        </p:nvSpPr>
        <p:spPr bwMode="auto">
          <a:xfrm rot="-5400000">
            <a:off x="-807243" y="3793331"/>
            <a:ext cx="2171700" cy="369887"/>
          </a:xfrm>
          <a:prstGeom prst="rect">
            <a:avLst/>
          </a:prstGeom>
          <a:noFill/>
          <a:ln w="9525">
            <a:noFill/>
            <a:miter lim="800000"/>
            <a:headEnd/>
            <a:tailEnd/>
          </a:ln>
        </p:spPr>
        <p:txBody>
          <a:bodyPr wrap="none">
            <a:spAutoFit/>
          </a:bodyPr>
          <a:lstStyle/>
          <a:p>
            <a:r>
              <a:rPr lang="it-IT">
                <a:solidFill>
                  <a:schemeClr val="tx2"/>
                </a:solidFill>
                <a:cs typeface="Arial" charset="0"/>
              </a:rPr>
              <a:t>Bone marrow niche</a:t>
            </a:r>
          </a:p>
        </p:txBody>
      </p:sp>
      <p:sp>
        <p:nvSpPr>
          <p:cNvPr id="19501" name="Freeform 129"/>
          <p:cNvSpPr>
            <a:spLocks/>
          </p:cNvSpPr>
          <p:nvPr/>
        </p:nvSpPr>
        <p:spPr bwMode="auto">
          <a:xfrm>
            <a:off x="439738" y="5486400"/>
            <a:ext cx="307975" cy="1143000"/>
          </a:xfrm>
          <a:custGeom>
            <a:avLst/>
            <a:gdLst>
              <a:gd name="T0" fmla="*/ 2147483647 w 336"/>
              <a:gd name="T1" fmla="*/ 0 h 720"/>
              <a:gd name="T2" fmla="*/ 0 w 336"/>
              <a:gd name="T3" fmla="*/ 0 h 720"/>
              <a:gd name="T4" fmla="*/ 0 w 336"/>
              <a:gd name="T5" fmla="*/ 2147483647 h 720"/>
              <a:gd name="T6" fmla="*/ 2147483647 w 336"/>
              <a:gd name="T7" fmla="*/ 2147483647 h 720"/>
              <a:gd name="T8" fmla="*/ 0 60000 65536"/>
              <a:gd name="T9" fmla="*/ 0 60000 65536"/>
              <a:gd name="T10" fmla="*/ 0 60000 65536"/>
              <a:gd name="T11" fmla="*/ 0 60000 65536"/>
              <a:gd name="T12" fmla="*/ 0 w 336"/>
              <a:gd name="T13" fmla="*/ 0 h 720"/>
              <a:gd name="T14" fmla="*/ 336 w 336"/>
              <a:gd name="T15" fmla="*/ 720 h 720"/>
            </a:gdLst>
            <a:ahLst/>
            <a:cxnLst>
              <a:cxn ang="T8">
                <a:pos x="T0" y="T1"/>
              </a:cxn>
              <a:cxn ang="T9">
                <a:pos x="T2" y="T3"/>
              </a:cxn>
              <a:cxn ang="T10">
                <a:pos x="T4" y="T5"/>
              </a:cxn>
              <a:cxn ang="T11">
                <a:pos x="T6" y="T7"/>
              </a:cxn>
            </a:cxnLst>
            <a:rect l="T12" t="T13" r="T14" b="T15"/>
            <a:pathLst>
              <a:path w="336" h="720">
                <a:moveTo>
                  <a:pt x="336" y="0"/>
                </a:moveTo>
                <a:lnTo>
                  <a:pt x="0" y="0"/>
                </a:lnTo>
                <a:lnTo>
                  <a:pt x="0" y="720"/>
                </a:lnTo>
                <a:lnTo>
                  <a:pt x="288" y="720"/>
                </a:lnTo>
              </a:path>
            </a:pathLst>
          </a:custGeom>
          <a:noFill/>
          <a:ln w="28575">
            <a:solidFill>
              <a:schemeClr val="hlink"/>
            </a:solidFill>
            <a:round/>
            <a:headEnd/>
            <a:tailEnd/>
          </a:ln>
        </p:spPr>
        <p:txBody>
          <a:bodyPr/>
          <a:lstStyle/>
          <a:p>
            <a:endParaRPr lang="it-IT"/>
          </a:p>
        </p:txBody>
      </p:sp>
      <p:sp>
        <p:nvSpPr>
          <p:cNvPr id="19502" name="Freeform 130"/>
          <p:cNvSpPr>
            <a:spLocks/>
          </p:cNvSpPr>
          <p:nvPr/>
        </p:nvSpPr>
        <p:spPr bwMode="auto">
          <a:xfrm>
            <a:off x="463550" y="2971800"/>
            <a:ext cx="339725" cy="2286000"/>
          </a:xfrm>
          <a:custGeom>
            <a:avLst/>
            <a:gdLst>
              <a:gd name="T0" fmla="*/ 2147483647 w 240"/>
              <a:gd name="T1" fmla="*/ 0 h 1440"/>
              <a:gd name="T2" fmla="*/ 0 w 240"/>
              <a:gd name="T3" fmla="*/ 0 h 1440"/>
              <a:gd name="T4" fmla="*/ 0 w 240"/>
              <a:gd name="T5" fmla="*/ 2147483647 h 1440"/>
              <a:gd name="T6" fmla="*/ 2147483647 w 240"/>
              <a:gd name="T7" fmla="*/ 2147483647 h 1440"/>
              <a:gd name="T8" fmla="*/ 0 60000 65536"/>
              <a:gd name="T9" fmla="*/ 0 60000 65536"/>
              <a:gd name="T10" fmla="*/ 0 60000 65536"/>
              <a:gd name="T11" fmla="*/ 0 60000 65536"/>
              <a:gd name="T12" fmla="*/ 0 w 240"/>
              <a:gd name="T13" fmla="*/ 0 h 1440"/>
              <a:gd name="T14" fmla="*/ 240 w 240"/>
              <a:gd name="T15" fmla="*/ 1440 h 1440"/>
            </a:gdLst>
            <a:ahLst/>
            <a:cxnLst>
              <a:cxn ang="T8">
                <a:pos x="T0" y="T1"/>
              </a:cxn>
              <a:cxn ang="T9">
                <a:pos x="T2" y="T3"/>
              </a:cxn>
              <a:cxn ang="T10">
                <a:pos x="T4" y="T5"/>
              </a:cxn>
              <a:cxn ang="T11">
                <a:pos x="T6" y="T7"/>
              </a:cxn>
            </a:cxnLst>
            <a:rect l="T12" t="T13" r="T14" b="T15"/>
            <a:pathLst>
              <a:path w="240" h="1440">
                <a:moveTo>
                  <a:pt x="240" y="0"/>
                </a:moveTo>
                <a:lnTo>
                  <a:pt x="0" y="0"/>
                </a:lnTo>
                <a:lnTo>
                  <a:pt x="0" y="1440"/>
                </a:lnTo>
                <a:lnTo>
                  <a:pt x="192" y="1440"/>
                </a:lnTo>
              </a:path>
            </a:pathLst>
          </a:custGeom>
          <a:noFill/>
          <a:ln w="28575">
            <a:solidFill>
              <a:schemeClr val="hlink"/>
            </a:solidFill>
            <a:round/>
            <a:headEnd/>
            <a:tailEnd/>
          </a:ln>
        </p:spPr>
        <p:txBody>
          <a:bodyPr/>
          <a:lstStyle/>
          <a:p>
            <a:endParaRPr lang="it-IT"/>
          </a:p>
        </p:txBody>
      </p:sp>
      <p:sp>
        <p:nvSpPr>
          <p:cNvPr id="19503" name="Freeform 131"/>
          <p:cNvSpPr>
            <a:spLocks/>
          </p:cNvSpPr>
          <p:nvPr/>
        </p:nvSpPr>
        <p:spPr bwMode="auto">
          <a:xfrm>
            <a:off x="1085850" y="1454150"/>
            <a:ext cx="338138" cy="887413"/>
          </a:xfrm>
          <a:custGeom>
            <a:avLst/>
            <a:gdLst>
              <a:gd name="T0" fmla="*/ 2147483647 w 240"/>
              <a:gd name="T1" fmla="*/ 0 h 864"/>
              <a:gd name="T2" fmla="*/ 0 w 240"/>
              <a:gd name="T3" fmla="*/ 0 h 864"/>
              <a:gd name="T4" fmla="*/ 0 w 240"/>
              <a:gd name="T5" fmla="*/ 2147483647 h 864"/>
              <a:gd name="T6" fmla="*/ 2147483647 w 240"/>
              <a:gd name="T7" fmla="*/ 2147483647 h 864"/>
              <a:gd name="T8" fmla="*/ 0 60000 65536"/>
              <a:gd name="T9" fmla="*/ 0 60000 65536"/>
              <a:gd name="T10" fmla="*/ 0 60000 65536"/>
              <a:gd name="T11" fmla="*/ 0 60000 65536"/>
              <a:gd name="T12" fmla="*/ 0 w 240"/>
              <a:gd name="T13" fmla="*/ 0 h 864"/>
              <a:gd name="T14" fmla="*/ 240 w 240"/>
              <a:gd name="T15" fmla="*/ 864 h 864"/>
            </a:gdLst>
            <a:ahLst/>
            <a:cxnLst>
              <a:cxn ang="T8">
                <a:pos x="T0" y="T1"/>
              </a:cxn>
              <a:cxn ang="T9">
                <a:pos x="T2" y="T3"/>
              </a:cxn>
              <a:cxn ang="T10">
                <a:pos x="T4" y="T5"/>
              </a:cxn>
              <a:cxn ang="T11">
                <a:pos x="T6" y="T7"/>
              </a:cxn>
            </a:cxnLst>
            <a:rect l="T12" t="T13" r="T14" b="T15"/>
            <a:pathLst>
              <a:path w="240" h="864">
                <a:moveTo>
                  <a:pt x="192" y="0"/>
                </a:moveTo>
                <a:lnTo>
                  <a:pt x="0" y="0"/>
                </a:lnTo>
                <a:lnTo>
                  <a:pt x="0" y="864"/>
                </a:lnTo>
                <a:lnTo>
                  <a:pt x="240" y="864"/>
                </a:lnTo>
              </a:path>
            </a:pathLst>
          </a:custGeom>
          <a:noFill/>
          <a:ln w="28575">
            <a:solidFill>
              <a:schemeClr val="hlink"/>
            </a:solidFill>
            <a:round/>
            <a:headEnd/>
            <a:tailEnd/>
          </a:ln>
        </p:spPr>
        <p:txBody>
          <a:bodyPr/>
          <a:lstStyle/>
          <a:p>
            <a:endParaRPr lang="it-IT"/>
          </a:p>
        </p:txBody>
      </p:sp>
      <p:sp>
        <p:nvSpPr>
          <p:cNvPr id="19504" name="Text Box 132"/>
          <p:cNvSpPr txBox="1">
            <a:spLocks noChangeArrowheads="1"/>
          </p:cNvSpPr>
          <p:nvPr/>
        </p:nvSpPr>
        <p:spPr bwMode="auto">
          <a:xfrm rot="-5400000">
            <a:off x="-165893" y="2182018"/>
            <a:ext cx="920750" cy="366713"/>
          </a:xfrm>
          <a:prstGeom prst="rect">
            <a:avLst/>
          </a:prstGeom>
          <a:noFill/>
          <a:ln w="9525">
            <a:noFill/>
            <a:miter lim="800000"/>
            <a:headEnd/>
            <a:tailEnd/>
          </a:ln>
        </p:spPr>
        <p:txBody>
          <a:bodyPr wrap="none">
            <a:spAutoFit/>
          </a:bodyPr>
          <a:lstStyle/>
          <a:p>
            <a:r>
              <a:rPr lang="it-IT">
                <a:solidFill>
                  <a:schemeClr val="tx2"/>
                </a:solidFill>
                <a:cs typeface="Arial" charset="0"/>
              </a:rPr>
              <a:t>Cancer</a:t>
            </a:r>
          </a:p>
        </p:txBody>
      </p:sp>
      <p:sp>
        <p:nvSpPr>
          <p:cNvPr id="19505" name="Text Box 134"/>
          <p:cNvSpPr txBox="1">
            <a:spLocks noChangeArrowheads="1"/>
          </p:cNvSpPr>
          <p:nvPr/>
        </p:nvSpPr>
        <p:spPr bwMode="auto">
          <a:xfrm>
            <a:off x="5722938" y="4833938"/>
            <a:ext cx="674687" cy="457200"/>
          </a:xfrm>
          <a:prstGeom prst="rect">
            <a:avLst/>
          </a:prstGeom>
          <a:noFill/>
          <a:ln w="9525">
            <a:noFill/>
            <a:miter lim="800000"/>
            <a:headEnd/>
            <a:tailEnd/>
          </a:ln>
        </p:spPr>
        <p:txBody>
          <a:bodyPr wrap="none">
            <a:spAutoFit/>
          </a:bodyPr>
          <a:lstStyle/>
          <a:p>
            <a:r>
              <a:rPr lang="it-IT" sz="1200">
                <a:solidFill>
                  <a:schemeClr val="tx2"/>
                </a:solidFill>
                <a:cs typeface="Arial" charset="0"/>
              </a:rPr>
              <a:t>MMP-2</a:t>
            </a:r>
          </a:p>
          <a:p>
            <a:r>
              <a:rPr lang="it-IT" sz="1200">
                <a:solidFill>
                  <a:schemeClr val="tx2"/>
                </a:solidFill>
                <a:cs typeface="Arial" charset="0"/>
              </a:rPr>
              <a:t>MMP-9</a:t>
            </a:r>
          </a:p>
        </p:txBody>
      </p:sp>
      <p:sp>
        <p:nvSpPr>
          <p:cNvPr id="19506" name="Text Box 135"/>
          <p:cNvSpPr txBox="1">
            <a:spLocks noChangeArrowheads="1"/>
          </p:cNvSpPr>
          <p:nvPr/>
        </p:nvSpPr>
        <p:spPr bwMode="auto">
          <a:xfrm>
            <a:off x="2554288" y="3452813"/>
            <a:ext cx="833437" cy="730250"/>
          </a:xfrm>
          <a:prstGeom prst="rect">
            <a:avLst/>
          </a:prstGeom>
          <a:noFill/>
          <a:ln w="9525">
            <a:noFill/>
            <a:miter lim="800000"/>
            <a:headEnd/>
            <a:tailEnd/>
          </a:ln>
        </p:spPr>
        <p:txBody>
          <a:bodyPr wrap="none">
            <a:spAutoFit/>
          </a:bodyPr>
          <a:lstStyle/>
          <a:p>
            <a:r>
              <a:rPr lang="it-IT" sz="1400">
                <a:solidFill>
                  <a:schemeClr val="tx2"/>
                </a:solidFill>
                <a:cs typeface="Arial" charset="0"/>
              </a:rPr>
              <a:t>SDF</a:t>
            </a:r>
          </a:p>
          <a:p>
            <a:r>
              <a:rPr lang="it-IT" sz="1400">
                <a:solidFill>
                  <a:schemeClr val="tx2"/>
                </a:solidFill>
                <a:cs typeface="Arial" charset="0"/>
              </a:rPr>
              <a:t>Opn</a:t>
            </a:r>
          </a:p>
          <a:p>
            <a:r>
              <a:rPr lang="it-IT" sz="1400">
                <a:solidFill>
                  <a:schemeClr val="tx2"/>
                </a:solidFill>
                <a:cs typeface="Arial" charset="0"/>
              </a:rPr>
              <a:t>Integrin</a:t>
            </a:r>
          </a:p>
        </p:txBody>
      </p:sp>
      <p:sp>
        <p:nvSpPr>
          <p:cNvPr id="19507" name="Text Box 136"/>
          <p:cNvSpPr txBox="1">
            <a:spLocks noChangeArrowheads="1"/>
          </p:cNvSpPr>
          <p:nvPr/>
        </p:nvSpPr>
        <p:spPr bwMode="auto">
          <a:xfrm>
            <a:off x="5399088" y="3376613"/>
            <a:ext cx="528637" cy="701675"/>
          </a:xfrm>
          <a:prstGeom prst="rect">
            <a:avLst/>
          </a:prstGeom>
          <a:noFill/>
          <a:ln w="9525">
            <a:noFill/>
            <a:miter lim="800000"/>
            <a:headEnd/>
            <a:tailEnd/>
          </a:ln>
        </p:spPr>
        <p:txBody>
          <a:bodyPr wrap="none">
            <a:spAutoFit/>
          </a:bodyPr>
          <a:lstStyle/>
          <a:p>
            <a:r>
              <a:rPr lang="it-IT" sz="1000">
                <a:solidFill>
                  <a:schemeClr val="tx2"/>
                </a:solidFill>
                <a:cs typeface="Arial" charset="0"/>
              </a:rPr>
              <a:t>VEGF</a:t>
            </a:r>
          </a:p>
          <a:p>
            <a:r>
              <a:rPr lang="it-IT" sz="1000">
                <a:solidFill>
                  <a:schemeClr val="tx2"/>
                </a:solidFill>
                <a:cs typeface="Arial" charset="0"/>
              </a:rPr>
              <a:t>FGF</a:t>
            </a:r>
          </a:p>
          <a:p>
            <a:r>
              <a:rPr lang="it-IT" sz="1000">
                <a:solidFill>
                  <a:schemeClr val="tx2"/>
                </a:solidFill>
                <a:cs typeface="Arial" charset="0"/>
              </a:rPr>
              <a:t>IL-6</a:t>
            </a:r>
          </a:p>
          <a:p>
            <a:r>
              <a:rPr lang="it-IT" sz="1000">
                <a:solidFill>
                  <a:schemeClr val="tx2"/>
                </a:solidFill>
                <a:cs typeface="Arial" charset="0"/>
              </a:rPr>
              <a:t>IGF-1</a:t>
            </a:r>
          </a:p>
        </p:txBody>
      </p:sp>
      <p:sp>
        <p:nvSpPr>
          <p:cNvPr id="19508" name="Text Box 138"/>
          <p:cNvSpPr txBox="1">
            <a:spLocks noChangeArrowheads="1"/>
          </p:cNvSpPr>
          <p:nvPr/>
        </p:nvSpPr>
        <p:spPr bwMode="auto">
          <a:xfrm rot="-5400000">
            <a:off x="-446881" y="5884069"/>
            <a:ext cx="1416050" cy="366712"/>
          </a:xfrm>
          <a:prstGeom prst="rect">
            <a:avLst/>
          </a:prstGeom>
          <a:noFill/>
          <a:ln w="9525">
            <a:noFill/>
            <a:miter lim="800000"/>
            <a:headEnd/>
            <a:tailEnd/>
          </a:ln>
        </p:spPr>
        <p:txBody>
          <a:bodyPr wrap="none">
            <a:spAutoFit/>
          </a:bodyPr>
          <a:lstStyle/>
          <a:p>
            <a:r>
              <a:rPr lang="it-IT">
                <a:solidFill>
                  <a:schemeClr val="tx2"/>
                </a:solidFill>
                <a:cs typeface="Arial" charset="0"/>
              </a:rPr>
              <a:t>Bone niche</a:t>
            </a:r>
          </a:p>
        </p:txBody>
      </p:sp>
      <p:sp>
        <p:nvSpPr>
          <p:cNvPr id="19509" name="Line 139"/>
          <p:cNvSpPr>
            <a:spLocks noChangeShapeType="1"/>
          </p:cNvSpPr>
          <p:nvPr/>
        </p:nvSpPr>
        <p:spPr bwMode="auto">
          <a:xfrm flipV="1">
            <a:off x="2314575" y="4889500"/>
            <a:ext cx="0" cy="685800"/>
          </a:xfrm>
          <a:prstGeom prst="line">
            <a:avLst/>
          </a:prstGeom>
          <a:noFill/>
          <a:ln w="28575">
            <a:solidFill>
              <a:schemeClr val="hlink"/>
            </a:solidFill>
            <a:round/>
            <a:headEnd/>
            <a:tailEnd type="triangle" w="med" len="med"/>
          </a:ln>
        </p:spPr>
        <p:txBody>
          <a:bodyPr/>
          <a:lstStyle/>
          <a:p>
            <a:endParaRPr lang="it-IT"/>
          </a:p>
        </p:txBody>
      </p:sp>
      <p:sp>
        <p:nvSpPr>
          <p:cNvPr id="19510" name="Line 140"/>
          <p:cNvSpPr>
            <a:spLocks noChangeShapeType="1"/>
          </p:cNvSpPr>
          <p:nvPr/>
        </p:nvSpPr>
        <p:spPr bwMode="auto">
          <a:xfrm>
            <a:off x="2462213" y="4953000"/>
            <a:ext cx="0" cy="609600"/>
          </a:xfrm>
          <a:prstGeom prst="line">
            <a:avLst/>
          </a:prstGeom>
          <a:noFill/>
          <a:ln w="28575">
            <a:solidFill>
              <a:schemeClr val="hlink"/>
            </a:solidFill>
            <a:round/>
            <a:headEnd/>
            <a:tailEnd type="triangle" w="med" len="med"/>
          </a:ln>
        </p:spPr>
        <p:txBody>
          <a:bodyPr/>
          <a:lstStyle/>
          <a:p>
            <a:endParaRPr lang="it-IT"/>
          </a:p>
        </p:txBody>
      </p:sp>
      <p:sp>
        <p:nvSpPr>
          <p:cNvPr id="19511" name="Line 141"/>
          <p:cNvSpPr>
            <a:spLocks noChangeShapeType="1"/>
          </p:cNvSpPr>
          <p:nvPr/>
        </p:nvSpPr>
        <p:spPr bwMode="auto">
          <a:xfrm flipV="1">
            <a:off x="4562475" y="4876800"/>
            <a:ext cx="0" cy="685800"/>
          </a:xfrm>
          <a:prstGeom prst="line">
            <a:avLst/>
          </a:prstGeom>
          <a:noFill/>
          <a:ln w="28575">
            <a:solidFill>
              <a:schemeClr val="hlink"/>
            </a:solidFill>
            <a:round/>
            <a:headEnd/>
            <a:tailEnd type="triangle" w="med" len="med"/>
          </a:ln>
        </p:spPr>
        <p:txBody>
          <a:bodyPr/>
          <a:lstStyle/>
          <a:p>
            <a:endParaRPr lang="it-IT"/>
          </a:p>
        </p:txBody>
      </p:sp>
      <p:sp>
        <p:nvSpPr>
          <p:cNvPr id="19512" name="Line 143"/>
          <p:cNvSpPr>
            <a:spLocks noChangeShapeType="1"/>
          </p:cNvSpPr>
          <p:nvPr/>
        </p:nvSpPr>
        <p:spPr bwMode="auto">
          <a:xfrm flipV="1">
            <a:off x="6391275" y="4724400"/>
            <a:ext cx="0" cy="685800"/>
          </a:xfrm>
          <a:prstGeom prst="line">
            <a:avLst/>
          </a:prstGeom>
          <a:noFill/>
          <a:ln w="28575">
            <a:solidFill>
              <a:schemeClr val="hlink"/>
            </a:solidFill>
            <a:round/>
            <a:headEnd/>
            <a:tailEnd type="triangle" w="med" len="med"/>
          </a:ln>
        </p:spPr>
        <p:txBody>
          <a:bodyPr/>
          <a:lstStyle/>
          <a:p>
            <a:endParaRPr lang="it-IT"/>
          </a:p>
        </p:txBody>
      </p:sp>
      <p:sp>
        <p:nvSpPr>
          <p:cNvPr id="19513" name="Line 144"/>
          <p:cNvSpPr>
            <a:spLocks noChangeShapeType="1"/>
          </p:cNvSpPr>
          <p:nvPr/>
        </p:nvSpPr>
        <p:spPr bwMode="auto">
          <a:xfrm>
            <a:off x="6526213" y="4800600"/>
            <a:ext cx="0" cy="609600"/>
          </a:xfrm>
          <a:prstGeom prst="line">
            <a:avLst/>
          </a:prstGeom>
          <a:noFill/>
          <a:ln w="28575">
            <a:solidFill>
              <a:schemeClr val="hlink"/>
            </a:solidFill>
            <a:round/>
            <a:headEnd/>
            <a:tailEnd type="triangle" w="med" len="med"/>
          </a:ln>
        </p:spPr>
        <p:txBody>
          <a:bodyPr/>
          <a:lstStyle/>
          <a:p>
            <a:endParaRPr lang="it-IT"/>
          </a:p>
        </p:txBody>
      </p:sp>
      <p:sp>
        <p:nvSpPr>
          <p:cNvPr id="19514" name="Line 145"/>
          <p:cNvSpPr>
            <a:spLocks noChangeShapeType="1"/>
          </p:cNvSpPr>
          <p:nvPr/>
        </p:nvSpPr>
        <p:spPr bwMode="auto">
          <a:xfrm flipV="1">
            <a:off x="3352800" y="3421063"/>
            <a:ext cx="0" cy="685800"/>
          </a:xfrm>
          <a:prstGeom prst="line">
            <a:avLst/>
          </a:prstGeom>
          <a:noFill/>
          <a:ln w="28575">
            <a:solidFill>
              <a:schemeClr val="hlink"/>
            </a:solidFill>
            <a:round/>
            <a:headEnd/>
            <a:tailEnd type="triangle" w="med" len="med"/>
          </a:ln>
        </p:spPr>
        <p:txBody>
          <a:bodyPr/>
          <a:lstStyle/>
          <a:p>
            <a:endParaRPr lang="it-IT"/>
          </a:p>
        </p:txBody>
      </p:sp>
      <p:sp>
        <p:nvSpPr>
          <p:cNvPr id="19515" name="Line 146"/>
          <p:cNvSpPr>
            <a:spLocks noChangeShapeType="1"/>
          </p:cNvSpPr>
          <p:nvPr/>
        </p:nvSpPr>
        <p:spPr bwMode="auto">
          <a:xfrm>
            <a:off x="3489325" y="3497263"/>
            <a:ext cx="0" cy="609600"/>
          </a:xfrm>
          <a:prstGeom prst="line">
            <a:avLst/>
          </a:prstGeom>
          <a:noFill/>
          <a:ln w="28575">
            <a:solidFill>
              <a:schemeClr val="hlink"/>
            </a:solidFill>
            <a:round/>
            <a:headEnd/>
            <a:tailEnd type="triangle" w="med" len="med"/>
          </a:ln>
        </p:spPr>
        <p:txBody>
          <a:bodyPr/>
          <a:lstStyle/>
          <a:p>
            <a:endParaRPr lang="it-IT"/>
          </a:p>
        </p:txBody>
      </p:sp>
      <p:sp>
        <p:nvSpPr>
          <p:cNvPr id="19516" name="Line 147"/>
          <p:cNvSpPr>
            <a:spLocks noChangeShapeType="1"/>
          </p:cNvSpPr>
          <p:nvPr/>
        </p:nvSpPr>
        <p:spPr bwMode="auto">
          <a:xfrm flipV="1">
            <a:off x="5916613" y="3344863"/>
            <a:ext cx="0" cy="685800"/>
          </a:xfrm>
          <a:prstGeom prst="line">
            <a:avLst/>
          </a:prstGeom>
          <a:noFill/>
          <a:ln w="28575">
            <a:solidFill>
              <a:schemeClr val="hlink"/>
            </a:solidFill>
            <a:round/>
            <a:headEnd/>
            <a:tailEnd type="triangle" w="med" len="med"/>
          </a:ln>
        </p:spPr>
        <p:txBody>
          <a:bodyPr/>
          <a:lstStyle/>
          <a:p>
            <a:endParaRPr lang="it-IT"/>
          </a:p>
        </p:txBody>
      </p:sp>
      <p:sp>
        <p:nvSpPr>
          <p:cNvPr id="19517" name="Line 148"/>
          <p:cNvSpPr>
            <a:spLocks noChangeShapeType="1"/>
          </p:cNvSpPr>
          <p:nvPr/>
        </p:nvSpPr>
        <p:spPr bwMode="auto">
          <a:xfrm>
            <a:off x="6053138" y="3421063"/>
            <a:ext cx="0" cy="609600"/>
          </a:xfrm>
          <a:prstGeom prst="line">
            <a:avLst/>
          </a:prstGeom>
          <a:noFill/>
          <a:ln w="28575">
            <a:solidFill>
              <a:schemeClr val="hlink"/>
            </a:solidFill>
            <a:round/>
            <a:headEnd/>
            <a:tailEnd type="triangle" w="med" len="med"/>
          </a:ln>
        </p:spPr>
        <p:txBody>
          <a:bodyPr/>
          <a:lstStyle/>
          <a:p>
            <a:endParaRPr lang="it-IT"/>
          </a:p>
        </p:txBody>
      </p:sp>
      <p:grpSp>
        <p:nvGrpSpPr>
          <p:cNvPr id="75861" name="Group 151"/>
          <p:cNvGrpSpPr>
            <a:grpSpLocks/>
          </p:cNvGrpSpPr>
          <p:nvPr/>
        </p:nvGrpSpPr>
        <p:grpSpPr bwMode="auto">
          <a:xfrm>
            <a:off x="5984875" y="2965450"/>
            <a:ext cx="354013" cy="430213"/>
            <a:chOff x="864" y="1584"/>
            <a:chExt cx="491" cy="463"/>
          </a:xfrm>
        </p:grpSpPr>
        <p:sp>
          <p:nvSpPr>
            <p:cNvPr id="19667" name="Freeform 152"/>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68" name="Oval 153"/>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75864" name="Group 154"/>
          <p:cNvGrpSpPr>
            <a:grpSpLocks/>
          </p:cNvGrpSpPr>
          <p:nvPr/>
        </p:nvGrpSpPr>
        <p:grpSpPr bwMode="auto">
          <a:xfrm>
            <a:off x="2168525" y="1749425"/>
            <a:ext cx="354013" cy="430213"/>
            <a:chOff x="864" y="1584"/>
            <a:chExt cx="491" cy="463"/>
          </a:xfrm>
        </p:grpSpPr>
        <p:sp>
          <p:nvSpPr>
            <p:cNvPr id="19665" name="Freeform 155"/>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66" name="Oval 156"/>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sp>
        <p:nvSpPr>
          <p:cNvPr id="19520" name="Rectangle 168"/>
          <p:cNvSpPr>
            <a:spLocks noChangeArrowheads="1"/>
          </p:cNvSpPr>
          <p:nvPr/>
        </p:nvSpPr>
        <p:spPr bwMode="auto">
          <a:xfrm>
            <a:off x="1122363" y="1431925"/>
            <a:ext cx="558800" cy="862013"/>
          </a:xfrm>
          <a:prstGeom prst="rect">
            <a:avLst/>
          </a:prstGeom>
          <a:noFill/>
          <a:ln w="9525">
            <a:noFill/>
            <a:miter lim="800000"/>
            <a:headEnd/>
            <a:tailEnd/>
          </a:ln>
        </p:spPr>
        <p:txBody>
          <a:bodyPr>
            <a:spAutoFit/>
          </a:bodyPr>
          <a:lstStyle/>
          <a:p>
            <a:pPr>
              <a:spcBef>
                <a:spcPts val="400"/>
              </a:spcBef>
            </a:pPr>
            <a:r>
              <a:rPr lang="it-IT" sz="1000" b="1">
                <a:solidFill>
                  <a:schemeClr val="tx2"/>
                </a:solidFill>
                <a:cs typeface="Arial" charset="0"/>
              </a:rPr>
              <a:t>VEGF</a:t>
            </a:r>
          </a:p>
          <a:p>
            <a:pPr>
              <a:spcBef>
                <a:spcPts val="400"/>
              </a:spcBef>
            </a:pPr>
            <a:r>
              <a:rPr lang="it-IT" sz="1000" b="1">
                <a:solidFill>
                  <a:schemeClr val="tx2"/>
                </a:solidFill>
                <a:cs typeface="Arial" charset="0"/>
              </a:rPr>
              <a:t>FGF</a:t>
            </a:r>
          </a:p>
          <a:p>
            <a:pPr>
              <a:spcBef>
                <a:spcPts val="400"/>
              </a:spcBef>
            </a:pPr>
            <a:r>
              <a:rPr lang="it-IT" sz="1000" b="1">
                <a:solidFill>
                  <a:schemeClr val="tx2"/>
                </a:solidFill>
                <a:cs typeface="Arial" charset="0"/>
              </a:rPr>
              <a:t>IL-6</a:t>
            </a:r>
          </a:p>
          <a:p>
            <a:pPr>
              <a:spcBef>
                <a:spcPts val="400"/>
              </a:spcBef>
            </a:pPr>
            <a:r>
              <a:rPr lang="it-IT" sz="1000" b="1">
                <a:solidFill>
                  <a:schemeClr val="tx2"/>
                </a:solidFill>
                <a:cs typeface="Arial" charset="0"/>
              </a:rPr>
              <a:t>IGF-1</a:t>
            </a:r>
          </a:p>
        </p:txBody>
      </p:sp>
      <p:sp>
        <p:nvSpPr>
          <p:cNvPr id="19521" name="Rectangle 169"/>
          <p:cNvSpPr>
            <a:spLocks noChangeArrowheads="1"/>
          </p:cNvSpPr>
          <p:nvPr/>
        </p:nvSpPr>
        <p:spPr bwMode="auto">
          <a:xfrm>
            <a:off x="1585913" y="1431925"/>
            <a:ext cx="625475" cy="450850"/>
          </a:xfrm>
          <a:prstGeom prst="rect">
            <a:avLst/>
          </a:prstGeom>
          <a:noFill/>
          <a:ln w="9525">
            <a:noFill/>
            <a:miter lim="800000"/>
            <a:headEnd/>
            <a:tailEnd/>
          </a:ln>
        </p:spPr>
        <p:txBody>
          <a:bodyPr>
            <a:spAutoFit/>
          </a:bodyPr>
          <a:lstStyle/>
          <a:p>
            <a:pPr>
              <a:spcBef>
                <a:spcPts val="400"/>
              </a:spcBef>
            </a:pPr>
            <a:r>
              <a:rPr lang="it-IT" sz="1000" b="1">
                <a:solidFill>
                  <a:schemeClr val="tx2"/>
                </a:solidFill>
                <a:cs typeface="Arial" charset="0"/>
              </a:rPr>
              <a:t>MMP-2</a:t>
            </a:r>
          </a:p>
          <a:p>
            <a:pPr>
              <a:spcBef>
                <a:spcPts val="400"/>
              </a:spcBef>
            </a:pPr>
            <a:r>
              <a:rPr lang="it-IT" sz="1000" b="1">
                <a:solidFill>
                  <a:schemeClr val="tx2"/>
                </a:solidFill>
                <a:cs typeface="Arial" charset="0"/>
              </a:rPr>
              <a:t>MMP-9</a:t>
            </a:r>
          </a:p>
        </p:txBody>
      </p:sp>
      <p:grpSp>
        <p:nvGrpSpPr>
          <p:cNvPr id="75869" name="Group 176"/>
          <p:cNvGrpSpPr>
            <a:grpSpLocks/>
          </p:cNvGrpSpPr>
          <p:nvPr/>
        </p:nvGrpSpPr>
        <p:grpSpPr bwMode="auto">
          <a:xfrm>
            <a:off x="4440238" y="4292600"/>
            <a:ext cx="328612" cy="430213"/>
            <a:chOff x="864" y="1584"/>
            <a:chExt cx="491" cy="463"/>
          </a:xfrm>
        </p:grpSpPr>
        <p:sp>
          <p:nvSpPr>
            <p:cNvPr id="19663" name="Freeform 177"/>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64" name="Oval 178"/>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grpSp>
        <p:nvGrpSpPr>
          <p:cNvPr id="75875" name="Group 182"/>
          <p:cNvGrpSpPr>
            <a:grpSpLocks/>
          </p:cNvGrpSpPr>
          <p:nvPr/>
        </p:nvGrpSpPr>
        <p:grpSpPr bwMode="auto">
          <a:xfrm>
            <a:off x="3546475" y="5029200"/>
            <a:ext cx="354013" cy="430213"/>
            <a:chOff x="864" y="1584"/>
            <a:chExt cx="491" cy="463"/>
          </a:xfrm>
        </p:grpSpPr>
        <p:sp>
          <p:nvSpPr>
            <p:cNvPr id="19661" name="Freeform 183"/>
            <p:cNvSpPr>
              <a:spLocks/>
            </p:cNvSpPr>
            <p:nvPr/>
          </p:nvSpPr>
          <p:spPr bwMode="auto">
            <a:xfrm>
              <a:off x="864" y="1584"/>
              <a:ext cx="491" cy="463"/>
            </a:xfrm>
            <a:custGeom>
              <a:avLst/>
              <a:gdLst>
                <a:gd name="T0" fmla="*/ 111 w 491"/>
                <a:gd name="T1" fmla="*/ 436 h 463"/>
                <a:gd name="T2" fmla="*/ 74 w 491"/>
                <a:gd name="T3" fmla="*/ 300 h 463"/>
                <a:gd name="T4" fmla="*/ 56 w 491"/>
                <a:gd name="T5" fmla="*/ 245 h 463"/>
                <a:gd name="T6" fmla="*/ 129 w 491"/>
                <a:gd name="T7" fmla="*/ 0 h 463"/>
                <a:gd name="T8" fmla="*/ 283 w 491"/>
                <a:gd name="T9" fmla="*/ 9 h 463"/>
                <a:gd name="T10" fmla="*/ 374 w 491"/>
                <a:gd name="T11" fmla="*/ 91 h 463"/>
                <a:gd name="T12" fmla="*/ 456 w 491"/>
                <a:gd name="T13" fmla="*/ 118 h 463"/>
                <a:gd name="T14" fmla="*/ 438 w 491"/>
                <a:gd name="T15" fmla="*/ 291 h 463"/>
                <a:gd name="T16" fmla="*/ 420 w 491"/>
                <a:gd name="T17" fmla="*/ 345 h 463"/>
                <a:gd name="T18" fmla="*/ 410 w 491"/>
                <a:gd name="T19" fmla="*/ 372 h 463"/>
                <a:gd name="T20" fmla="*/ 329 w 491"/>
                <a:gd name="T21" fmla="*/ 463 h 463"/>
                <a:gd name="T22" fmla="*/ 210 w 491"/>
                <a:gd name="T23" fmla="*/ 454 h 463"/>
                <a:gd name="T24" fmla="*/ 111 w 491"/>
                <a:gd name="T25" fmla="*/ 436 h 4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1"/>
                <a:gd name="T40" fmla="*/ 0 h 463"/>
                <a:gd name="T41" fmla="*/ 491 w 491"/>
                <a:gd name="T42" fmla="*/ 463 h 4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1" h="463">
                  <a:moveTo>
                    <a:pt x="111" y="436"/>
                  </a:moveTo>
                  <a:cubicBezTo>
                    <a:pt x="98" y="391"/>
                    <a:pt x="87" y="345"/>
                    <a:pt x="74" y="300"/>
                  </a:cubicBezTo>
                  <a:cubicBezTo>
                    <a:pt x="69" y="282"/>
                    <a:pt x="56" y="245"/>
                    <a:pt x="56" y="245"/>
                  </a:cubicBezTo>
                  <a:cubicBezTo>
                    <a:pt x="65" y="16"/>
                    <a:pt x="0" y="31"/>
                    <a:pt x="129" y="0"/>
                  </a:cubicBezTo>
                  <a:cubicBezTo>
                    <a:pt x="180" y="3"/>
                    <a:pt x="232" y="1"/>
                    <a:pt x="283" y="9"/>
                  </a:cubicBezTo>
                  <a:cubicBezTo>
                    <a:pt x="319" y="14"/>
                    <a:pt x="341" y="76"/>
                    <a:pt x="374" y="91"/>
                  </a:cubicBezTo>
                  <a:cubicBezTo>
                    <a:pt x="400" y="103"/>
                    <a:pt x="429" y="109"/>
                    <a:pt x="456" y="118"/>
                  </a:cubicBezTo>
                  <a:cubicBezTo>
                    <a:pt x="491" y="171"/>
                    <a:pt x="481" y="246"/>
                    <a:pt x="438" y="291"/>
                  </a:cubicBezTo>
                  <a:cubicBezTo>
                    <a:pt x="432" y="309"/>
                    <a:pt x="426" y="327"/>
                    <a:pt x="420" y="345"/>
                  </a:cubicBezTo>
                  <a:cubicBezTo>
                    <a:pt x="417" y="354"/>
                    <a:pt x="410" y="372"/>
                    <a:pt x="410" y="372"/>
                  </a:cubicBezTo>
                  <a:cubicBezTo>
                    <a:pt x="398" y="455"/>
                    <a:pt x="407" y="447"/>
                    <a:pt x="329" y="463"/>
                  </a:cubicBezTo>
                  <a:cubicBezTo>
                    <a:pt x="289" y="460"/>
                    <a:pt x="250" y="459"/>
                    <a:pt x="210" y="454"/>
                  </a:cubicBezTo>
                  <a:cubicBezTo>
                    <a:pt x="176" y="450"/>
                    <a:pt x="146" y="436"/>
                    <a:pt x="111" y="436"/>
                  </a:cubicBezTo>
                  <a:close/>
                </a:path>
              </a:pathLst>
            </a:custGeom>
            <a:gradFill rotWithShape="0">
              <a:gsLst>
                <a:gs pos="0">
                  <a:srgbClr val="FFCC00"/>
                </a:gs>
                <a:gs pos="100000">
                  <a:srgbClr val="000000"/>
                </a:gs>
              </a:gsLst>
              <a:path path="rect">
                <a:fillToRect r="100000" b="100000"/>
              </a:path>
            </a:gradFill>
            <a:ln w="9525">
              <a:solidFill>
                <a:schemeClr val="bg1"/>
              </a:solidFill>
              <a:round/>
              <a:headEnd/>
              <a:tailEnd/>
            </a:ln>
          </p:spPr>
          <p:txBody>
            <a:bodyPr wrap="none" anchor="ctr"/>
            <a:lstStyle/>
            <a:p>
              <a:endParaRPr lang="it-IT"/>
            </a:p>
          </p:txBody>
        </p:sp>
        <p:sp>
          <p:nvSpPr>
            <p:cNvPr id="19662" name="Oval 184"/>
            <p:cNvSpPr>
              <a:spLocks noChangeArrowheads="1"/>
            </p:cNvSpPr>
            <p:nvPr/>
          </p:nvSpPr>
          <p:spPr bwMode="auto">
            <a:xfrm>
              <a:off x="1056" y="1728"/>
              <a:ext cx="144" cy="144"/>
            </a:xfrm>
            <a:prstGeom prst="ellipse">
              <a:avLst/>
            </a:prstGeom>
            <a:gradFill rotWithShape="0">
              <a:gsLst>
                <a:gs pos="0">
                  <a:srgbClr val="663300"/>
                </a:gs>
                <a:gs pos="100000">
                  <a:srgbClr val="080400"/>
                </a:gs>
              </a:gsLst>
              <a:path path="rect">
                <a:fillToRect r="100000" b="100000"/>
              </a:path>
            </a:gradFill>
            <a:ln w="9525">
              <a:solidFill>
                <a:srgbClr val="000000"/>
              </a:solidFill>
              <a:round/>
              <a:headEnd/>
              <a:tailEnd/>
            </a:ln>
          </p:spPr>
          <p:txBody>
            <a:bodyPr wrap="none" anchor="ctr"/>
            <a:lstStyle/>
            <a:p>
              <a:endParaRPr lang="it-IT" sz="1200">
                <a:cs typeface="Arial" charset="0"/>
              </a:endParaRPr>
            </a:p>
          </p:txBody>
        </p:sp>
      </p:grpSp>
      <p:sp>
        <p:nvSpPr>
          <p:cNvPr id="188601" name="Text Box 185"/>
          <p:cNvSpPr txBox="1">
            <a:spLocks noChangeArrowheads="1"/>
          </p:cNvSpPr>
          <p:nvPr/>
        </p:nvSpPr>
        <p:spPr bwMode="auto">
          <a:xfrm>
            <a:off x="6858000" y="1143000"/>
            <a:ext cx="2016125" cy="279180"/>
          </a:xfrm>
          <a:prstGeom prst="rect">
            <a:avLst/>
          </a:prstGeom>
          <a:noFill/>
          <a:ln w="9525">
            <a:noFill/>
            <a:miter lim="800000"/>
            <a:headEnd/>
            <a:tailEnd/>
          </a:ln>
          <a:effectLst>
            <a:prstShdw prst="shdw17" dist="17961" dir="2700000">
              <a:schemeClr val="accent1">
                <a:gamma/>
                <a:shade val="60000"/>
                <a:invGamma/>
              </a:schemeClr>
            </a:prstShdw>
          </a:effectLst>
        </p:spPr>
        <p:txBody>
          <a:bodyPr lIns="90000" tIns="46800" rIns="90000" bIns="46800">
            <a:spAutoFit/>
          </a:bodyPr>
          <a:lstStyle/>
          <a:p>
            <a:pPr algn="r">
              <a:spcBef>
                <a:spcPct val="50000"/>
              </a:spcBef>
              <a:defRPr/>
            </a:pPr>
            <a:r>
              <a:rPr lang="it-IT" sz="1200" b="1" dirty="0" err="1" smtClean="0">
                <a:solidFill>
                  <a:schemeClr val="tx2"/>
                </a:solidFill>
                <a:latin typeface="Calibri" pitchFamily="34" charset="0"/>
                <a:cs typeface="Arial" charset="0"/>
              </a:rPr>
              <a:t>Modified</a:t>
            </a:r>
            <a:r>
              <a:rPr lang="it-IT" sz="1200" b="1" dirty="0" smtClean="0">
                <a:solidFill>
                  <a:schemeClr val="tx2"/>
                </a:solidFill>
                <a:latin typeface="Calibri" pitchFamily="34" charset="0"/>
                <a:cs typeface="Arial" charset="0"/>
              </a:rPr>
              <a:t> from </a:t>
            </a:r>
            <a:r>
              <a:rPr lang="it-IT" sz="1200" b="1" dirty="0" err="1" smtClean="0">
                <a:solidFill>
                  <a:schemeClr val="tx2"/>
                </a:solidFill>
                <a:latin typeface="Calibri" pitchFamily="34" charset="0"/>
                <a:cs typeface="Arial" charset="0"/>
              </a:rPr>
              <a:t>F</a:t>
            </a:r>
            <a:r>
              <a:rPr lang="it-IT" sz="1200" b="1" dirty="0">
                <a:solidFill>
                  <a:schemeClr val="tx2"/>
                </a:solidFill>
                <a:latin typeface="Calibri" pitchFamily="34" charset="0"/>
                <a:cs typeface="Arial" charset="0"/>
              </a:rPr>
              <a:t>. Bertoldo</a:t>
            </a:r>
          </a:p>
        </p:txBody>
      </p:sp>
      <p:sp>
        <p:nvSpPr>
          <p:cNvPr id="19525" name="Rectangle 2"/>
          <p:cNvSpPr>
            <a:spLocks noChangeArrowheads="1"/>
          </p:cNvSpPr>
          <p:nvPr/>
        </p:nvSpPr>
        <p:spPr bwMode="auto">
          <a:xfrm>
            <a:off x="865188" y="5867400"/>
            <a:ext cx="8278812" cy="939800"/>
          </a:xfrm>
          <a:prstGeom prst="rect">
            <a:avLst/>
          </a:prstGeom>
          <a:solidFill>
            <a:srgbClr val="DDDDDD"/>
          </a:solidFill>
          <a:ln w="9525">
            <a:solidFill>
              <a:schemeClr val="tx1"/>
            </a:solidFill>
            <a:miter lim="800000"/>
            <a:headEnd/>
            <a:tailEnd/>
          </a:ln>
        </p:spPr>
        <p:txBody>
          <a:bodyPr wrap="none" anchor="ctr"/>
          <a:lstStyle/>
          <a:p>
            <a:pPr algn="ctr" eaLnBrk="0" hangingPunct="0"/>
            <a:endParaRPr lang="it-IT" sz="2400">
              <a:solidFill>
                <a:schemeClr val="bg1"/>
              </a:solidFill>
              <a:cs typeface="Arial" charset="0"/>
            </a:endParaRPr>
          </a:p>
        </p:txBody>
      </p:sp>
      <p:grpSp>
        <p:nvGrpSpPr>
          <p:cNvPr id="19526" name="Group 6"/>
          <p:cNvGrpSpPr>
            <a:grpSpLocks/>
          </p:cNvGrpSpPr>
          <p:nvPr/>
        </p:nvGrpSpPr>
        <p:grpSpPr bwMode="auto">
          <a:xfrm rot="-1539004">
            <a:off x="4424363" y="5689600"/>
            <a:ext cx="601662" cy="609600"/>
            <a:chOff x="868" y="1240"/>
            <a:chExt cx="713" cy="869"/>
          </a:xfrm>
        </p:grpSpPr>
        <p:sp>
          <p:nvSpPr>
            <p:cNvPr id="19657" name="Freeform 7"/>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19658" name="Freeform 8"/>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19659" name="Freeform 9"/>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19660" name="Freeform 10"/>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19527" name="Group 11"/>
          <p:cNvGrpSpPr>
            <a:grpSpLocks/>
          </p:cNvGrpSpPr>
          <p:nvPr/>
        </p:nvGrpSpPr>
        <p:grpSpPr bwMode="auto">
          <a:xfrm rot="2120282">
            <a:off x="3340100" y="5845175"/>
            <a:ext cx="601663" cy="609600"/>
            <a:chOff x="868" y="1240"/>
            <a:chExt cx="713" cy="869"/>
          </a:xfrm>
        </p:grpSpPr>
        <p:sp>
          <p:nvSpPr>
            <p:cNvPr id="19653" name="Freeform 12"/>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19654" name="Freeform 13"/>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19655" name="Freeform 14"/>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19656" name="Freeform 15"/>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sp>
        <p:nvSpPr>
          <p:cNvPr id="19528" name="Freeform 29"/>
          <p:cNvSpPr>
            <a:spLocks/>
          </p:cNvSpPr>
          <p:nvPr/>
        </p:nvSpPr>
        <p:spPr bwMode="auto">
          <a:xfrm>
            <a:off x="7762875" y="5702300"/>
            <a:ext cx="1160463" cy="250825"/>
          </a:xfrm>
          <a:custGeom>
            <a:avLst/>
            <a:gdLst>
              <a:gd name="T0" fmla="*/ 0 w 832"/>
              <a:gd name="T1" fmla="*/ 2147483647 h 158"/>
              <a:gd name="T2" fmla="*/ 2147483647 w 832"/>
              <a:gd name="T3" fmla="*/ 2147483647 h 158"/>
              <a:gd name="T4" fmla="*/ 2147483647 w 832"/>
              <a:gd name="T5" fmla="*/ 2147483647 h 158"/>
              <a:gd name="T6" fmla="*/ 2147483647 w 832"/>
              <a:gd name="T7" fmla="*/ 2147483647 h 158"/>
              <a:gd name="T8" fmla="*/ 2147483647 w 832"/>
              <a:gd name="T9" fmla="*/ 2147483647 h 158"/>
              <a:gd name="T10" fmla="*/ 0 60000 65536"/>
              <a:gd name="T11" fmla="*/ 0 60000 65536"/>
              <a:gd name="T12" fmla="*/ 0 60000 65536"/>
              <a:gd name="T13" fmla="*/ 0 60000 65536"/>
              <a:gd name="T14" fmla="*/ 0 60000 65536"/>
              <a:gd name="T15" fmla="*/ 0 w 832"/>
              <a:gd name="T16" fmla="*/ 0 h 158"/>
              <a:gd name="T17" fmla="*/ 832 w 832"/>
              <a:gd name="T18" fmla="*/ 158 h 158"/>
            </a:gdLst>
            <a:ahLst/>
            <a:cxnLst>
              <a:cxn ang="T10">
                <a:pos x="T0" y="T1"/>
              </a:cxn>
              <a:cxn ang="T11">
                <a:pos x="T2" y="T3"/>
              </a:cxn>
              <a:cxn ang="T12">
                <a:pos x="T4" y="T5"/>
              </a:cxn>
              <a:cxn ang="T13">
                <a:pos x="T6" y="T7"/>
              </a:cxn>
              <a:cxn ang="T14">
                <a:pos x="T8" y="T9"/>
              </a:cxn>
            </a:cxnLst>
            <a:rect l="T15" t="T16" r="T17" b="T18"/>
            <a:pathLst>
              <a:path w="832" h="158">
                <a:moveTo>
                  <a:pt x="0" y="97"/>
                </a:moveTo>
                <a:cubicBezTo>
                  <a:pt x="79" y="55"/>
                  <a:pt x="159" y="14"/>
                  <a:pt x="272" y="7"/>
                </a:cubicBezTo>
                <a:cubicBezTo>
                  <a:pt x="385" y="0"/>
                  <a:pt x="605" y="29"/>
                  <a:pt x="681" y="52"/>
                </a:cubicBezTo>
                <a:cubicBezTo>
                  <a:pt x="757" y="75"/>
                  <a:pt x="832" y="128"/>
                  <a:pt x="726" y="143"/>
                </a:cubicBezTo>
                <a:cubicBezTo>
                  <a:pt x="620" y="158"/>
                  <a:pt x="333" y="150"/>
                  <a:pt x="46" y="143"/>
                </a:cubicBezTo>
              </a:path>
            </a:pathLst>
          </a:custGeom>
          <a:gradFill rotWithShape="1">
            <a:gsLst>
              <a:gs pos="0">
                <a:srgbClr val="FF66CC"/>
              </a:gs>
              <a:gs pos="100000">
                <a:srgbClr val="762F5E"/>
              </a:gs>
            </a:gsLst>
            <a:lin ang="5400000" scaled="1"/>
          </a:gradFill>
          <a:ln w="9525">
            <a:solidFill>
              <a:schemeClr val="tx1"/>
            </a:solidFill>
            <a:round/>
            <a:headEnd/>
            <a:tailEnd/>
          </a:ln>
        </p:spPr>
        <p:txBody>
          <a:bodyPr/>
          <a:lstStyle/>
          <a:p>
            <a:endParaRPr lang="it-IT"/>
          </a:p>
        </p:txBody>
      </p:sp>
      <p:sp>
        <p:nvSpPr>
          <p:cNvPr id="19529" name="Freeform 30"/>
          <p:cNvSpPr>
            <a:spLocks/>
          </p:cNvSpPr>
          <p:nvPr/>
        </p:nvSpPr>
        <p:spPr bwMode="auto">
          <a:xfrm>
            <a:off x="811213" y="5702300"/>
            <a:ext cx="1158875" cy="250825"/>
          </a:xfrm>
          <a:custGeom>
            <a:avLst/>
            <a:gdLst>
              <a:gd name="T0" fmla="*/ 0 w 832"/>
              <a:gd name="T1" fmla="*/ 2147483647 h 158"/>
              <a:gd name="T2" fmla="*/ 2147483647 w 832"/>
              <a:gd name="T3" fmla="*/ 2147483647 h 158"/>
              <a:gd name="T4" fmla="*/ 2147483647 w 832"/>
              <a:gd name="T5" fmla="*/ 2147483647 h 158"/>
              <a:gd name="T6" fmla="*/ 2147483647 w 832"/>
              <a:gd name="T7" fmla="*/ 2147483647 h 158"/>
              <a:gd name="T8" fmla="*/ 2147483647 w 832"/>
              <a:gd name="T9" fmla="*/ 2147483647 h 158"/>
              <a:gd name="T10" fmla="*/ 0 60000 65536"/>
              <a:gd name="T11" fmla="*/ 0 60000 65536"/>
              <a:gd name="T12" fmla="*/ 0 60000 65536"/>
              <a:gd name="T13" fmla="*/ 0 60000 65536"/>
              <a:gd name="T14" fmla="*/ 0 60000 65536"/>
              <a:gd name="T15" fmla="*/ 0 w 832"/>
              <a:gd name="T16" fmla="*/ 0 h 158"/>
              <a:gd name="T17" fmla="*/ 832 w 832"/>
              <a:gd name="T18" fmla="*/ 158 h 158"/>
            </a:gdLst>
            <a:ahLst/>
            <a:cxnLst>
              <a:cxn ang="T10">
                <a:pos x="T0" y="T1"/>
              </a:cxn>
              <a:cxn ang="T11">
                <a:pos x="T2" y="T3"/>
              </a:cxn>
              <a:cxn ang="T12">
                <a:pos x="T4" y="T5"/>
              </a:cxn>
              <a:cxn ang="T13">
                <a:pos x="T6" y="T7"/>
              </a:cxn>
              <a:cxn ang="T14">
                <a:pos x="T8" y="T9"/>
              </a:cxn>
            </a:cxnLst>
            <a:rect l="T15" t="T16" r="T17" b="T18"/>
            <a:pathLst>
              <a:path w="832" h="158">
                <a:moveTo>
                  <a:pt x="0" y="97"/>
                </a:moveTo>
                <a:cubicBezTo>
                  <a:pt x="79" y="55"/>
                  <a:pt x="159" y="14"/>
                  <a:pt x="272" y="7"/>
                </a:cubicBezTo>
                <a:cubicBezTo>
                  <a:pt x="385" y="0"/>
                  <a:pt x="605" y="29"/>
                  <a:pt x="681" y="52"/>
                </a:cubicBezTo>
                <a:cubicBezTo>
                  <a:pt x="757" y="75"/>
                  <a:pt x="832" y="128"/>
                  <a:pt x="726" y="143"/>
                </a:cubicBezTo>
                <a:cubicBezTo>
                  <a:pt x="620" y="158"/>
                  <a:pt x="333" y="150"/>
                  <a:pt x="46" y="143"/>
                </a:cubicBezTo>
              </a:path>
            </a:pathLst>
          </a:custGeom>
          <a:gradFill rotWithShape="1">
            <a:gsLst>
              <a:gs pos="0">
                <a:srgbClr val="FF66CC"/>
              </a:gs>
              <a:gs pos="100000">
                <a:srgbClr val="762F5E"/>
              </a:gs>
            </a:gsLst>
            <a:lin ang="5400000" scaled="1"/>
          </a:gradFill>
          <a:ln w="9525">
            <a:solidFill>
              <a:schemeClr val="tx1"/>
            </a:solidFill>
            <a:round/>
            <a:headEnd/>
            <a:tailEnd/>
          </a:ln>
        </p:spPr>
        <p:txBody>
          <a:bodyPr/>
          <a:lstStyle/>
          <a:p>
            <a:endParaRPr lang="it-IT"/>
          </a:p>
        </p:txBody>
      </p:sp>
      <p:sp>
        <p:nvSpPr>
          <p:cNvPr id="19530" name="Oval 31"/>
          <p:cNvSpPr>
            <a:spLocks noChangeArrowheads="1"/>
          </p:cNvSpPr>
          <p:nvPr/>
        </p:nvSpPr>
        <p:spPr bwMode="auto">
          <a:xfrm>
            <a:off x="1254125" y="5845175"/>
            <a:ext cx="127000" cy="73025"/>
          </a:xfrm>
          <a:prstGeom prst="ellipse">
            <a:avLst/>
          </a:prstGeom>
          <a:solidFill>
            <a:srgbClr val="CC9900"/>
          </a:solidFill>
          <a:ln w="9525">
            <a:solidFill>
              <a:schemeClr val="tx1"/>
            </a:solidFill>
            <a:round/>
            <a:headEnd/>
            <a:tailEnd/>
          </a:ln>
        </p:spPr>
        <p:txBody>
          <a:bodyPr wrap="none" anchor="ctr"/>
          <a:lstStyle/>
          <a:p>
            <a:pPr eaLnBrk="0" hangingPunct="0"/>
            <a:endParaRPr lang="it-IT" sz="2400">
              <a:solidFill>
                <a:schemeClr val="bg1"/>
              </a:solidFill>
              <a:latin typeface="Times New Roman" pitchFamily="18" charset="0"/>
              <a:cs typeface="Arial" charset="0"/>
            </a:endParaRPr>
          </a:p>
        </p:txBody>
      </p:sp>
      <p:sp>
        <p:nvSpPr>
          <p:cNvPr id="19531" name="Oval 33"/>
          <p:cNvSpPr>
            <a:spLocks noChangeArrowheads="1"/>
          </p:cNvSpPr>
          <p:nvPr/>
        </p:nvSpPr>
        <p:spPr bwMode="auto">
          <a:xfrm>
            <a:off x="8142288" y="5773738"/>
            <a:ext cx="127000" cy="73025"/>
          </a:xfrm>
          <a:prstGeom prst="ellipse">
            <a:avLst/>
          </a:prstGeom>
          <a:solidFill>
            <a:srgbClr val="CC9900"/>
          </a:solidFill>
          <a:ln w="9525">
            <a:solidFill>
              <a:schemeClr val="tx1"/>
            </a:solidFill>
            <a:round/>
            <a:headEnd/>
            <a:tailEnd/>
          </a:ln>
        </p:spPr>
        <p:txBody>
          <a:bodyPr wrap="none" anchor="ctr"/>
          <a:lstStyle/>
          <a:p>
            <a:pPr eaLnBrk="0" hangingPunct="0"/>
            <a:endParaRPr lang="it-IT" sz="2400">
              <a:solidFill>
                <a:schemeClr val="bg1"/>
              </a:solidFill>
              <a:latin typeface="Times New Roman" pitchFamily="18" charset="0"/>
              <a:cs typeface="Arial" charset="0"/>
            </a:endParaRPr>
          </a:p>
        </p:txBody>
      </p:sp>
      <p:sp>
        <p:nvSpPr>
          <p:cNvPr id="2" name="Text Box 36"/>
          <p:cNvSpPr txBox="1">
            <a:spLocks noChangeArrowheads="1"/>
          </p:cNvSpPr>
          <p:nvPr/>
        </p:nvSpPr>
        <p:spPr bwMode="auto">
          <a:xfrm>
            <a:off x="4773613" y="6321425"/>
            <a:ext cx="1223962" cy="336550"/>
          </a:xfrm>
          <a:prstGeom prst="rect">
            <a:avLst/>
          </a:prstGeom>
          <a:solidFill>
            <a:srgbClr val="FFCC00"/>
          </a:solidFill>
          <a:ln w="9525">
            <a:noFill/>
            <a:miter lim="800000"/>
            <a:headEnd/>
            <a:tailEnd/>
          </a:ln>
          <a:scene3d>
            <a:camera prst="orthographicFront"/>
            <a:lightRig rig="threePt" dir="t"/>
          </a:scene3d>
          <a:sp3d>
            <a:bevelT/>
          </a:sp3d>
        </p:spPr>
        <p:txBody>
          <a:bodyPr wrap="none">
            <a:spAutoFit/>
          </a:bodyPr>
          <a:lstStyle/>
          <a:p>
            <a:pPr eaLnBrk="0" hangingPunct="0">
              <a:defRPr/>
            </a:pPr>
            <a:r>
              <a:rPr lang="it-IT" sz="1600" i="1">
                <a:cs typeface="Arial" charset="0"/>
              </a:rPr>
              <a:t>Osteoclast</a:t>
            </a:r>
          </a:p>
        </p:txBody>
      </p:sp>
      <p:grpSp>
        <p:nvGrpSpPr>
          <p:cNvPr id="19535" name="Group 19"/>
          <p:cNvGrpSpPr>
            <a:grpSpLocks/>
          </p:cNvGrpSpPr>
          <p:nvPr/>
        </p:nvGrpSpPr>
        <p:grpSpPr bwMode="auto">
          <a:xfrm rot="-12360">
            <a:off x="1846263" y="5572125"/>
            <a:ext cx="666750" cy="600075"/>
            <a:chOff x="6877" y="4218"/>
            <a:chExt cx="406" cy="378"/>
          </a:xfrm>
        </p:grpSpPr>
        <p:sp>
          <p:nvSpPr>
            <p:cNvPr id="19651" name="Freeform 20"/>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a:p>
          </p:txBody>
        </p:sp>
        <p:sp>
          <p:nvSpPr>
            <p:cNvPr id="19652" name="Oval 21"/>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eaLnBrk="0" hangingPunct="0"/>
              <a:endParaRPr lang="it-IT" sz="2400">
                <a:solidFill>
                  <a:schemeClr val="bg1"/>
                </a:solidFill>
                <a:latin typeface="Times New Roman" pitchFamily="18" charset="0"/>
                <a:cs typeface="Arial" charset="0"/>
              </a:endParaRPr>
            </a:p>
          </p:txBody>
        </p:sp>
      </p:grpSp>
      <p:grpSp>
        <p:nvGrpSpPr>
          <p:cNvPr id="19536" name="Group 19"/>
          <p:cNvGrpSpPr>
            <a:grpSpLocks/>
          </p:cNvGrpSpPr>
          <p:nvPr/>
        </p:nvGrpSpPr>
        <p:grpSpPr bwMode="auto">
          <a:xfrm rot="-12360">
            <a:off x="2430463" y="5584825"/>
            <a:ext cx="666750" cy="600075"/>
            <a:chOff x="6877" y="4218"/>
            <a:chExt cx="406" cy="378"/>
          </a:xfrm>
        </p:grpSpPr>
        <p:sp>
          <p:nvSpPr>
            <p:cNvPr id="19649" name="Freeform 20"/>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a:p>
          </p:txBody>
        </p:sp>
        <p:sp>
          <p:nvSpPr>
            <p:cNvPr id="19650" name="Oval 21"/>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eaLnBrk="0" hangingPunct="0"/>
              <a:endParaRPr lang="it-IT" sz="2400">
                <a:solidFill>
                  <a:schemeClr val="bg1"/>
                </a:solidFill>
                <a:latin typeface="Times New Roman" pitchFamily="18" charset="0"/>
                <a:cs typeface="Arial" charset="0"/>
              </a:endParaRPr>
            </a:p>
          </p:txBody>
        </p:sp>
      </p:grpSp>
      <p:grpSp>
        <p:nvGrpSpPr>
          <p:cNvPr id="19537" name="Group 19"/>
          <p:cNvGrpSpPr>
            <a:grpSpLocks/>
          </p:cNvGrpSpPr>
          <p:nvPr/>
        </p:nvGrpSpPr>
        <p:grpSpPr bwMode="auto">
          <a:xfrm rot="-12360">
            <a:off x="5072063" y="5559425"/>
            <a:ext cx="666750" cy="600075"/>
            <a:chOff x="6877" y="4218"/>
            <a:chExt cx="406" cy="378"/>
          </a:xfrm>
        </p:grpSpPr>
        <p:sp>
          <p:nvSpPr>
            <p:cNvPr id="19647" name="Freeform 20"/>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a:p>
          </p:txBody>
        </p:sp>
        <p:sp>
          <p:nvSpPr>
            <p:cNvPr id="19648" name="Oval 21"/>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eaLnBrk="0" hangingPunct="0"/>
              <a:endParaRPr lang="it-IT" sz="2400">
                <a:solidFill>
                  <a:schemeClr val="bg1"/>
                </a:solidFill>
                <a:latin typeface="Times New Roman" pitchFamily="18" charset="0"/>
                <a:cs typeface="Arial" charset="0"/>
              </a:endParaRPr>
            </a:p>
          </p:txBody>
        </p:sp>
      </p:grpSp>
      <p:grpSp>
        <p:nvGrpSpPr>
          <p:cNvPr id="19538" name="Group 19"/>
          <p:cNvGrpSpPr>
            <a:grpSpLocks/>
          </p:cNvGrpSpPr>
          <p:nvPr/>
        </p:nvGrpSpPr>
        <p:grpSpPr bwMode="auto">
          <a:xfrm rot="-12360">
            <a:off x="5656263" y="5559425"/>
            <a:ext cx="666750" cy="600075"/>
            <a:chOff x="6877" y="4218"/>
            <a:chExt cx="406" cy="378"/>
          </a:xfrm>
        </p:grpSpPr>
        <p:sp>
          <p:nvSpPr>
            <p:cNvPr id="19645" name="Freeform 20"/>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a:p>
          </p:txBody>
        </p:sp>
        <p:sp>
          <p:nvSpPr>
            <p:cNvPr id="19646" name="Oval 21"/>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eaLnBrk="0" hangingPunct="0"/>
              <a:endParaRPr lang="it-IT" sz="2400">
                <a:solidFill>
                  <a:schemeClr val="bg1"/>
                </a:solidFill>
                <a:latin typeface="Times New Roman" pitchFamily="18" charset="0"/>
                <a:cs typeface="Arial" charset="0"/>
              </a:endParaRPr>
            </a:p>
          </p:txBody>
        </p:sp>
      </p:grpSp>
      <p:grpSp>
        <p:nvGrpSpPr>
          <p:cNvPr id="19539" name="Group 19"/>
          <p:cNvGrpSpPr>
            <a:grpSpLocks/>
          </p:cNvGrpSpPr>
          <p:nvPr/>
        </p:nvGrpSpPr>
        <p:grpSpPr bwMode="auto">
          <a:xfrm rot="-12360">
            <a:off x="6240463" y="5559425"/>
            <a:ext cx="666750" cy="600075"/>
            <a:chOff x="6877" y="4218"/>
            <a:chExt cx="406" cy="378"/>
          </a:xfrm>
        </p:grpSpPr>
        <p:sp>
          <p:nvSpPr>
            <p:cNvPr id="19643" name="Freeform 20"/>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a:p>
          </p:txBody>
        </p:sp>
        <p:sp>
          <p:nvSpPr>
            <p:cNvPr id="19644" name="Oval 21"/>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eaLnBrk="0" hangingPunct="0"/>
              <a:endParaRPr lang="it-IT" sz="2400">
                <a:solidFill>
                  <a:schemeClr val="bg1"/>
                </a:solidFill>
                <a:latin typeface="Times New Roman" pitchFamily="18" charset="0"/>
                <a:cs typeface="Arial" charset="0"/>
              </a:endParaRPr>
            </a:p>
          </p:txBody>
        </p:sp>
      </p:grpSp>
      <p:grpSp>
        <p:nvGrpSpPr>
          <p:cNvPr id="19540" name="Group 11"/>
          <p:cNvGrpSpPr>
            <a:grpSpLocks/>
          </p:cNvGrpSpPr>
          <p:nvPr/>
        </p:nvGrpSpPr>
        <p:grpSpPr bwMode="auto">
          <a:xfrm rot="2120282">
            <a:off x="3930650" y="6137275"/>
            <a:ext cx="601663" cy="609600"/>
            <a:chOff x="868" y="1240"/>
            <a:chExt cx="713" cy="869"/>
          </a:xfrm>
        </p:grpSpPr>
        <p:sp>
          <p:nvSpPr>
            <p:cNvPr id="19639" name="Freeform 12"/>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19640" name="Freeform 13"/>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19641" name="Freeform 14"/>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19642" name="Freeform 15"/>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19541" name="Group 19"/>
          <p:cNvGrpSpPr>
            <a:grpSpLocks/>
          </p:cNvGrpSpPr>
          <p:nvPr/>
        </p:nvGrpSpPr>
        <p:grpSpPr bwMode="auto">
          <a:xfrm rot="-12360">
            <a:off x="6888163" y="5546725"/>
            <a:ext cx="666750" cy="600075"/>
            <a:chOff x="6877" y="4218"/>
            <a:chExt cx="406" cy="378"/>
          </a:xfrm>
        </p:grpSpPr>
        <p:sp>
          <p:nvSpPr>
            <p:cNvPr id="19637" name="Freeform 20"/>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wrap="none" anchor="ctr"/>
            <a:lstStyle/>
            <a:p>
              <a:endParaRPr lang="it-IT"/>
            </a:p>
          </p:txBody>
        </p:sp>
        <p:sp>
          <p:nvSpPr>
            <p:cNvPr id="19638" name="Oval 21"/>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eaLnBrk="0" hangingPunct="0"/>
              <a:endParaRPr lang="it-IT" sz="2400">
                <a:solidFill>
                  <a:schemeClr val="bg1"/>
                </a:solidFill>
                <a:latin typeface="Times New Roman" pitchFamily="18" charset="0"/>
                <a:cs typeface="Arial" charset="0"/>
              </a:endParaRPr>
            </a:p>
          </p:txBody>
        </p:sp>
      </p:grpSp>
      <p:sp>
        <p:nvSpPr>
          <p:cNvPr id="3" name="Text Box 164"/>
          <p:cNvSpPr txBox="1">
            <a:spLocks noChangeArrowheads="1"/>
          </p:cNvSpPr>
          <p:nvPr/>
        </p:nvSpPr>
        <p:spPr bwMode="auto">
          <a:xfrm>
            <a:off x="6378575" y="2951163"/>
            <a:ext cx="781050" cy="366712"/>
          </a:xfrm>
          <a:prstGeom prst="rect">
            <a:avLst/>
          </a:prstGeom>
          <a:solidFill>
            <a:srgbClr val="FFCC00"/>
          </a:solidFill>
          <a:ln w="9525">
            <a:solidFill>
              <a:srgbClr val="FFCC00"/>
            </a:solidFill>
            <a:miter lim="800000"/>
            <a:headEnd/>
            <a:tailEnd/>
          </a:ln>
          <a:scene3d>
            <a:camera prst="orthographicFront"/>
            <a:lightRig rig="threePt" dir="t"/>
          </a:scene3d>
          <a:sp3d>
            <a:bevelT/>
          </a:sp3d>
        </p:spPr>
        <p:txBody>
          <a:bodyPr wrap="none">
            <a:spAutoFit/>
          </a:bodyPr>
          <a:lstStyle/>
          <a:p>
            <a:pPr>
              <a:defRPr/>
            </a:pPr>
            <a:r>
              <a:rPr lang="it-IT">
                <a:solidFill>
                  <a:srgbClr val="000099"/>
                </a:solidFill>
                <a:ea typeface="+mn-ea"/>
                <a:cs typeface="Arial" charset="0"/>
              </a:rPr>
              <a:t>DTCs</a:t>
            </a:r>
          </a:p>
        </p:txBody>
      </p:sp>
      <p:sp>
        <p:nvSpPr>
          <p:cNvPr id="19545" name="Text Box 36"/>
          <p:cNvSpPr txBox="1">
            <a:spLocks noChangeArrowheads="1"/>
          </p:cNvSpPr>
          <p:nvPr/>
        </p:nvSpPr>
        <p:spPr bwMode="auto">
          <a:xfrm>
            <a:off x="6170613" y="6240463"/>
            <a:ext cx="1155700" cy="336550"/>
          </a:xfrm>
          <a:prstGeom prst="rect">
            <a:avLst/>
          </a:prstGeom>
          <a:noFill/>
          <a:ln w="9525">
            <a:noFill/>
            <a:miter lim="800000"/>
            <a:headEnd/>
            <a:tailEnd/>
          </a:ln>
        </p:spPr>
        <p:txBody>
          <a:bodyPr wrap="none">
            <a:spAutoFit/>
          </a:bodyPr>
          <a:lstStyle/>
          <a:p>
            <a:pPr eaLnBrk="0" hangingPunct="0"/>
            <a:r>
              <a:rPr lang="it-IT" sz="1600" i="1">
                <a:cs typeface="Arial" charset="0"/>
              </a:rPr>
              <a:t>Osteoblast</a:t>
            </a:r>
          </a:p>
        </p:txBody>
      </p:sp>
      <p:sp>
        <p:nvSpPr>
          <p:cNvPr id="4" name="Text Box 36"/>
          <p:cNvSpPr txBox="1">
            <a:spLocks noChangeArrowheads="1"/>
          </p:cNvSpPr>
          <p:nvPr/>
        </p:nvSpPr>
        <p:spPr bwMode="auto">
          <a:xfrm>
            <a:off x="1865313" y="6265863"/>
            <a:ext cx="1235075" cy="336550"/>
          </a:xfrm>
          <a:prstGeom prst="rect">
            <a:avLst/>
          </a:prstGeom>
          <a:solidFill>
            <a:srgbClr val="FFCC00"/>
          </a:solidFill>
          <a:ln w="9525">
            <a:noFill/>
            <a:miter lim="800000"/>
            <a:headEnd/>
            <a:tailEnd/>
          </a:ln>
          <a:scene3d>
            <a:camera prst="orthographicFront"/>
            <a:lightRig rig="threePt" dir="t"/>
          </a:scene3d>
          <a:sp3d>
            <a:bevelT/>
          </a:sp3d>
        </p:spPr>
        <p:txBody>
          <a:bodyPr wrap="none">
            <a:spAutoFit/>
          </a:bodyPr>
          <a:lstStyle/>
          <a:p>
            <a:pPr eaLnBrk="0" hangingPunct="0">
              <a:defRPr/>
            </a:pPr>
            <a:r>
              <a:rPr lang="it-IT" sz="1600" i="1">
                <a:cs typeface="Arial" charset="0"/>
              </a:rPr>
              <a:t>Osteoblast</a:t>
            </a:r>
          </a:p>
        </p:txBody>
      </p:sp>
      <p:sp>
        <p:nvSpPr>
          <p:cNvPr id="19549" name="Text Box 91"/>
          <p:cNvSpPr txBox="1">
            <a:spLocks noChangeArrowheads="1"/>
          </p:cNvSpPr>
          <p:nvPr/>
        </p:nvSpPr>
        <p:spPr bwMode="auto">
          <a:xfrm>
            <a:off x="5005388" y="4203700"/>
            <a:ext cx="723900" cy="954088"/>
          </a:xfrm>
          <a:prstGeom prst="rect">
            <a:avLst/>
          </a:prstGeom>
          <a:noFill/>
          <a:ln w="9525">
            <a:noFill/>
            <a:miter lim="800000"/>
            <a:headEnd/>
            <a:tailEnd/>
          </a:ln>
        </p:spPr>
        <p:txBody>
          <a:bodyPr wrap="none">
            <a:spAutoFit/>
          </a:bodyPr>
          <a:lstStyle/>
          <a:p>
            <a:pPr eaLnBrk="0" hangingPunct="0"/>
            <a:r>
              <a:rPr lang="it-IT" sz="1400">
                <a:solidFill>
                  <a:schemeClr val="tx2"/>
                </a:solidFill>
                <a:cs typeface="Arial" charset="0"/>
              </a:rPr>
              <a:t>PTHrP</a:t>
            </a:r>
          </a:p>
          <a:p>
            <a:pPr eaLnBrk="0" hangingPunct="0"/>
            <a:r>
              <a:rPr lang="it-IT" sz="1400">
                <a:solidFill>
                  <a:schemeClr val="tx2"/>
                </a:solidFill>
                <a:cs typeface="Arial" charset="0"/>
              </a:rPr>
              <a:t>TNF-</a:t>
            </a:r>
            <a:r>
              <a:rPr lang="el-GR" sz="1400">
                <a:solidFill>
                  <a:schemeClr val="tx2"/>
                </a:solidFill>
                <a:cs typeface="Arial" charset="0"/>
              </a:rPr>
              <a:t>α</a:t>
            </a:r>
            <a:endParaRPr lang="it-IT" sz="1400">
              <a:solidFill>
                <a:schemeClr val="tx2"/>
              </a:solidFill>
              <a:cs typeface="Arial" charset="0"/>
            </a:endParaRPr>
          </a:p>
          <a:p>
            <a:pPr eaLnBrk="0" hangingPunct="0"/>
            <a:r>
              <a:rPr lang="it-IT" sz="1400">
                <a:solidFill>
                  <a:schemeClr val="tx2"/>
                </a:solidFill>
                <a:cs typeface="Arial" charset="0"/>
              </a:rPr>
              <a:t>PDGF</a:t>
            </a:r>
          </a:p>
          <a:p>
            <a:pPr eaLnBrk="0" hangingPunct="0"/>
            <a:r>
              <a:rPr lang="it-IT" sz="1400">
                <a:solidFill>
                  <a:schemeClr val="tx2"/>
                </a:solidFill>
                <a:cs typeface="Arial" charset="0"/>
              </a:rPr>
              <a:t>VEGF</a:t>
            </a:r>
          </a:p>
        </p:txBody>
      </p:sp>
      <p:sp>
        <p:nvSpPr>
          <p:cNvPr id="115861" name="Line 149"/>
          <p:cNvSpPr>
            <a:spLocks noChangeShapeType="1"/>
          </p:cNvSpPr>
          <p:nvPr/>
        </p:nvSpPr>
        <p:spPr bwMode="auto">
          <a:xfrm>
            <a:off x="4876800" y="4572000"/>
            <a:ext cx="381000" cy="850900"/>
          </a:xfrm>
          <a:prstGeom prst="line">
            <a:avLst/>
          </a:prstGeom>
          <a:noFill/>
          <a:ln w="9525">
            <a:solidFill>
              <a:schemeClr val="hlink"/>
            </a:solidFill>
            <a:round/>
            <a:headEnd/>
            <a:tailEnd type="triangle" w="med" len="med"/>
          </a:ln>
          <a:effectLst>
            <a:prstShdw prst="shdw17" dist="17961" dir="2700000">
              <a:schemeClr val="hlink">
                <a:gamma/>
                <a:shade val="60000"/>
                <a:invGamma/>
              </a:schemeClr>
            </a:prstShdw>
          </a:effectLst>
        </p:spPr>
        <p:txBody>
          <a:bodyPr wrap="none" lIns="90000" tIns="46800" rIns="90000" bIns="46800" anchor="ctr"/>
          <a:lstStyle/>
          <a:p>
            <a:pPr>
              <a:defRPr/>
            </a:pPr>
            <a:endParaRPr lang="en-US" dirty="0">
              <a:latin typeface="Arial" pitchFamily="34" charset="0"/>
              <a:ea typeface="+mn-ea"/>
              <a:cs typeface="Arial" pitchFamily="34" charset="0"/>
            </a:endParaRPr>
          </a:p>
        </p:txBody>
      </p:sp>
      <p:grpSp>
        <p:nvGrpSpPr>
          <p:cNvPr id="19551" name="Group 150"/>
          <p:cNvGrpSpPr>
            <a:grpSpLocks/>
          </p:cNvGrpSpPr>
          <p:nvPr/>
        </p:nvGrpSpPr>
        <p:grpSpPr bwMode="auto">
          <a:xfrm rot="3820191" flipH="1">
            <a:off x="1583532" y="3239294"/>
            <a:ext cx="395287" cy="638175"/>
            <a:chOff x="4898" y="346"/>
            <a:chExt cx="477" cy="499"/>
          </a:xfrm>
        </p:grpSpPr>
        <p:sp>
          <p:nvSpPr>
            <p:cNvPr id="19635" name="Freeform 370"/>
            <p:cNvSpPr>
              <a:spLocks/>
            </p:cNvSpPr>
            <p:nvPr/>
          </p:nvSpPr>
          <p:spPr bwMode="auto">
            <a:xfrm>
              <a:off x="4898" y="346"/>
              <a:ext cx="477" cy="499"/>
            </a:xfrm>
            <a:custGeom>
              <a:avLst/>
              <a:gdLst>
                <a:gd name="T0" fmla="*/ 2147483647 w 153"/>
                <a:gd name="T1" fmla="*/ 2147483647 h 150"/>
                <a:gd name="T2" fmla="*/ 2147483647 w 153"/>
                <a:gd name="T3" fmla="*/ 2147483647 h 150"/>
                <a:gd name="T4" fmla="*/ 2147483647 w 153"/>
                <a:gd name="T5" fmla="*/ 2147483647 h 150"/>
                <a:gd name="T6" fmla="*/ 2147483647 w 153"/>
                <a:gd name="T7" fmla="*/ 2147483647 h 150"/>
                <a:gd name="T8" fmla="*/ 2147483647 w 153"/>
                <a:gd name="T9" fmla="*/ 2147483647 h 150"/>
                <a:gd name="T10" fmla="*/ 2147483647 w 153"/>
                <a:gd name="T11" fmla="*/ 2147483647 h 150"/>
                <a:gd name="T12" fmla="*/ 2147483647 w 153"/>
                <a:gd name="T13" fmla="*/ 2147483647 h 150"/>
                <a:gd name="T14" fmla="*/ 0 w 153"/>
                <a:gd name="T15" fmla="*/ 2147483647 h 150"/>
                <a:gd name="T16" fmla="*/ 2147483647 w 153"/>
                <a:gd name="T17" fmla="*/ 2147483647 h 150"/>
                <a:gd name="T18" fmla="*/ 2147483647 w 153"/>
                <a:gd name="T19" fmla="*/ 2147483647 h 150"/>
                <a:gd name="T20" fmla="*/ 2147483647 w 153"/>
                <a:gd name="T21" fmla="*/ 2147483647 h 150"/>
                <a:gd name="T22" fmla="*/ 2147483647 w 153"/>
                <a:gd name="T23" fmla="*/ 2147483647 h 150"/>
                <a:gd name="T24" fmla="*/ 2147483647 w 153"/>
                <a:gd name="T25" fmla="*/ 2147483647 h 150"/>
                <a:gd name="T26" fmla="*/ 2147483647 w 153"/>
                <a:gd name="T27" fmla="*/ 2147483647 h 150"/>
                <a:gd name="T28" fmla="*/ 2147483647 w 153"/>
                <a:gd name="T29" fmla="*/ 2147483647 h 150"/>
                <a:gd name="T30" fmla="*/ 2147483647 w 153"/>
                <a:gd name="T31" fmla="*/ 2147483647 h 150"/>
                <a:gd name="T32" fmla="*/ 2147483647 w 153"/>
                <a:gd name="T33" fmla="*/ 2147483647 h 150"/>
                <a:gd name="T34" fmla="*/ 2147483647 w 153"/>
                <a:gd name="T35" fmla="*/ 0 h 150"/>
                <a:gd name="T36" fmla="*/ 2147483647 w 153"/>
                <a:gd name="T37" fmla="*/ 2147483647 h 150"/>
                <a:gd name="T38" fmla="*/ 2147483647 w 153"/>
                <a:gd name="T39" fmla="*/ 2147483647 h 150"/>
                <a:gd name="T40" fmla="*/ 2147483647 w 153"/>
                <a:gd name="T41" fmla="*/ 2147483647 h 150"/>
                <a:gd name="T42" fmla="*/ 2147483647 w 153"/>
                <a:gd name="T43" fmla="*/ 2147483647 h 150"/>
                <a:gd name="T44" fmla="*/ 2147483647 w 153"/>
                <a:gd name="T45" fmla="*/ 2147483647 h 150"/>
                <a:gd name="T46" fmla="*/ 2147483647 w 153"/>
                <a:gd name="T47" fmla="*/ 2147483647 h 150"/>
                <a:gd name="T48" fmla="*/ 2147483647 w 153"/>
                <a:gd name="T49" fmla="*/ 2147483647 h 150"/>
                <a:gd name="T50" fmla="*/ 2147483647 w 153"/>
                <a:gd name="T51" fmla="*/ 2147483647 h 150"/>
                <a:gd name="T52" fmla="*/ 2147483647 w 153"/>
                <a:gd name="T53" fmla="*/ 2147483647 h 150"/>
                <a:gd name="T54" fmla="*/ 2147483647 w 153"/>
                <a:gd name="T55" fmla="*/ 2147483647 h 150"/>
                <a:gd name="T56" fmla="*/ 2147483647 w 153"/>
                <a:gd name="T57" fmla="*/ 2147483647 h 150"/>
                <a:gd name="T58" fmla="*/ 2147483647 w 153"/>
                <a:gd name="T59" fmla="*/ 2147483647 h 150"/>
                <a:gd name="T60" fmla="*/ 2147483647 w 153"/>
                <a:gd name="T61" fmla="*/ 2147483647 h 150"/>
                <a:gd name="T62" fmla="*/ 2147483647 w 153"/>
                <a:gd name="T63" fmla="*/ 2147483647 h 150"/>
                <a:gd name="T64" fmla="*/ 2147483647 w 153"/>
                <a:gd name="T65" fmla="*/ 2147483647 h 150"/>
                <a:gd name="T66" fmla="*/ 2147483647 w 153"/>
                <a:gd name="T67" fmla="*/ 2147483647 h 150"/>
                <a:gd name="T68" fmla="*/ 2147483647 w 153"/>
                <a:gd name="T69" fmla="*/ 2147483647 h 150"/>
                <a:gd name="T70" fmla="*/ 2147483647 w 153"/>
                <a:gd name="T71" fmla="*/ 2147483647 h 150"/>
                <a:gd name="T72" fmla="*/ 2147483647 w 153"/>
                <a:gd name="T73" fmla="*/ 2147483647 h 150"/>
                <a:gd name="T74" fmla="*/ 2147483647 w 153"/>
                <a:gd name="T75" fmla="*/ 2147483647 h 150"/>
                <a:gd name="T76" fmla="*/ 2147483647 w 153"/>
                <a:gd name="T77" fmla="*/ 2147483647 h 150"/>
                <a:gd name="T78" fmla="*/ 2147483647 w 153"/>
                <a:gd name="T79" fmla="*/ 2147483647 h 150"/>
                <a:gd name="T80" fmla="*/ 2147483647 w 153"/>
                <a:gd name="T81" fmla="*/ 2147483647 h 150"/>
                <a:gd name="T82" fmla="*/ 2147483647 w 153"/>
                <a:gd name="T83" fmla="*/ 2147483647 h 150"/>
                <a:gd name="T84" fmla="*/ 2147483647 w 153"/>
                <a:gd name="T85" fmla="*/ 2147483647 h 150"/>
                <a:gd name="T86" fmla="*/ 2147483647 w 153"/>
                <a:gd name="T87" fmla="*/ 2147483647 h 150"/>
                <a:gd name="T88" fmla="*/ 2147483647 w 153"/>
                <a:gd name="T89" fmla="*/ 2147483647 h 150"/>
                <a:gd name="T90" fmla="*/ 2147483647 w 153"/>
                <a:gd name="T91" fmla="*/ 2147483647 h 150"/>
                <a:gd name="T92" fmla="*/ 2147483647 w 153"/>
                <a:gd name="T93" fmla="*/ 2147483647 h 150"/>
                <a:gd name="T94" fmla="*/ 2147483647 w 153"/>
                <a:gd name="T95" fmla="*/ 2147483647 h 150"/>
                <a:gd name="T96" fmla="*/ 2147483647 w 153"/>
                <a:gd name="T97" fmla="*/ 2147483647 h 150"/>
                <a:gd name="T98" fmla="*/ 2147483647 w 153"/>
                <a:gd name="T99" fmla="*/ 2147483647 h 150"/>
                <a:gd name="T100" fmla="*/ 2147483647 w 153"/>
                <a:gd name="T101" fmla="*/ 2147483647 h 15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3"/>
                <a:gd name="T154" fmla="*/ 0 h 150"/>
                <a:gd name="T155" fmla="*/ 153 w 153"/>
                <a:gd name="T156" fmla="*/ 150 h 15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3" h="150">
                  <a:moveTo>
                    <a:pt x="58" y="130"/>
                  </a:moveTo>
                  <a:lnTo>
                    <a:pt x="55" y="130"/>
                  </a:lnTo>
                  <a:lnTo>
                    <a:pt x="55" y="127"/>
                  </a:lnTo>
                  <a:lnTo>
                    <a:pt x="52" y="124"/>
                  </a:lnTo>
                  <a:lnTo>
                    <a:pt x="49" y="121"/>
                  </a:lnTo>
                  <a:lnTo>
                    <a:pt x="45" y="121"/>
                  </a:lnTo>
                  <a:lnTo>
                    <a:pt x="42" y="117"/>
                  </a:lnTo>
                  <a:lnTo>
                    <a:pt x="39" y="121"/>
                  </a:lnTo>
                  <a:lnTo>
                    <a:pt x="36" y="117"/>
                  </a:lnTo>
                  <a:lnTo>
                    <a:pt x="32" y="117"/>
                  </a:lnTo>
                  <a:lnTo>
                    <a:pt x="29" y="121"/>
                  </a:lnTo>
                  <a:lnTo>
                    <a:pt x="26" y="117"/>
                  </a:lnTo>
                  <a:lnTo>
                    <a:pt x="23" y="117"/>
                  </a:lnTo>
                  <a:lnTo>
                    <a:pt x="16" y="114"/>
                  </a:lnTo>
                  <a:lnTo>
                    <a:pt x="13" y="111"/>
                  </a:lnTo>
                  <a:lnTo>
                    <a:pt x="10" y="108"/>
                  </a:lnTo>
                  <a:lnTo>
                    <a:pt x="6" y="101"/>
                  </a:lnTo>
                  <a:lnTo>
                    <a:pt x="6" y="98"/>
                  </a:lnTo>
                  <a:lnTo>
                    <a:pt x="3" y="95"/>
                  </a:lnTo>
                  <a:lnTo>
                    <a:pt x="3" y="88"/>
                  </a:lnTo>
                  <a:lnTo>
                    <a:pt x="3" y="82"/>
                  </a:lnTo>
                  <a:lnTo>
                    <a:pt x="0" y="78"/>
                  </a:lnTo>
                  <a:lnTo>
                    <a:pt x="3" y="75"/>
                  </a:lnTo>
                  <a:lnTo>
                    <a:pt x="0" y="75"/>
                  </a:lnTo>
                  <a:lnTo>
                    <a:pt x="3" y="72"/>
                  </a:lnTo>
                  <a:lnTo>
                    <a:pt x="6" y="69"/>
                  </a:lnTo>
                  <a:lnTo>
                    <a:pt x="10" y="69"/>
                  </a:lnTo>
                  <a:lnTo>
                    <a:pt x="13" y="65"/>
                  </a:lnTo>
                  <a:lnTo>
                    <a:pt x="13" y="69"/>
                  </a:lnTo>
                  <a:lnTo>
                    <a:pt x="16" y="65"/>
                  </a:lnTo>
                  <a:lnTo>
                    <a:pt x="19" y="62"/>
                  </a:lnTo>
                  <a:lnTo>
                    <a:pt x="23" y="62"/>
                  </a:lnTo>
                  <a:lnTo>
                    <a:pt x="26" y="59"/>
                  </a:lnTo>
                  <a:lnTo>
                    <a:pt x="26" y="52"/>
                  </a:lnTo>
                  <a:lnTo>
                    <a:pt x="23" y="46"/>
                  </a:lnTo>
                  <a:lnTo>
                    <a:pt x="23" y="39"/>
                  </a:lnTo>
                  <a:lnTo>
                    <a:pt x="23" y="36"/>
                  </a:lnTo>
                  <a:lnTo>
                    <a:pt x="23" y="33"/>
                  </a:lnTo>
                  <a:lnTo>
                    <a:pt x="26" y="30"/>
                  </a:lnTo>
                  <a:lnTo>
                    <a:pt x="23" y="23"/>
                  </a:lnTo>
                  <a:lnTo>
                    <a:pt x="19" y="20"/>
                  </a:lnTo>
                  <a:lnTo>
                    <a:pt x="23" y="17"/>
                  </a:lnTo>
                  <a:lnTo>
                    <a:pt x="19" y="17"/>
                  </a:lnTo>
                  <a:lnTo>
                    <a:pt x="23" y="13"/>
                  </a:lnTo>
                  <a:lnTo>
                    <a:pt x="23" y="10"/>
                  </a:lnTo>
                  <a:lnTo>
                    <a:pt x="23" y="7"/>
                  </a:lnTo>
                  <a:lnTo>
                    <a:pt x="26" y="7"/>
                  </a:lnTo>
                  <a:lnTo>
                    <a:pt x="29" y="4"/>
                  </a:lnTo>
                  <a:lnTo>
                    <a:pt x="32" y="0"/>
                  </a:lnTo>
                  <a:lnTo>
                    <a:pt x="36" y="0"/>
                  </a:lnTo>
                  <a:lnTo>
                    <a:pt x="39" y="0"/>
                  </a:lnTo>
                  <a:lnTo>
                    <a:pt x="42" y="4"/>
                  </a:lnTo>
                  <a:lnTo>
                    <a:pt x="45" y="0"/>
                  </a:lnTo>
                  <a:lnTo>
                    <a:pt x="49" y="4"/>
                  </a:lnTo>
                  <a:lnTo>
                    <a:pt x="49" y="0"/>
                  </a:lnTo>
                  <a:lnTo>
                    <a:pt x="52" y="4"/>
                  </a:lnTo>
                  <a:lnTo>
                    <a:pt x="58" y="4"/>
                  </a:lnTo>
                  <a:lnTo>
                    <a:pt x="58" y="7"/>
                  </a:lnTo>
                  <a:lnTo>
                    <a:pt x="62" y="4"/>
                  </a:lnTo>
                  <a:lnTo>
                    <a:pt x="65" y="7"/>
                  </a:lnTo>
                  <a:lnTo>
                    <a:pt x="68" y="4"/>
                  </a:lnTo>
                  <a:lnTo>
                    <a:pt x="68" y="7"/>
                  </a:lnTo>
                  <a:lnTo>
                    <a:pt x="75" y="7"/>
                  </a:lnTo>
                  <a:lnTo>
                    <a:pt x="78" y="10"/>
                  </a:lnTo>
                  <a:lnTo>
                    <a:pt x="81" y="10"/>
                  </a:lnTo>
                  <a:lnTo>
                    <a:pt x="88" y="10"/>
                  </a:lnTo>
                  <a:lnTo>
                    <a:pt x="88" y="13"/>
                  </a:lnTo>
                  <a:lnTo>
                    <a:pt x="91" y="10"/>
                  </a:lnTo>
                  <a:lnTo>
                    <a:pt x="97" y="13"/>
                  </a:lnTo>
                  <a:lnTo>
                    <a:pt x="101" y="10"/>
                  </a:lnTo>
                  <a:lnTo>
                    <a:pt x="104" y="10"/>
                  </a:lnTo>
                  <a:lnTo>
                    <a:pt x="110" y="10"/>
                  </a:lnTo>
                  <a:lnTo>
                    <a:pt x="110" y="7"/>
                  </a:lnTo>
                  <a:lnTo>
                    <a:pt x="114" y="10"/>
                  </a:lnTo>
                  <a:lnTo>
                    <a:pt x="117" y="10"/>
                  </a:lnTo>
                  <a:lnTo>
                    <a:pt x="120" y="10"/>
                  </a:lnTo>
                  <a:lnTo>
                    <a:pt x="123" y="10"/>
                  </a:lnTo>
                  <a:lnTo>
                    <a:pt x="123" y="7"/>
                  </a:lnTo>
                  <a:lnTo>
                    <a:pt x="130" y="7"/>
                  </a:lnTo>
                  <a:lnTo>
                    <a:pt x="133" y="4"/>
                  </a:lnTo>
                  <a:lnTo>
                    <a:pt x="133" y="7"/>
                  </a:lnTo>
                  <a:lnTo>
                    <a:pt x="136" y="7"/>
                  </a:lnTo>
                  <a:lnTo>
                    <a:pt x="140" y="7"/>
                  </a:lnTo>
                  <a:lnTo>
                    <a:pt x="143" y="10"/>
                  </a:lnTo>
                  <a:lnTo>
                    <a:pt x="143" y="13"/>
                  </a:lnTo>
                  <a:lnTo>
                    <a:pt x="143" y="20"/>
                  </a:lnTo>
                  <a:lnTo>
                    <a:pt x="146" y="20"/>
                  </a:lnTo>
                  <a:lnTo>
                    <a:pt x="149" y="23"/>
                  </a:lnTo>
                  <a:lnTo>
                    <a:pt x="153" y="30"/>
                  </a:lnTo>
                  <a:lnTo>
                    <a:pt x="153" y="33"/>
                  </a:lnTo>
                  <a:lnTo>
                    <a:pt x="149" y="36"/>
                  </a:lnTo>
                  <a:lnTo>
                    <a:pt x="153" y="39"/>
                  </a:lnTo>
                  <a:lnTo>
                    <a:pt x="149" y="43"/>
                  </a:lnTo>
                  <a:lnTo>
                    <a:pt x="146" y="49"/>
                  </a:lnTo>
                  <a:lnTo>
                    <a:pt x="146" y="52"/>
                  </a:lnTo>
                  <a:lnTo>
                    <a:pt x="143" y="56"/>
                  </a:lnTo>
                  <a:lnTo>
                    <a:pt x="140" y="59"/>
                  </a:lnTo>
                  <a:lnTo>
                    <a:pt x="136" y="62"/>
                  </a:lnTo>
                  <a:lnTo>
                    <a:pt x="140" y="62"/>
                  </a:lnTo>
                  <a:lnTo>
                    <a:pt x="136" y="65"/>
                  </a:lnTo>
                  <a:lnTo>
                    <a:pt x="140" y="72"/>
                  </a:lnTo>
                  <a:lnTo>
                    <a:pt x="140" y="75"/>
                  </a:lnTo>
                  <a:lnTo>
                    <a:pt x="140" y="82"/>
                  </a:lnTo>
                  <a:lnTo>
                    <a:pt x="140" y="85"/>
                  </a:lnTo>
                  <a:lnTo>
                    <a:pt x="143" y="88"/>
                  </a:lnTo>
                  <a:lnTo>
                    <a:pt x="146" y="91"/>
                  </a:lnTo>
                  <a:lnTo>
                    <a:pt x="146" y="95"/>
                  </a:lnTo>
                  <a:lnTo>
                    <a:pt x="149" y="98"/>
                  </a:lnTo>
                  <a:lnTo>
                    <a:pt x="153" y="101"/>
                  </a:lnTo>
                  <a:lnTo>
                    <a:pt x="149" y="101"/>
                  </a:lnTo>
                  <a:lnTo>
                    <a:pt x="153" y="104"/>
                  </a:lnTo>
                  <a:lnTo>
                    <a:pt x="149" y="108"/>
                  </a:lnTo>
                  <a:lnTo>
                    <a:pt x="146" y="108"/>
                  </a:lnTo>
                  <a:lnTo>
                    <a:pt x="149" y="111"/>
                  </a:lnTo>
                  <a:lnTo>
                    <a:pt x="146" y="114"/>
                  </a:lnTo>
                  <a:lnTo>
                    <a:pt x="146" y="117"/>
                  </a:lnTo>
                  <a:lnTo>
                    <a:pt x="146" y="121"/>
                  </a:lnTo>
                  <a:lnTo>
                    <a:pt x="143" y="121"/>
                  </a:lnTo>
                  <a:lnTo>
                    <a:pt x="140" y="124"/>
                  </a:lnTo>
                  <a:lnTo>
                    <a:pt x="136" y="127"/>
                  </a:lnTo>
                  <a:lnTo>
                    <a:pt x="133" y="127"/>
                  </a:lnTo>
                  <a:lnTo>
                    <a:pt x="130" y="130"/>
                  </a:lnTo>
                  <a:lnTo>
                    <a:pt x="130" y="134"/>
                  </a:lnTo>
                  <a:lnTo>
                    <a:pt x="123" y="134"/>
                  </a:lnTo>
                  <a:lnTo>
                    <a:pt x="120" y="130"/>
                  </a:lnTo>
                  <a:lnTo>
                    <a:pt x="117" y="130"/>
                  </a:lnTo>
                  <a:lnTo>
                    <a:pt x="114" y="127"/>
                  </a:lnTo>
                  <a:lnTo>
                    <a:pt x="110" y="130"/>
                  </a:lnTo>
                  <a:lnTo>
                    <a:pt x="107" y="130"/>
                  </a:lnTo>
                  <a:lnTo>
                    <a:pt x="107" y="127"/>
                  </a:lnTo>
                  <a:lnTo>
                    <a:pt x="104" y="130"/>
                  </a:lnTo>
                  <a:lnTo>
                    <a:pt x="101" y="134"/>
                  </a:lnTo>
                  <a:lnTo>
                    <a:pt x="97" y="134"/>
                  </a:lnTo>
                  <a:lnTo>
                    <a:pt x="94" y="137"/>
                  </a:lnTo>
                  <a:lnTo>
                    <a:pt x="94" y="140"/>
                  </a:lnTo>
                  <a:lnTo>
                    <a:pt x="91" y="143"/>
                  </a:lnTo>
                  <a:lnTo>
                    <a:pt x="88" y="143"/>
                  </a:lnTo>
                  <a:lnTo>
                    <a:pt x="84" y="146"/>
                  </a:lnTo>
                  <a:lnTo>
                    <a:pt x="81" y="150"/>
                  </a:lnTo>
                  <a:lnTo>
                    <a:pt x="81" y="146"/>
                  </a:lnTo>
                  <a:lnTo>
                    <a:pt x="78" y="150"/>
                  </a:lnTo>
                  <a:lnTo>
                    <a:pt x="75" y="150"/>
                  </a:lnTo>
                  <a:lnTo>
                    <a:pt x="71" y="146"/>
                  </a:lnTo>
                  <a:lnTo>
                    <a:pt x="68" y="150"/>
                  </a:lnTo>
                  <a:lnTo>
                    <a:pt x="68" y="146"/>
                  </a:lnTo>
                  <a:lnTo>
                    <a:pt x="65" y="150"/>
                  </a:lnTo>
                  <a:lnTo>
                    <a:pt x="62" y="146"/>
                  </a:lnTo>
                  <a:lnTo>
                    <a:pt x="62" y="143"/>
                  </a:lnTo>
                  <a:lnTo>
                    <a:pt x="62" y="140"/>
                  </a:lnTo>
                  <a:lnTo>
                    <a:pt x="62" y="137"/>
                  </a:lnTo>
                  <a:lnTo>
                    <a:pt x="62" y="134"/>
                  </a:lnTo>
                </a:path>
              </a:pathLst>
            </a:custGeom>
            <a:solidFill>
              <a:srgbClr val="FFFF99"/>
            </a:solidFill>
            <a:ln w="4763">
              <a:solidFill>
                <a:srgbClr val="000000"/>
              </a:solidFill>
              <a:round/>
              <a:headEnd/>
              <a:tailEnd/>
            </a:ln>
          </p:spPr>
          <p:txBody>
            <a:bodyPr rot="10800000" vert="eaVert"/>
            <a:lstStyle/>
            <a:p>
              <a:endParaRPr lang="it-IT"/>
            </a:p>
          </p:txBody>
        </p:sp>
        <p:sp>
          <p:nvSpPr>
            <p:cNvPr id="19636" name="Freeform 371"/>
            <p:cNvSpPr>
              <a:spLocks/>
            </p:cNvSpPr>
            <p:nvPr/>
          </p:nvSpPr>
          <p:spPr bwMode="auto">
            <a:xfrm>
              <a:off x="5020" y="446"/>
              <a:ext cx="293" cy="269"/>
            </a:xfrm>
            <a:custGeom>
              <a:avLst/>
              <a:gdLst>
                <a:gd name="T0" fmla="*/ 2147483647 w 94"/>
                <a:gd name="T1" fmla="*/ 2147483647 h 81"/>
                <a:gd name="T2" fmla="*/ 2147483647 w 94"/>
                <a:gd name="T3" fmla="*/ 2147483647 h 81"/>
                <a:gd name="T4" fmla="*/ 2147483647 w 94"/>
                <a:gd name="T5" fmla="*/ 2147483647 h 81"/>
                <a:gd name="T6" fmla="*/ 2147483647 w 94"/>
                <a:gd name="T7" fmla="*/ 2147483647 h 81"/>
                <a:gd name="T8" fmla="*/ 2147483647 w 94"/>
                <a:gd name="T9" fmla="*/ 2147483647 h 81"/>
                <a:gd name="T10" fmla="*/ 2147483647 w 94"/>
                <a:gd name="T11" fmla="*/ 2147483647 h 81"/>
                <a:gd name="T12" fmla="*/ 2147483647 w 94"/>
                <a:gd name="T13" fmla="*/ 2147483647 h 81"/>
                <a:gd name="T14" fmla="*/ 2147483647 w 94"/>
                <a:gd name="T15" fmla="*/ 2147483647 h 81"/>
                <a:gd name="T16" fmla="*/ 2147483647 w 94"/>
                <a:gd name="T17" fmla="*/ 2147483647 h 81"/>
                <a:gd name="T18" fmla="*/ 2147483647 w 94"/>
                <a:gd name="T19" fmla="*/ 2147483647 h 81"/>
                <a:gd name="T20" fmla="*/ 2147483647 w 94"/>
                <a:gd name="T21" fmla="*/ 2147483647 h 81"/>
                <a:gd name="T22" fmla="*/ 2147483647 w 94"/>
                <a:gd name="T23" fmla="*/ 2147483647 h 81"/>
                <a:gd name="T24" fmla="*/ 2147483647 w 94"/>
                <a:gd name="T25" fmla="*/ 2147483647 h 81"/>
                <a:gd name="T26" fmla="*/ 2147483647 w 94"/>
                <a:gd name="T27" fmla="*/ 2147483647 h 81"/>
                <a:gd name="T28" fmla="*/ 2147483647 w 94"/>
                <a:gd name="T29" fmla="*/ 2147483647 h 81"/>
                <a:gd name="T30" fmla="*/ 2147483647 w 94"/>
                <a:gd name="T31" fmla="*/ 2147483647 h 81"/>
                <a:gd name="T32" fmla="*/ 2147483647 w 94"/>
                <a:gd name="T33" fmla="*/ 2147483647 h 81"/>
                <a:gd name="T34" fmla="*/ 2147483647 w 94"/>
                <a:gd name="T35" fmla="*/ 2147483647 h 81"/>
                <a:gd name="T36" fmla="*/ 2147483647 w 94"/>
                <a:gd name="T37" fmla="*/ 2147483647 h 81"/>
                <a:gd name="T38" fmla="*/ 2147483647 w 94"/>
                <a:gd name="T39" fmla="*/ 2147483647 h 81"/>
                <a:gd name="T40" fmla="*/ 2147483647 w 94"/>
                <a:gd name="T41" fmla="*/ 2147483647 h 81"/>
                <a:gd name="T42" fmla="*/ 2147483647 w 94"/>
                <a:gd name="T43" fmla="*/ 2147483647 h 81"/>
                <a:gd name="T44" fmla="*/ 2147483647 w 94"/>
                <a:gd name="T45" fmla="*/ 2147483647 h 81"/>
                <a:gd name="T46" fmla="*/ 2147483647 w 94"/>
                <a:gd name="T47" fmla="*/ 2147483647 h 81"/>
                <a:gd name="T48" fmla="*/ 2147483647 w 94"/>
                <a:gd name="T49" fmla="*/ 2147483647 h 81"/>
                <a:gd name="T50" fmla="*/ 2147483647 w 94"/>
                <a:gd name="T51" fmla="*/ 2147483647 h 81"/>
                <a:gd name="T52" fmla="*/ 2147483647 w 94"/>
                <a:gd name="T53" fmla="*/ 2147483647 h 81"/>
                <a:gd name="T54" fmla="*/ 2147483647 w 94"/>
                <a:gd name="T55" fmla="*/ 2147483647 h 81"/>
                <a:gd name="T56" fmla="*/ 2147483647 w 94"/>
                <a:gd name="T57" fmla="*/ 2147483647 h 81"/>
                <a:gd name="T58" fmla="*/ 2147483647 w 94"/>
                <a:gd name="T59" fmla="*/ 2147483647 h 81"/>
                <a:gd name="T60" fmla="*/ 2147483647 w 94"/>
                <a:gd name="T61" fmla="*/ 2147483647 h 81"/>
                <a:gd name="T62" fmla="*/ 2147483647 w 94"/>
                <a:gd name="T63" fmla="*/ 2147483647 h 81"/>
                <a:gd name="T64" fmla="*/ 2147483647 w 94"/>
                <a:gd name="T65" fmla="*/ 2147483647 h 81"/>
                <a:gd name="T66" fmla="*/ 2147483647 w 94"/>
                <a:gd name="T67" fmla="*/ 2147483647 h 81"/>
                <a:gd name="T68" fmla="*/ 2147483647 w 94"/>
                <a:gd name="T69" fmla="*/ 2147483647 h 81"/>
                <a:gd name="T70" fmla="*/ 2147483647 w 94"/>
                <a:gd name="T71" fmla="*/ 2147483647 h 81"/>
                <a:gd name="T72" fmla="*/ 2147483647 w 94"/>
                <a:gd name="T73" fmla="*/ 2147483647 h 81"/>
                <a:gd name="T74" fmla="*/ 2147483647 w 94"/>
                <a:gd name="T75" fmla="*/ 2147483647 h 81"/>
                <a:gd name="T76" fmla="*/ 2147483647 w 94"/>
                <a:gd name="T77" fmla="*/ 2147483647 h 81"/>
                <a:gd name="T78" fmla="*/ 2147483647 w 94"/>
                <a:gd name="T79" fmla="*/ 2147483647 h 81"/>
                <a:gd name="T80" fmla="*/ 2147483647 w 94"/>
                <a:gd name="T81" fmla="*/ 2147483647 h 81"/>
                <a:gd name="T82" fmla="*/ 2147483647 w 94"/>
                <a:gd name="T83" fmla="*/ 2147483647 h 81"/>
                <a:gd name="T84" fmla="*/ 2147483647 w 94"/>
                <a:gd name="T85" fmla="*/ 2147483647 h 81"/>
                <a:gd name="T86" fmla="*/ 2147483647 w 94"/>
                <a:gd name="T87" fmla="*/ 2147483647 h 81"/>
                <a:gd name="T88" fmla="*/ 2147483647 w 94"/>
                <a:gd name="T89" fmla="*/ 2147483647 h 81"/>
                <a:gd name="T90" fmla="*/ 2147483647 w 94"/>
                <a:gd name="T91" fmla="*/ 2147483647 h 81"/>
                <a:gd name="T92" fmla="*/ 2147483647 w 94"/>
                <a:gd name="T93" fmla="*/ 2147483647 h 81"/>
                <a:gd name="T94" fmla="*/ 2147483647 w 94"/>
                <a:gd name="T95" fmla="*/ 2147483647 h 81"/>
                <a:gd name="T96" fmla="*/ 2147483647 w 94"/>
                <a:gd name="T97" fmla="*/ 2147483647 h 81"/>
                <a:gd name="T98" fmla="*/ 2147483647 w 94"/>
                <a:gd name="T99" fmla="*/ 2147483647 h 81"/>
                <a:gd name="T100" fmla="*/ 2147483647 w 94"/>
                <a:gd name="T101" fmla="*/ 2147483647 h 81"/>
                <a:gd name="T102" fmla="*/ 2147483647 w 94"/>
                <a:gd name="T103" fmla="*/ 2147483647 h 81"/>
                <a:gd name="T104" fmla="*/ 2147483647 w 94"/>
                <a:gd name="T105" fmla="*/ 2147483647 h 81"/>
                <a:gd name="T106" fmla="*/ 2147483647 w 94"/>
                <a:gd name="T107" fmla="*/ 2147483647 h 81"/>
                <a:gd name="T108" fmla="*/ 2147483647 w 94"/>
                <a:gd name="T109" fmla="*/ 2147483647 h 8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4"/>
                <a:gd name="T166" fmla="*/ 0 h 81"/>
                <a:gd name="T167" fmla="*/ 94 w 94"/>
                <a:gd name="T168" fmla="*/ 81 h 8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4" h="81">
                  <a:moveTo>
                    <a:pt x="52" y="52"/>
                  </a:moveTo>
                  <a:lnTo>
                    <a:pt x="55" y="52"/>
                  </a:lnTo>
                  <a:lnTo>
                    <a:pt x="55" y="55"/>
                  </a:lnTo>
                  <a:lnTo>
                    <a:pt x="55" y="52"/>
                  </a:lnTo>
                  <a:lnTo>
                    <a:pt x="58" y="55"/>
                  </a:lnTo>
                  <a:lnTo>
                    <a:pt x="58" y="52"/>
                  </a:lnTo>
                  <a:lnTo>
                    <a:pt x="62" y="52"/>
                  </a:lnTo>
                  <a:lnTo>
                    <a:pt x="62" y="55"/>
                  </a:lnTo>
                  <a:lnTo>
                    <a:pt x="65" y="55"/>
                  </a:lnTo>
                  <a:lnTo>
                    <a:pt x="68" y="58"/>
                  </a:lnTo>
                  <a:lnTo>
                    <a:pt x="71" y="61"/>
                  </a:lnTo>
                  <a:lnTo>
                    <a:pt x="68" y="61"/>
                  </a:lnTo>
                  <a:lnTo>
                    <a:pt x="71" y="65"/>
                  </a:lnTo>
                  <a:lnTo>
                    <a:pt x="71" y="68"/>
                  </a:lnTo>
                  <a:lnTo>
                    <a:pt x="71" y="71"/>
                  </a:lnTo>
                  <a:lnTo>
                    <a:pt x="71" y="74"/>
                  </a:lnTo>
                  <a:lnTo>
                    <a:pt x="68" y="74"/>
                  </a:lnTo>
                  <a:lnTo>
                    <a:pt x="68" y="78"/>
                  </a:lnTo>
                  <a:lnTo>
                    <a:pt x="65" y="81"/>
                  </a:lnTo>
                  <a:lnTo>
                    <a:pt x="62" y="78"/>
                  </a:lnTo>
                  <a:lnTo>
                    <a:pt x="62" y="81"/>
                  </a:lnTo>
                  <a:lnTo>
                    <a:pt x="58" y="81"/>
                  </a:lnTo>
                  <a:lnTo>
                    <a:pt x="55" y="81"/>
                  </a:lnTo>
                  <a:lnTo>
                    <a:pt x="52" y="78"/>
                  </a:lnTo>
                  <a:lnTo>
                    <a:pt x="52" y="74"/>
                  </a:lnTo>
                  <a:lnTo>
                    <a:pt x="49" y="74"/>
                  </a:lnTo>
                  <a:lnTo>
                    <a:pt x="49" y="71"/>
                  </a:lnTo>
                  <a:lnTo>
                    <a:pt x="49" y="68"/>
                  </a:lnTo>
                  <a:lnTo>
                    <a:pt x="45" y="65"/>
                  </a:lnTo>
                  <a:lnTo>
                    <a:pt x="45" y="61"/>
                  </a:lnTo>
                  <a:lnTo>
                    <a:pt x="45" y="58"/>
                  </a:lnTo>
                  <a:lnTo>
                    <a:pt x="45" y="61"/>
                  </a:lnTo>
                  <a:lnTo>
                    <a:pt x="42" y="61"/>
                  </a:lnTo>
                  <a:lnTo>
                    <a:pt x="42" y="65"/>
                  </a:lnTo>
                  <a:lnTo>
                    <a:pt x="39" y="65"/>
                  </a:lnTo>
                  <a:lnTo>
                    <a:pt x="39" y="68"/>
                  </a:lnTo>
                  <a:lnTo>
                    <a:pt x="36" y="68"/>
                  </a:lnTo>
                  <a:lnTo>
                    <a:pt x="36" y="71"/>
                  </a:lnTo>
                  <a:lnTo>
                    <a:pt x="32" y="71"/>
                  </a:lnTo>
                  <a:lnTo>
                    <a:pt x="29" y="71"/>
                  </a:lnTo>
                  <a:lnTo>
                    <a:pt x="26" y="71"/>
                  </a:lnTo>
                  <a:lnTo>
                    <a:pt x="23" y="71"/>
                  </a:lnTo>
                  <a:lnTo>
                    <a:pt x="19" y="71"/>
                  </a:lnTo>
                  <a:lnTo>
                    <a:pt x="19" y="68"/>
                  </a:lnTo>
                  <a:lnTo>
                    <a:pt x="19" y="71"/>
                  </a:lnTo>
                  <a:lnTo>
                    <a:pt x="16" y="68"/>
                  </a:lnTo>
                  <a:lnTo>
                    <a:pt x="16" y="65"/>
                  </a:lnTo>
                  <a:lnTo>
                    <a:pt x="13" y="65"/>
                  </a:lnTo>
                  <a:lnTo>
                    <a:pt x="10" y="65"/>
                  </a:lnTo>
                  <a:lnTo>
                    <a:pt x="6" y="61"/>
                  </a:lnTo>
                  <a:lnTo>
                    <a:pt x="6" y="58"/>
                  </a:lnTo>
                  <a:lnTo>
                    <a:pt x="6" y="55"/>
                  </a:lnTo>
                  <a:lnTo>
                    <a:pt x="3" y="55"/>
                  </a:lnTo>
                  <a:lnTo>
                    <a:pt x="3" y="52"/>
                  </a:lnTo>
                  <a:lnTo>
                    <a:pt x="0" y="48"/>
                  </a:lnTo>
                  <a:lnTo>
                    <a:pt x="3" y="48"/>
                  </a:lnTo>
                  <a:lnTo>
                    <a:pt x="6" y="45"/>
                  </a:lnTo>
                  <a:lnTo>
                    <a:pt x="3" y="45"/>
                  </a:lnTo>
                  <a:lnTo>
                    <a:pt x="6" y="45"/>
                  </a:lnTo>
                  <a:lnTo>
                    <a:pt x="6" y="42"/>
                  </a:lnTo>
                  <a:lnTo>
                    <a:pt x="10" y="42"/>
                  </a:lnTo>
                  <a:lnTo>
                    <a:pt x="10" y="39"/>
                  </a:lnTo>
                  <a:lnTo>
                    <a:pt x="13" y="39"/>
                  </a:lnTo>
                  <a:lnTo>
                    <a:pt x="16" y="39"/>
                  </a:lnTo>
                  <a:lnTo>
                    <a:pt x="19" y="39"/>
                  </a:lnTo>
                  <a:lnTo>
                    <a:pt x="23" y="39"/>
                  </a:lnTo>
                  <a:lnTo>
                    <a:pt x="26" y="39"/>
                  </a:lnTo>
                  <a:lnTo>
                    <a:pt x="26" y="42"/>
                  </a:lnTo>
                  <a:lnTo>
                    <a:pt x="26" y="39"/>
                  </a:lnTo>
                  <a:lnTo>
                    <a:pt x="29" y="42"/>
                  </a:lnTo>
                  <a:lnTo>
                    <a:pt x="29" y="45"/>
                  </a:lnTo>
                  <a:lnTo>
                    <a:pt x="32" y="45"/>
                  </a:lnTo>
                  <a:lnTo>
                    <a:pt x="36" y="48"/>
                  </a:lnTo>
                  <a:lnTo>
                    <a:pt x="36" y="52"/>
                  </a:lnTo>
                  <a:lnTo>
                    <a:pt x="39" y="48"/>
                  </a:lnTo>
                  <a:lnTo>
                    <a:pt x="39" y="52"/>
                  </a:lnTo>
                  <a:lnTo>
                    <a:pt x="42" y="52"/>
                  </a:lnTo>
                  <a:lnTo>
                    <a:pt x="42" y="48"/>
                  </a:lnTo>
                  <a:lnTo>
                    <a:pt x="39" y="48"/>
                  </a:lnTo>
                  <a:lnTo>
                    <a:pt x="39" y="45"/>
                  </a:lnTo>
                  <a:lnTo>
                    <a:pt x="42" y="45"/>
                  </a:lnTo>
                  <a:lnTo>
                    <a:pt x="39" y="42"/>
                  </a:lnTo>
                  <a:lnTo>
                    <a:pt x="36" y="39"/>
                  </a:lnTo>
                  <a:lnTo>
                    <a:pt x="32" y="35"/>
                  </a:lnTo>
                  <a:lnTo>
                    <a:pt x="32" y="32"/>
                  </a:lnTo>
                  <a:lnTo>
                    <a:pt x="29" y="32"/>
                  </a:lnTo>
                  <a:lnTo>
                    <a:pt x="29" y="29"/>
                  </a:lnTo>
                  <a:lnTo>
                    <a:pt x="29" y="26"/>
                  </a:lnTo>
                  <a:lnTo>
                    <a:pt x="26" y="26"/>
                  </a:lnTo>
                  <a:lnTo>
                    <a:pt x="26" y="22"/>
                  </a:lnTo>
                  <a:lnTo>
                    <a:pt x="29" y="22"/>
                  </a:lnTo>
                  <a:lnTo>
                    <a:pt x="26" y="19"/>
                  </a:lnTo>
                  <a:lnTo>
                    <a:pt x="29" y="19"/>
                  </a:lnTo>
                  <a:lnTo>
                    <a:pt x="26" y="16"/>
                  </a:lnTo>
                  <a:lnTo>
                    <a:pt x="29" y="16"/>
                  </a:lnTo>
                  <a:lnTo>
                    <a:pt x="26" y="16"/>
                  </a:lnTo>
                  <a:lnTo>
                    <a:pt x="29" y="13"/>
                  </a:lnTo>
                  <a:lnTo>
                    <a:pt x="32" y="13"/>
                  </a:lnTo>
                  <a:lnTo>
                    <a:pt x="29" y="9"/>
                  </a:lnTo>
                  <a:lnTo>
                    <a:pt x="32" y="9"/>
                  </a:lnTo>
                  <a:lnTo>
                    <a:pt x="32" y="6"/>
                  </a:lnTo>
                  <a:lnTo>
                    <a:pt x="36" y="6"/>
                  </a:lnTo>
                  <a:lnTo>
                    <a:pt x="36" y="3"/>
                  </a:lnTo>
                  <a:lnTo>
                    <a:pt x="39" y="3"/>
                  </a:lnTo>
                  <a:lnTo>
                    <a:pt x="42" y="3"/>
                  </a:lnTo>
                  <a:lnTo>
                    <a:pt x="45" y="3"/>
                  </a:lnTo>
                  <a:lnTo>
                    <a:pt x="45" y="0"/>
                  </a:lnTo>
                  <a:lnTo>
                    <a:pt x="45" y="3"/>
                  </a:lnTo>
                  <a:lnTo>
                    <a:pt x="49" y="3"/>
                  </a:lnTo>
                  <a:lnTo>
                    <a:pt x="52" y="3"/>
                  </a:lnTo>
                  <a:lnTo>
                    <a:pt x="55" y="6"/>
                  </a:lnTo>
                  <a:lnTo>
                    <a:pt x="55" y="3"/>
                  </a:lnTo>
                  <a:lnTo>
                    <a:pt x="55" y="6"/>
                  </a:lnTo>
                  <a:lnTo>
                    <a:pt x="58" y="6"/>
                  </a:lnTo>
                  <a:lnTo>
                    <a:pt x="62" y="6"/>
                  </a:lnTo>
                  <a:lnTo>
                    <a:pt x="62" y="9"/>
                  </a:lnTo>
                  <a:lnTo>
                    <a:pt x="65" y="13"/>
                  </a:lnTo>
                  <a:lnTo>
                    <a:pt x="68" y="16"/>
                  </a:lnTo>
                  <a:lnTo>
                    <a:pt x="68" y="19"/>
                  </a:lnTo>
                  <a:lnTo>
                    <a:pt x="68" y="22"/>
                  </a:lnTo>
                  <a:lnTo>
                    <a:pt x="68" y="26"/>
                  </a:lnTo>
                  <a:lnTo>
                    <a:pt x="65" y="26"/>
                  </a:lnTo>
                  <a:lnTo>
                    <a:pt x="65" y="29"/>
                  </a:lnTo>
                  <a:lnTo>
                    <a:pt x="62" y="29"/>
                  </a:lnTo>
                  <a:lnTo>
                    <a:pt x="58" y="32"/>
                  </a:lnTo>
                  <a:lnTo>
                    <a:pt x="55" y="32"/>
                  </a:lnTo>
                  <a:lnTo>
                    <a:pt x="52" y="35"/>
                  </a:lnTo>
                  <a:lnTo>
                    <a:pt x="49" y="35"/>
                  </a:lnTo>
                  <a:lnTo>
                    <a:pt x="49" y="39"/>
                  </a:lnTo>
                  <a:lnTo>
                    <a:pt x="45" y="39"/>
                  </a:lnTo>
                  <a:lnTo>
                    <a:pt x="49" y="39"/>
                  </a:lnTo>
                  <a:lnTo>
                    <a:pt x="52" y="39"/>
                  </a:lnTo>
                  <a:lnTo>
                    <a:pt x="52" y="35"/>
                  </a:lnTo>
                  <a:lnTo>
                    <a:pt x="55" y="35"/>
                  </a:lnTo>
                  <a:lnTo>
                    <a:pt x="58" y="35"/>
                  </a:lnTo>
                  <a:lnTo>
                    <a:pt x="58" y="32"/>
                  </a:lnTo>
                  <a:lnTo>
                    <a:pt x="62" y="32"/>
                  </a:lnTo>
                  <a:lnTo>
                    <a:pt x="62" y="29"/>
                  </a:lnTo>
                  <a:lnTo>
                    <a:pt x="65" y="29"/>
                  </a:lnTo>
                  <a:lnTo>
                    <a:pt x="65" y="26"/>
                  </a:lnTo>
                  <a:lnTo>
                    <a:pt x="68" y="26"/>
                  </a:lnTo>
                  <a:lnTo>
                    <a:pt x="71" y="26"/>
                  </a:lnTo>
                  <a:lnTo>
                    <a:pt x="75" y="22"/>
                  </a:lnTo>
                  <a:lnTo>
                    <a:pt x="75" y="26"/>
                  </a:lnTo>
                  <a:lnTo>
                    <a:pt x="78" y="22"/>
                  </a:lnTo>
                  <a:lnTo>
                    <a:pt x="78" y="26"/>
                  </a:lnTo>
                  <a:lnTo>
                    <a:pt x="81" y="26"/>
                  </a:lnTo>
                  <a:lnTo>
                    <a:pt x="81" y="29"/>
                  </a:lnTo>
                  <a:lnTo>
                    <a:pt x="84" y="29"/>
                  </a:lnTo>
                  <a:lnTo>
                    <a:pt x="84" y="32"/>
                  </a:lnTo>
                  <a:lnTo>
                    <a:pt x="84" y="29"/>
                  </a:lnTo>
                  <a:lnTo>
                    <a:pt x="88" y="32"/>
                  </a:lnTo>
                  <a:lnTo>
                    <a:pt x="91" y="32"/>
                  </a:lnTo>
                  <a:lnTo>
                    <a:pt x="91" y="35"/>
                  </a:lnTo>
                  <a:lnTo>
                    <a:pt x="94" y="39"/>
                  </a:lnTo>
                  <a:lnTo>
                    <a:pt x="94" y="42"/>
                  </a:lnTo>
                  <a:lnTo>
                    <a:pt x="94" y="45"/>
                  </a:lnTo>
                  <a:lnTo>
                    <a:pt x="94" y="48"/>
                  </a:lnTo>
                  <a:lnTo>
                    <a:pt x="91" y="52"/>
                  </a:lnTo>
                  <a:lnTo>
                    <a:pt x="94" y="52"/>
                  </a:lnTo>
                  <a:lnTo>
                    <a:pt x="91" y="52"/>
                  </a:lnTo>
                  <a:lnTo>
                    <a:pt x="91" y="55"/>
                  </a:lnTo>
                  <a:lnTo>
                    <a:pt x="88" y="55"/>
                  </a:lnTo>
                  <a:lnTo>
                    <a:pt x="88" y="58"/>
                  </a:lnTo>
                  <a:lnTo>
                    <a:pt x="84" y="58"/>
                  </a:lnTo>
                  <a:lnTo>
                    <a:pt x="81" y="58"/>
                  </a:lnTo>
                  <a:lnTo>
                    <a:pt x="78" y="58"/>
                  </a:lnTo>
                  <a:lnTo>
                    <a:pt x="78" y="55"/>
                  </a:lnTo>
                  <a:lnTo>
                    <a:pt x="75" y="52"/>
                  </a:lnTo>
                  <a:lnTo>
                    <a:pt x="71" y="52"/>
                  </a:lnTo>
                  <a:lnTo>
                    <a:pt x="71" y="48"/>
                  </a:lnTo>
                  <a:lnTo>
                    <a:pt x="68" y="48"/>
                  </a:lnTo>
                  <a:lnTo>
                    <a:pt x="68" y="45"/>
                  </a:lnTo>
                  <a:lnTo>
                    <a:pt x="65" y="45"/>
                  </a:lnTo>
                  <a:lnTo>
                    <a:pt x="62" y="45"/>
                  </a:lnTo>
                  <a:lnTo>
                    <a:pt x="58" y="48"/>
                  </a:lnTo>
                  <a:lnTo>
                    <a:pt x="55" y="48"/>
                  </a:lnTo>
                  <a:lnTo>
                    <a:pt x="55" y="52"/>
                  </a:lnTo>
                  <a:lnTo>
                    <a:pt x="55" y="55"/>
                  </a:lnTo>
                  <a:lnTo>
                    <a:pt x="52" y="58"/>
                  </a:lnTo>
                </a:path>
              </a:pathLst>
            </a:custGeom>
            <a:solidFill>
              <a:srgbClr val="66CCFF"/>
            </a:solidFill>
            <a:ln w="4763">
              <a:solidFill>
                <a:srgbClr val="000000"/>
              </a:solidFill>
              <a:round/>
              <a:headEnd/>
              <a:tailEnd/>
            </a:ln>
          </p:spPr>
          <p:txBody>
            <a:bodyPr rot="10800000" vert="eaVert"/>
            <a:lstStyle/>
            <a:p>
              <a:endParaRPr lang="it-IT"/>
            </a:p>
          </p:txBody>
        </p:sp>
      </p:grpSp>
      <p:grpSp>
        <p:nvGrpSpPr>
          <p:cNvPr id="19552" name="Group 153"/>
          <p:cNvGrpSpPr>
            <a:grpSpLocks/>
          </p:cNvGrpSpPr>
          <p:nvPr/>
        </p:nvGrpSpPr>
        <p:grpSpPr bwMode="auto">
          <a:xfrm rot="3820191" flipH="1">
            <a:off x="2320132" y="2845594"/>
            <a:ext cx="395287" cy="638175"/>
            <a:chOff x="4898" y="346"/>
            <a:chExt cx="477" cy="499"/>
          </a:xfrm>
        </p:grpSpPr>
        <p:sp>
          <p:nvSpPr>
            <p:cNvPr id="19633" name="Freeform 370"/>
            <p:cNvSpPr>
              <a:spLocks/>
            </p:cNvSpPr>
            <p:nvPr/>
          </p:nvSpPr>
          <p:spPr bwMode="auto">
            <a:xfrm>
              <a:off x="4898" y="346"/>
              <a:ext cx="477" cy="499"/>
            </a:xfrm>
            <a:custGeom>
              <a:avLst/>
              <a:gdLst>
                <a:gd name="T0" fmla="*/ 2147483647 w 153"/>
                <a:gd name="T1" fmla="*/ 2147483647 h 150"/>
                <a:gd name="T2" fmla="*/ 2147483647 w 153"/>
                <a:gd name="T3" fmla="*/ 2147483647 h 150"/>
                <a:gd name="T4" fmla="*/ 2147483647 w 153"/>
                <a:gd name="T5" fmla="*/ 2147483647 h 150"/>
                <a:gd name="T6" fmla="*/ 2147483647 w 153"/>
                <a:gd name="T7" fmla="*/ 2147483647 h 150"/>
                <a:gd name="T8" fmla="*/ 2147483647 w 153"/>
                <a:gd name="T9" fmla="*/ 2147483647 h 150"/>
                <a:gd name="T10" fmla="*/ 2147483647 w 153"/>
                <a:gd name="T11" fmla="*/ 2147483647 h 150"/>
                <a:gd name="T12" fmla="*/ 2147483647 w 153"/>
                <a:gd name="T13" fmla="*/ 2147483647 h 150"/>
                <a:gd name="T14" fmla="*/ 0 w 153"/>
                <a:gd name="T15" fmla="*/ 2147483647 h 150"/>
                <a:gd name="T16" fmla="*/ 2147483647 w 153"/>
                <a:gd name="T17" fmla="*/ 2147483647 h 150"/>
                <a:gd name="T18" fmla="*/ 2147483647 w 153"/>
                <a:gd name="T19" fmla="*/ 2147483647 h 150"/>
                <a:gd name="T20" fmla="*/ 2147483647 w 153"/>
                <a:gd name="T21" fmla="*/ 2147483647 h 150"/>
                <a:gd name="T22" fmla="*/ 2147483647 w 153"/>
                <a:gd name="T23" fmla="*/ 2147483647 h 150"/>
                <a:gd name="T24" fmla="*/ 2147483647 w 153"/>
                <a:gd name="T25" fmla="*/ 2147483647 h 150"/>
                <a:gd name="T26" fmla="*/ 2147483647 w 153"/>
                <a:gd name="T27" fmla="*/ 2147483647 h 150"/>
                <a:gd name="T28" fmla="*/ 2147483647 w 153"/>
                <a:gd name="T29" fmla="*/ 2147483647 h 150"/>
                <a:gd name="T30" fmla="*/ 2147483647 w 153"/>
                <a:gd name="T31" fmla="*/ 2147483647 h 150"/>
                <a:gd name="T32" fmla="*/ 2147483647 w 153"/>
                <a:gd name="T33" fmla="*/ 2147483647 h 150"/>
                <a:gd name="T34" fmla="*/ 2147483647 w 153"/>
                <a:gd name="T35" fmla="*/ 0 h 150"/>
                <a:gd name="T36" fmla="*/ 2147483647 w 153"/>
                <a:gd name="T37" fmla="*/ 2147483647 h 150"/>
                <a:gd name="T38" fmla="*/ 2147483647 w 153"/>
                <a:gd name="T39" fmla="*/ 2147483647 h 150"/>
                <a:gd name="T40" fmla="*/ 2147483647 w 153"/>
                <a:gd name="T41" fmla="*/ 2147483647 h 150"/>
                <a:gd name="T42" fmla="*/ 2147483647 w 153"/>
                <a:gd name="T43" fmla="*/ 2147483647 h 150"/>
                <a:gd name="T44" fmla="*/ 2147483647 w 153"/>
                <a:gd name="T45" fmla="*/ 2147483647 h 150"/>
                <a:gd name="T46" fmla="*/ 2147483647 w 153"/>
                <a:gd name="T47" fmla="*/ 2147483647 h 150"/>
                <a:gd name="T48" fmla="*/ 2147483647 w 153"/>
                <a:gd name="T49" fmla="*/ 2147483647 h 150"/>
                <a:gd name="T50" fmla="*/ 2147483647 w 153"/>
                <a:gd name="T51" fmla="*/ 2147483647 h 150"/>
                <a:gd name="T52" fmla="*/ 2147483647 w 153"/>
                <a:gd name="T53" fmla="*/ 2147483647 h 150"/>
                <a:gd name="T54" fmla="*/ 2147483647 w 153"/>
                <a:gd name="T55" fmla="*/ 2147483647 h 150"/>
                <a:gd name="T56" fmla="*/ 2147483647 w 153"/>
                <a:gd name="T57" fmla="*/ 2147483647 h 150"/>
                <a:gd name="T58" fmla="*/ 2147483647 w 153"/>
                <a:gd name="T59" fmla="*/ 2147483647 h 150"/>
                <a:gd name="T60" fmla="*/ 2147483647 w 153"/>
                <a:gd name="T61" fmla="*/ 2147483647 h 150"/>
                <a:gd name="T62" fmla="*/ 2147483647 w 153"/>
                <a:gd name="T63" fmla="*/ 2147483647 h 150"/>
                <a:gd name="T64" fmla="*/ 2147483647 w 153"/>
                <a:gd name="T65" fmla="*/ 2147483647 h 150"/>
                <a:gd name="T66" fmla="*/ 2147483647 w 153"/>
                <a:gd name="T67" fmla="*/ 2147483647 h 150"/>
                <a:gd name="T68" fmla="*/ 2147483647 w 153"/>
                <a:gd name="T69" fmla="*/ 2147483647 h 150"/>
                <a:gd name="T70" fmla="*/ 2147483647 w 153"/>
                <a:gd name="T71" fmla="*/ 2147483647 h 150"/>
                <a:gd name="T72" fmla="*/ 2147483647 w 153"/>
                <a:gd name="T73" fmla="*/ 2147483647 h 150"/>
                <a:gd name="T74" fmla="*/ 2147483647 w 153"/>
                <a:gd name="T75" fmla="*/ 2147483647 h 150"/>
                <a:gd name="T76" fmla="*/ 2147483647 w 153"/>
                <a:gd name="T77" fmla="*/ 2147483647 h 150"/>
                <a:gd name="T78" fmla="*/ 2147483647 w 153"/>
                <a:gd name="T79" fmla="*/ 2147483647 h 150"/>
                <a:gd name="T80" fmla="*/ 2147483647 w 153"/>
                <a:gd name="T81" fmla="*/ 2147483647 h 150"/>
                <a:gd name="T82" fmla="*/ 2147483647 w 153"/>
                <a:gd name="T83" fmla="*/ 2147483647 h 150"/>
                <a:gd name="T84" fmla="*/ 2147483647 w 153"/>
                <a:gd name="T85" fmla="*/ 2147483647 h 150"/>
                <a:gd name="T86" fmla="*/ 2147483647 w 153"/>
                <a:gd name="T87" fmla="*/ 2147483647 h 150"/>
                <a:gd name="T88" fmla="*/ 2147483647 w 153"/>
                <a:gd name="T89" fmla="*/ 2147483647 h 150"/>
                <a:gd name="T90" fmla="*/ 2147483647 w 153"/>
                <a:gd name="T91" fmla="*/ 2147483647 h 150"/>
                <a:gd name="T92" fmla="*/ 2147483647 w 153"/>
                <a:gd name="T93" fmla="*/ 2147483647 h 150"/>
                <a:gd name="T94" fmla="*/ 2147483647 w 153"/>
                <a:gd name="T95" fmla="*/ 2147483647 h 150"/>
                <a:gd name="T96" fmla="*/ 2147483647 w 153"/>
                <a:gd name="T97" fmla="*/ 2147483647 h 150"/>
                <a:gd name="T98" fmla="*/ 2147483647 w 153"/>
                <a:gd name="T99" fmla="*/ 2147483647 h 150"/>
                <a:gd name="T100" fmla="*/ 2147483647 w 153"/>
                <a:gd name="T101" fmla="*/ 2147483647 h 15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3"/>
                <a:gd name="T154" fmla="*/ 0 h 150"/>
                <a:gd name="T155" fmla="*/ 153 w 153"/>
                <a:gd name="T156" fmla="*/ 150 h 15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3" h="150">
                  <a:moveTo>
                    <a:pt x="58" y="130"/>
                  </a:moveTo>
                  <a:lnTo>
                    <a:pt x="55" y="130"/>
                  </a:lnTo>
                  <a:lnTo>
                    <a:pt x="55" y="127"/>
                  </a:lnTo>
                  <a:lnTo>
                    <a:pt x="52" y="124"/>
                  </a:lnTo>
                  <a:lnTo>
                    <a:pt x="49" y="121"/>
                  </a:lnTo>
                  <a:lnTo>
                    <a:pt x="45" y="121"/>
                  </a:lnTo>
                  <a:lnTo>
                    <a:pt x="42" y="117"/>
                  </a:lnTo>
                  <a:lnTo>
                    <a:pt x="39" y="121"/>
                  </a:lnTo>
                  <a:lnTo>
                    <a:pt x="36" y="117"/>
                  </a:lnTo>
                  <a:lnTo>
                    <a:pt x="32" y="117"/>
                  </a:lnTo>
                  <a:lnTo>
                    <a:pt x="29" y="121"/>
                  </a:lnTo>
                  <a:lnTo>
                    <a:pt x="26" y="117"/>
                  </a:lnTo>
                  <a:lnTo>
                    <a:pt x="23" y="117"/>
                  </a:lnTo>
                  <a:lnTo>
                    <a:pt x="16" y="114"/>
                  </a:lnTo>
                  <a:lnTo>
                    <a:pt x="13" y="111"/>
                  </a:lnTo>
                  <a:lnTo>
                    <a:pt x="10" y="108"/>
                  </a:lnTo>
                  <a:lnTo>
                    <a:pt x="6" y="101"/>
                  </a:lnTo>
                  <a:lnTo>
                    <a:pt x="6" y="98"/>
                  </a:lnTo>
                  <a:lnTo>
                    <a:pt x="3" y="95"/>
                  </a:lnTo>
                  <a:lnTo>
                    <a:pt x="3" y="88"/>
                  </a:lnTo>
                  <a:lnTo>
                    <a:pt x="3" y="82"/>
                  </a:lnTo>
                  <a:lnTo>
                    <a:pt x="0" y="78"/>
                  </a:lnTo>
                  <a:lnTo>
                    <a:pt x="3" y="75"/>
                  </a:lnTo>
                  <a:lnTo>
                    <a:pt x="0" y="75"/>
                  </a:lnTo>
                  <a:lnTo>
                    <a:pt x="3" y="72"/>
                  </a:lnTo>
                  <a:lnTo>
                    <a:pt x="6" y="69"/>
                  </a:lnTo>
                  <a:lnTo>
                    <a:pt x="10" y="69"/>
                  </a:lnTo>
                  <a:lnTo>
                    <a:pt x="13" y="65"/>
                  </a:lnTo>
                  <a:lnTo>
                    <a:pt x="13" y="69"/>
                  </a:lnTo>
                  <a:lnTo>
                    <a:pt x="16" y="65"/>
                  </a:lnTo>
                  <a:lnTo>
                    <a:pt x="19" y="62"/>
                  </a:lnTo>
                  <a:lnTo>
                    <a:pt x="23" y="62"/>
                  </a:lnTo>
                  <a:lnTo>
                    <a:pt x="26" y="59"/>
                  </a:lnTo>
                  <a:lnTo>
                    <a:pt x="26" y="52"/>
                  </a:lnTo>
                  <a:lnTo>
                    <a:pt x="23" y="46"/>
                  </a:lnTo>
                  <a:lnTo>
                    <a:pt x="23" y="39"/>
                  </a:lnTo>
                  <a:lnTo>
                    <a:pt x="23" y="36"/>
                  </a:lnTo>
                  <a:lnTo>
                    <a:pt x="23" y="33"/>
                  </a:lnTo>
                  <a:lnTo>
                    <a:pt x="26" y="30"/>
                  </a:lnTo>
                  <a:lnTo>
                    <a:pt x="23" y="23"/>
                  </a:lnTo>
                  <a:lnTo>
                    <a:pt x="19" y="20"/>
                  </a:lnTo>
                  <a:lnTo>
                    <a:pt x="23" y="17"/>
                  </a:lnTo>
                  <a:lnTo>
                    <a:pt x="19" y="17"/>
                  </a:lnTo>
                  <a:lnTo>
                    <a:pt x="23" y="13"/>
                  </a:lnTo>
                  <a:lnTo>
                    <a:pt x="23" y="10"/>
                  </a:lnTo>
                  <a:lnTo>
                    <a:pt x="23" y="7"/>
                  </a:lnTo>
                  <a:lnTo>
                    <a:pt x="26" y="7"/>
                  </a:lnTo>
                  <a:lnTo>
                    <a:pt x="29" y="4"/>
                  </a:lnTo>
                  <a:lnTo>
                    <a:pt x="32" y="0"/>
                  </a:lnTo>
                  <a:lnTo>
                    <a:pt x="36" y="0"/>
                  </a:lnTo>
                  <a:lnTo>
                    <a:pt x="39" y="0"/>
                  </a:lnTo>
                  <a:lnTo>
                    <a:pt x="42" y="4"/>
                  </a:lnTo>
                  <a:lnTo>
                    <a:pt x="45" y="0"/>
                  </a:lnTo>
                  <a:lnTo>
                    <a:pt x="49" y="4"/>
                  </a:lnTo>
                  <a:lnTo>
                    <a:pt x="49" y="0"/>
                  </a:lnTo>
                  <a:lnTo>
                    <a:pt x="52" y="4"/>
                  </a:lnTo>
                  <a:lnTo>
                    <a:pt x="58" y="4"/>
                  </a:lnTo>
                  <a:lnTo>
                    <a:pt x="58" y="7"/>
                  </a:lnTo>
                  <a:lnTo>
                    <a:pt x="62" y="4"/>
                  </a:lnTo>
                  <a:lnTo>
                    <a:pt x="65" y="7"/>
                  </a:lnTo>
                  <a:lnTo>
                    <a:pt x="68" y="4"/>
                  </a:lnTo>
                  <a:lnTo>
                    <a:pt x="68" y="7"/>
                  </a:lnTo>
                  <a:lnTo>
                    <a:pt x="75" y="7"/>
                  </a:lnTo>
                  <a:lnTo>
                    <a:pt x="78" y="10"/>
                  </a:lnTo>
                  <a:lnTo>
                    <a:pt x="81" y="10"/>
                  </a:lnTo>
                  <a:lnTo>
                    <a:pt x="88" y="10"/>
                  </a:lnTo>
                  <a:lnTo>
                    <a:pt x="88" y="13"/>
                  </a:lnTo>
                  <a:lnTo>
                    <a:pt x="91" y="10"/>
                  </a:lnTo>
                  <a:lnTo>
                    <a:pt x="97" y="13"/>
                  </a:lnTo>
                  <a:lnTo>
                    <a:pt x="101" y="10"/>
                  </a:lnTo>
                  <a:lnTo>
                    <a:pt x="104" y="10"/>
                  </a:lnTo>
                  <a:lnTo>
                    <a:pt x="110" y="10"/>
                  </a:lnTo>
                  <a:lnTo>
                    <a:pt x="110" y="7"/>
                  </a:lnTo>
                  <a:lnTo>
                    <a:pt x="114" y="10"/>
                  </a:lnTo>
                  <a:lnTo>
                    <a:pt x="117" y="10"/>
                  </a:lnTo>
                  <a:lnTo>
                    <a:pt x="120" y="10"/>
                  </a:lnTo>
                  <a:lnTo>
                    <a:pt x="123" y="10"/>
                  </a:lnTo>
                  <a:lnTo>
                    <a:pt x="123" y="7"/>
                  </a:lnTo>
                  <a:lnTo>
                    <a:pt x="130" y="7"/>
                  </a:lnTo>
                  <a:lnTo>
                    <a:pt x="133" y="4"/>
                  </a:lnTo>
                  <a:lnTo>
                    <a:pt x="133" y="7"/>
                  </a:lnTo>
                  <a:lnTo>
                    <a:pt x="136" y="7"/>
                  </a:lnTo>
                  <a:lnTo>
                    <a:pt x="140" y="7"/>
                  </a:lnTo>
                  <a:lnTo>
                    <a:pt x="143" y="10"/>
                  </a:lnTo>
                  <a:lnTo>
                    <a:pt x="143" y="13"/>
                  </a:lnTo>
                  <a:lnTo>
                    <a:pt x="143" y="20"/>
                  </a:lnTo>
                  <a:lnTo>
                    <a:pt x="146" y="20"/>
                  </a:lnTo>
                  <a:lnTo>
                    <a:pt x="149" y="23"/>
                  </a:lnTo>
                  <a:lnTo>
                    <a:pt x="153" y="30"/>
                  </a:lnTo>
                  <a:lnTo>
                    <a:pt x="153" y="33"/>
                  </a:lnTo>
                  <a:lnTo>
                    <a:pt x="149" y="36"/>
                  </a:lnTo>
                  <a:lnTo>
                    <a:pt x="153" y="39"/>
                  </a:lnTo>
                  <a:lnTo>
                    <a:pt x="149" y="43"/>
                  </a:lnTo>
                  <a:lnTo>
                    <a:pt x="146" y="49"/>
                  </a:lnTo>
                  <a:lnTo>
                    <a:pt x="146" y="52"/>
                  </a:lnTo>
                  <a:lnTo>
                    <a:pt x="143" y="56"/>
                  </a:lnTo>
                  <a:lnTo>
                    <a:pt x="140" y="59"/>
                  </a:lnTo>
                  <a:lnTo>
                    <a:pt x="136" y="62"/>
                  </a:lnTo>
                  <a:lnTo>
                    <a:pt x="140" y="62"/>
                  </a:lnTo>
                  <a:lnTo>
                    <a:pt x="136" y="65"/>
                  </a:lnTo>
                  <a:lnTo>
                    <a:pt x="140" y="72"/>
                  </a:lnTo>
                  <a:lnTo>
                    <a:pt x="140" y="75"/>
                  </a:lnTo>
                  <a:lnTo>
                    <a:pt x="140" y="82"/>
                  </a:lnTo>
                  <a:lnTo>
                    <a:pt x="140" y="85"/>
                  </a:lnTo>
                  <a:lnTo>
                    <a:pt x="143" y="88"/>
                  </a:lnTo>
                  <a:lnTo>
                    <a:pt x="146" y="91"/>
                  </a:lnTo>
                  <a:lnTo>
                    <a:pt x="146" y="95"/>
                  </a:lnTo>
                  <a:lnTo>
                    <a:pt x="149" y="98"/>
                  </a:lnTo>
                  <a:lnTo>
                    <a:pt x="153" y="101"/>
                  </a:lnTo>
                  <a:lnTo>
                    <a:pt x="149" y="101"/>
                  </a:lnTo>
                  <a:lnTo>
                    <a:pt x="153" y="104"/>
                  </a:lnTo>
                  <a:lnTo>
                    <a:pt x="149" y="108"/>
                  </a:lnTo>
                  <a:lnTo>
                    <a:pt x="146" y="108"/>
                  </a:lnTo>
                  <a:lnTo>
                    <a:pt x="149" y="111"/>
                  </a:lnTo>
                  <a:lnTo>
                    <a:pt x="146" y="114"/>
                  </a:lnTo>
                  <a:lnTo>
                    <a:pt x="146" y="117"/>
                  </a:lnTo>
                  <a:lnTo>
                    <a:pt x="146" y="121"/>
                  </a:lnTo>
                  <a:lnTo>
                    <a:pt x="143" y="121"/>
                  </a:lnTo>
                  <a:lnTo>
                    <a:pt x="140" y="124"/>
                  </a:lnTo>
                  <a:lnTo>
                    <a:pt x="136" y="127"/>
                  </a:lnTo>
                  <a:lnTo>
                    <a:pt x="133" y="127"/>
                  </a:lnTo>
                  <a:lnTo>
                    <a:pt x="130" y="130"/>
                  </a:lnTo>
                  <a:lnTo>
                    <a:pt x="130" y="134"/>
                  </a:lnTo>
                  <a:lnTo>
                    <a:pt x="123" y="134"/>
                  </a:lnTo>
                  <a:lnTo>
                    <a:pt x="120" y="130"/>
                  </a:lnTo>
                  <a:lnTo>
                    <a:pt x="117" y="130"/>
                  </a:lnTo>
                  <a:lnTo>
                    <a:pt x="114" y="127"/>
                  </a:lnTo>
                  <a:lnTo>
                    <a:pt x="110" y="130"/>
                  </a:lnTo>
                  <a:lnTo>
                    <a:pt x="107" y="130"/>
                  </a:lnTo>
                  <a:lnTo>
                    <a:pt x="107" y="127"/>
                  </a:lnTo>
                  <a:lnTo>
                    <a:pt x="104" y="130"/>
                  </a:lnTo>
                  <a:lnTo>
                    <a:pt x="101" y="134"/>
                  </a:lnTo>
                  <a:lnTo>
                    <a:pt x="97" y="134"/>
                  </a:lnTo>
                  <a:lnTo>
                    <a:pt x="94" y="137"/>
                  </a:lnTo>
                  <a:lnTo>
                    <a:pt x="94" y="140"/>
                  </a:lnTo>
                  <a:lnTo>
                    <a:pt x="91" y="143"/>
                  </a:lnTo>
                  <a:lnTo>
                    <a:pt x="88" y="143"/>
                  </a:lnTo>
                  <a:lnTo>
                    <a:pt x="84" y="146"/>
                  </a:lnTo>
                  <a:lnTo>
                    <a:pt x="81" y="150"/>
                  </a:lnTo>
                  <a:lnTo>
                    <a:pt x="81" y="146"/>
                  </a:lnTo>
                  <a:lnTo>
                    <a:pt x="78" y="150"/>
                  </a:lnTo>
                  <a:lnTo>
                    <a:pt x="75" y="150"/>
                  </a:lnTo>
                  <a:lnTo>
                    <a:pt x="71" y="146"/>
                  </a:lnTo>
                  <a:lnTo>
                    <a:pt x="68" y="150"/>
                  </a:lnTo>
                  <a:lnTo>
                    <a:pt x="68" y="146"/>
                  </a:lnTo>
                  <a:lnTo>
                    <a:pt x="65" y="150"/>
                  </a:lnTo>
                  <a:lnTo>
                    <a:pt x="62" y="146"/>
                  </a:lnTo>
                  <a:lnTo>
                    <a:pt x="62" y="143"/>
                  </a:lnTo>
                  <a:lnTo>
                    <a:pt x="62" y="140"/>
                  </a:lnTo>
                  <a:lnTo>
                    <a:pt x="62" y="137"/>
                  </a:lnTo>
                  <a:lnTo>
                    <a:pt x="62" y="134"/>
                  </a:lnTo>
                </a:path>
              </a:pathLst>
            </a:custGeom>
            <a:solidFill>
              <a:srgbClr val="FFFF99"/>
            </a:solidFill>
            <a:ln w="4763">
              <a:solidFill>
                <a:srgbClr val="000000"/>
              </a:solidFill>
              <a:round/>
              <a:headEnd/>
              <a:tailEnd/>
            </a:ln>
          </p:spPr>
          <p:txBody>
            <a:bodyPr rot="10800000" vert="eaVert"/>
            <a:lstStyle/>
            <a:p>
              <a:endParaRPr lang="it-IT"/>
            </a:p>
          </p:txBody>
        </p:sp>
        <p:sp>
          <p:nvSpPr>
            <p:cNvPr id="19634" name="Freeform 371"/>
            <p:cNvSpPr>
              <a:spLocks/>
            </p:cNvSpPr>
            <p:nvPr/>
          </p:nvSpPr>
          <p:spPr bwMode="auto">
            <a:xfrm>
              <a:off x="5020" y="446"/>
              <a:ext cx="293" cy="269"/>
            </a:xfrm>
            <a:custGeom>
              <a:avLst/>
              <a:gdLst>
                <a:gd name="T0" fmla="*/ 2147483647 w 94"/>
                <a:gd name="T1" fmla="*/ 2147483647 h 81"/>
                <a:gd name="T2" fmla="*/ 2147483647 w 94"/>
                <a:gd name="T3" fmla="*/ 2147483647 h 81"/>
                <a:gd name="T4" fmla="*/ 2147483647 w 94"/>
                <a:gd name="T5" fmla="*/ 2147483647 h 81"/>
                <a:gd name="T6" fmla="*/ 2147483647 w 94"/>
                <a:gd name="T7" fmla="*/ 2147483647 h 81"/>
                <a:gd name="T8" fmla="*/ 2147483647 w 94"/>
                <a:gd name="T9" fmla="*/ 2147483647 h 81"/>
                <a:gd name="T10" fmla="*/ 2147483647 w 94"/>
                <a:gd name="T11" fmla="*/ 2147483647 h 81"/>
                <a:gd name="T12" fmla="*/ 2147483647 w 94"/>
                <a:gd name="T13" fmla="*/ 2147483647 h 81"/>
                <a:gd name="T14" fmla="*/ 2147483647 w 94"/>
                <a:gd name="T15" fmla="*/ 2147483647 h 81"/>
                <a:gd name="T16" fmla="*/ 2147483647 w 94"/>
                <a:gd name="T17" fmla="*/ 2147483647 h 81"/>
                <a:gd name="T18" fmla="*/ 2147483647 w 94"/>
                <a:gd name="T19" fmla="*/ 2147483647 h 81"/>
                <a:gd name="T20" fmla="*/ 2147483647 w 94"/>
                <a:gd name="T21" fmla="*/ 2147483647 h 81"/>
                <a:gd name="T22" fmla="*/ 2147483647 w 94"/>
                <a:gd name="T23" fmla="*/ 2147483647 h 81"/>
                <a:gd name="T24" fmla="*/ 2147483647 w 94"/>
                <a:gd name="T25" fmla="*/ 2147483647 h 81"/>
                <a:gd name="T26" fmla="*/ 2147483647 w 94"/>
                <a:gd name="T27" fmla="*/ 2147483647 h 81"/>
                <a:gd name="T28" fmla="*/ 2147483647 w 94"/>
                <a:gd name="T29" fmla="*/ 2147483647 h 81"/>
                <a:gd name="T30" fmla="*/ 2147483647 w 94"/>
                <a:gd name="T31" fmla="*/ 2147483647 h 81"/>
                <a:gd name="T32" fmla="*/ 2147483647 w 94"/>
                <a:gd name="T33" fmla="*/ 2147483647 h 81"/>
                <a:gd name="T34" fmla="*/ 2147483647 w 94"/>
                <a:gd name="T35" fmla="*/ 2147483647 h 81"/>
                <a:gd name="T36" fmla="*/ 2147483647 w 94"/>
                <a:gd name="T37" fmla="*/ 2147483647 h 81"/>
                <a:gd name="T38" fmla="*/ 2147483647 w 94"/>
                <a:gd name="T39" fmla="*/ 2147483647 h 81"/>
                <a:gd name="T40" fmla="*/ 2147483647 w 94"/>
                <a:gd name="T41" fmla="*/ 2147483647 h 81"/>
                <a:gd name="T42" fmla="*/ 2147483647 w 94"/>
                <a:gd name="T43" fmla="*/ 2147483647 h 81"/>
                <a:gd name="T44" fmla="*/ 2147483647 w 94"/>
                <a:gd name="T45" fmla="*/ 2147483647 h 81"/>
                <a:gd name="T46" fmla="*/ 2147483647 w 94"/>
                <a:gd name="T47" fmla="*/ 2147483647 h 81"/>
                <a:gd name="T48" fmla="*/ 2147483647 w 94"/>
                <a:gd name="T49" fmla="*/ 2147483647 h 81"/>
                <a:gd name="T50" fmla="*/ 2147483647 w 94"/>
                <a:gd name="T51" fmla="*/ 2147483647 h 81"/>
                <a:gd name="T52" fmla="*/ 2147483647 w 94"/>
                <a:gd name="T53" fmla="*/ 2147483647 h 81"/>
                <a:gd name="T54" fmla="*/ 2147483647 w 94"/>
                <a:gd name="T55" fmla="*/ 2147483647 h 81"/>
                <a:gd name="T56" fmla="*/ 2147483647 w 94"/>
                <a:gd name="T57" fmla="*/ 2147483647 h 81"/>
                <a:gd name="T58" fmla="*/ 2147483647 w 94"/>
                <a:gd name="T59" fmla="*/ 2147483647 h 81"/>
                <a:gd name="T60" fmla="*/ 2147483647 w 94"/>
                <a:gd name="T61" fmla="*/ 2147483647 h 81"/>
                <a:gd name="T62" fmla="*/ 2147483647 w 94"/>
                <a:gd name="T63" fmla="*/ 2147483647 h 81"/>
                <a:gd name="T64" fmla="*/ 2147483647 w 94"/>
                <a:gd name="T65" fmla="*/ 2147483647 h 81"/>
                <a:gd name="T66" fmla="*/ 2147483647 w 94"/>
                <a:gd name="T67" fmla="*/ 2147483647 h 81"/>
                <a:gd name="T68" fmla="*/ 2147483647 w 94"/>
                <a:gd name="T69" fmla="*/ 2147483647 h 81"/>
                <a:gd name="T70" fmla="*/ 2147483647 w 94"/>
                <a:gd name="T71" fmla="*/ 2147483647 h 81"/>
                <a:gd name="T72" fmla="*/ 2147483647 w 94"/>
                <a:gd name="T73" fmla="*/ 2147483647 h 81"/>
                <a:gd name="T74" fmla="*/ 2147483647 w 94"/>
                <a:gd name="T75" fmla="*/ 2147483647 h 81"/>
                <a:gd name="T76" fmla="*/ 2147483647 w 94"/>
                <a:gd name="T77" fmla="*/ 2147483647 h 81"/>
                <a:gd name="T78" fmla="*/ 2147483647 w 94"/>
                <a:gd name="T79" fmla="*/ 2147483647 h 81"/>
                <a:gd name="T80" fmla="*/ 2147483647 w 94"/>
                <a:gd name="T81" fmla="*/ 2147483647 h 81"/>
                <a:gd name="T82" fmla="*/ 2147483647 w 94"/>
                <a:gd name="T83" fmla="*/ 2147483647 h 81"/>
                <a:gd name="T84" fmla="*/ 2147483647 w 94"/>
                <a:gd name="T85" fmla="*/ 2147483647 h 81"/>
                <a:gd name="T86" fmla="*/ 2147483647 w 94"/>
                <a:gd name="T87" fmla="*/ 2147483647 h 81"/>
                <a:gd name="T88" fmla="*/ 2147483647 w 94"/>
                <a:gd name="T89" fmla="*/ 2147483647 h 81"/>
                <a:gd name="T90" fmla="*/ 2147483647 w 94"/>
                <a:gd name="T91" fmla="*/ 2147483647 h 81"/>
                <a:gd name="T92" fmla="*/ 2147483647 w 94"/>
                <a:gd name="T93" fmla="*/ 2147483647 h 81"/>
                <a:gd name="T94" fmla="*/ 2147483647 w 94"/>
                <a:gd name="T95" fmla="*/ 2147483647 h 81"/>
                <a:gd name="T96" fmla="*/ 2147483647 w 94"/>
                <a:gd name="T97" fmla="*/ 2147483647 h 81"/>
                <a:gd name="T98" fmla="*/ 2147483647 w 94"/>
                <a:gd name="T99" fmla="*/ 2147483647 h 81"/>
                <a:gd name="T100" fmla="*/ 2147483647 w 94"/>
                <a:gd name="T101" fmla="*/ 2147483647 h 81"/>
                <a:gd name="T102" fmla="*/ 2147483647 w 94"/>
                <a:gd name="T103" fmla="*/ 2147483647 h 81"/>
                <a:gd name="T104" fmla="*/ 2147483647 w 94"/>
                <a:gd name="T105" fmla="*/ 2147483647 h 81"/>
                <a:gd name="T106" fmla="*/ 2147483647 w 94"/>
                <a:gd name="T107" fmla="*/ 2147483647 h 81"/>
                <a:gd name="T108" fmla="*/ 2147483647 w 94"/>
                <a:gd name="T109" fmla="*/ 2147483647 h 8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4"/>
                <a:gd name="T166" fmla="*/ 0 h 81"/>
                <a:gd name="T167" fmla="*/ 94 w 94"/>
                <a:gd name="T168" fmla="*/ 81 h 8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4" h="81">
                  <a:moveTo>
                    <a:pt x="52" y="52"/>
                  </a:moveTo>
                  <a:lnTo>
                    <a:pt x="55" y="52"/>
                  </a:lnTo>
                  <a:lnTo>
                    <a:pt x="55" y="55"/>
                  </a:lnTo>
                  <a:lnTo>
                    <a:pt x="55" y="52"/>
                  </a:lnTo>
                  <a:lnTo>
                    <a:pt x="58" y="55"/>
                  </a:lnTo>
                  <a:lnTo>
                    <a:pt x="58" y="52"/>
                  </a:lnTo>
                  <a:lnTo>
                    <a:pt x="62" y="52"/>
                  </a:lnTo>
                  <a:lnTo>
                    <a:pt x="62" y="55"/>
                  </a:lnTo>
                  <a:lnTo>
                    <a:pt x="65" y="55"/>
                  </a:lnTo>
                  <a:lnTo>
                    <a:pt x="68" y="58"/>
                  </a:lnTo>
                  <a:lnTo>
                    <a:pt x="71" y="61"/>
                  </a:lnTo>
                  <a:lnTo>
                    <a:pt x="68" y="61"/>
                  </a:lnTo>
                  <a:lnTo>
                    <a:pt x="71" y="65"/>
                  </a:lnTo>
                  <a:lnTo>
                    <a:pt x="71" y="68"/>
                  </a:lnTo>
                  <a:lnTo>
                    <a:pt x="71" y="71"/>
                  </a:lnTo>
                  <a:lnTo>
                    <a:pt x="71" y="74"/>
                  </a:lnTo>
                  <a:lnTo>
                    <a:pt x="68" y="74"/>
                  </a:lnTo>
                  <a:lnTo>
                    <a:pt x="68" y="78"/>
                  </a:lnTo>
                  <a:lnTo>
                    <a:pt x="65" y="81"/>
                  </a:lnTo>
                  <a:lnTo>
                    <a:pt x="62" y="78"/>
                  </a:lnTo>
                  <a:lnTo>
                    <a:pt x="62" y="81"/>
                  </a:lnTo>
                  <a:lnTo>
                    <a:pt x="58" y="81"/>
                  </a:lnTo>
                  <a:lnTo>
                    <a:pt x="55" y="81"/>
                  </a:lnTo>
                  <a:lnTo>
                    <a:pt x="52" y="78"/>
                  </a:lnTo>
                  <a:lnTo>
                    <a:pt x="52" y="74"/>
                  </a:lnTo>
                  <a:lnTo>
                    <a:pt x="49" y="74"/>
                  </a:lnTo>
                  <a:lnTo>
                    <a:pt x="49" y="71"/>
                  </a:lnTo>
                  <a:lnTo>
                    <a:pt x="49" y="68"/>
                  </a:lnTo>
                  <a:lnTo>
                    <a:pt x="45" y="65"/>
                  </a:lnTo>
                  <a:lnTo>
                    <a:pt x="45" y="61"/>
                  </a:lnTo>
                  <a:lnTo>
                    <a:pt x="45" y="58"/>
                  </a:lnTo>
                  <a:lnTo>
                    <a:pt x="45" y="61"/>
                  </a:lnTo>
                  <a:lnTo>
                    <a:pt x="42" y="61"/>
                  </a:lnTo>
                  <a:lnTo>
                    <a:pt x="42" y="65"/>
                  </a:lnTo>
                  <a:lnTo>
                    <a:pt x="39" y="65"/>
                  </a:lnTo>
                  <a:lnTo>
                    <a:pt x="39" y="68"/>
                  </a:lnTo>
                  <a:lnTo>
                    <a:pt x="36" y="68"/>
                  </a:lnTo>
                  <a:lnTo>
                    <a:pt x="36" y="71"/>
                  </a:lnTo>
                  <a:lnTo>
                    <a:pt x="32" y="71"/>
                  </a:lnTo>
                  <a:lnTo>
                    <a:pt x="29" y="71"/>
                  </a:lnTo>
                  <a:lnTo>
                    <a:pt x="26" y="71"/>
                  </a:lnTo>
                  <a:lnTo>
                    <a:pt x="23" y="71"/>
                  </a:lnTo>
                  <a:lnTo>
                    <a:pt x="19" y="71"/>
                  </a:lnTo>
                  <a:lnTo>
                    <a:pt x="19" y="68"/>
                  </a:lnTo>
                  <a:lnTo>
                    <a:pt x="19" y="71"/>
                  </a:lnTo>
                  <a:lnTo>
                    <a:pt x="16" y="68"/>
                  </a:lnTo>
                  <a:lnTo>
                    <a:pt x="16" y="65"/>
                  </a:lnTo>
                  <a:lnTo>
                    <a:pt x="13" y="65"/>
                  </a:lnTo>
                  <a:lnTo>
                    <a:pt x="10" y="65"/>
                  </a:lnTo>
                  <a:lnTo>
                    <a:pt x="6" y="61"/>
                  </a:lnTo>
                  <a:lnTo>
                    <a:pt x="6" y="58"/>
                  </a:lnTo>
                  <a:lnTo>
                    <a:pt x="6" y="55"/>
                  </a:lnTo>
                  <a:lnTo>
                    <a:pt x="3" y="55"/>
                  </a:lnTo>
                  <a:lnTo>
                    <a:pt x="3" y="52"/>
                  </a:lnTo>
                  <a:lnTo>
                    <a:pt x="0" y="48"/>
                  </a:lnTo>
                  <a:lnTo>
                    <a:pt x="3" y="48"/>
                  </a:lnTo>
                  <a:lnTo>
                    <a:pt x="6" y="45"/>
                  </a:lnTo>
                  <a:lnTo>
                    <a:pt x="3" y="45"/>
                  </a:lnTo>
                  <a:lnTo>
                    <a:pt x="6" y="45"/>
                  </a:lnTo>
                  <a:lnTo>
                    <a:pt x="6" y="42"/>
                  </a:lnTo>
                  <a:lnTo>
                    <a:pt x="10" y="42"/>
                  </a:lnTo>
                  <a:lnTo>
                    <a:pt x="10" y="39"/>
                  </a:lnTo>
                  <a:lnTo>
                    <a:pt x="13" y="39"/>
                  </a:lnTo>
                  <a:lnTo>
                    <a:pt x="16" y="39"/>
                  </a:lnTo>
                  <a:lnTo>
                    <a:pt x="19" y="39"/>
                  </a:lnTo>
                  <a:lnTo>
                    <a:pt x="23" y="39"/>
                  </a:lnTo>
                  <a:lnTo>
                    <a:pt x="26" y="39"/>
                  </a:lnTo>
                  <a:lnTo>
                    <a:pt x="26" y="42"/>
                  </a:lnTo>
                  <a:lnTo>
                    <a:pt x="26" y="39"/>
                  </a:lnTo>
                  <a:lnTo>
                    <a:pt x="29" y="42"/>
                  </a:lnTo>
                  <a:lnTo>
                    <a:pt x="29" y="45"/>
                  </a:lnTo>
                  <a:lnTo>
                    <a:pt x="32" y="45"/>
                  </a:lnTo>
                  <a:lnTo>
                    <a:pt x="36" y="48"/>
                  </a:lnTo>
                  <a:lnTo>
                    <a:pt x="36" y="52"/>
                  </a:lnTo>
                  <a:lnTo>
                    <a:pt x="39" y="48"/>
                  </a:lnTo>
                  <a:lnTo>
                    <a:pt x="39" y="52"/>
                  </a:lnTo>
                  <a:lnTo>
                    <a:pt x="42" y="52"/>
                  </a:lnTo>
                  <a:lnTo>
                    <a:pt x="42" y="48"/>
                  </a:lnTo>
                  <a:lnTo>
                    <a:pt x="39" y="48"/>
                  </a:lnTo>
                  <a:lnTo>
                    <a:pt x="39" y="45"/>
                  </a:lnTo>
                  <a:lnTo>
                    <a:pt x="42" y="45"/>
                  </a:lnTo>
                  <a:lnTo>
                    <a:pt x="39" y="42"/>
                  </a:lnTo>
                  <a:lnTo>
                    <a:pt x="36" y="39"/>
                  </a:lnTo>
                  <a:lnTo>
                    <a:pt x="32" y="35"/>
                  </a:lnTo>
                  <a:lnTo>
                    <a:pt x="32" y="32"/>
                  </a:lnTo>
                  <a:lnTo>
                    <a:pt x="29" y="32"/>
                  </a:lnTo>
                  <a:lnTo>
                    <a:pt x="29" y="29"/>
                  </a:lnTo>
                  <a:lnTo>
                    <a:pt x="29" y="26"/>
                  </a:lnTo>
                  <a:lnTo>
                    <a:pt x="26" y="26"/>
                  </a:lnTo>
                  <a:lnTo>
                    <a:pt x="26" y="22"/>
                  </a:lnTo>
                  <a:lnTo>
                    <a:pt x="29" y="22"/>
                  </a:lnTo>
                  <a:lnTo>
                    <a:pt x="26" y="19"/>
                  </a:lnTo>
                  <a:lnTo>
                    <a:pt x="29" y="19"/>
                  </a:lnTo>
                  <a:lnTo>
                    <a:pt x="26" y="16"/>
                  </a:lnTo>
                  <a:lnTo>
                    <a:pt x="29" y="16"/>
                  </a:lnTo>
                  <a:lnTo>
                    <a:pt x="26" y="16"/>
                  </a:lnTo>
                  <a:lnTo>
                    <a:pt x="29" y="13"/>
                  </a:lnTo>
                  <a:lnTo>
                    <a:pt x="32" y="13"/>
                  </a:lnTo>
                  <a:lnTo>
                    <a:pt x="29" y="9"/>
                  </a:lnTo>
                  <a:lnTo>
                    <a:pt x="32" y="9"/>
                  </a:lnTo>
                  <a:lnTo>
                    <a:pt x="32" y="6"/>
                  </a:lnTo>
                  <a:lnTo>
                    <a:pt x="36" y="6"/>
                  </a:lnTo>
                  <a:lnTo>
                    <a:pt x="36" y="3"/>
                  </a:lnTo>
                  <a:lnTo>
                    <a:pt x="39" y="3"/>
                  </a:lnTo>
                  <a:lnTo>
                    <a:pt x="42" y="3"/>
                  </a:lnTo>
                  <a:lnTo>
                    <a:pt x="45" y="3"/>
                  </a:lnTo>
                  <a:lnTo>
                    <a:pt x="45" y="0"/>
                  </a:lnTo>
                  <a:lnTo>
                    <a:pt x="45" y="3"/>
                  </a:lnTo>
                  <a:lnTo>
                    <a:pt x="49" y="3"/>
                  </a:lnTo>
                  <a:lnTo>
                    <a:pt x="52" y="3"/>
                  </a:lnTo>
                  <a:lnTo>
                    <a:pt x="55" y="6"/>
                  </a:lnTo>
                  <a:lnTo>
                    <a:pt x="55" y="3"/>
                  </a:lnTo>
                  <a:lnTo>
                    <a:pt x="55" y="6"/>
                  </a:lnTo>
                  <a:lnTo>
                    <a:pt x="58" y="6"/>
                  </a:lnTo>
                  <a:lnTo>
                    <a:pt x="62" y="6"/>
                  </a:lnTo>
                  <a:lnTo>
                    <a:pt x="62" y="9"/>
                  </a:lnTo>
                  <a:lnTo>
                    <a:pt x="65" y="13"/>
                  </a:lnTo>
                  <a:lnTo>
                    <a:pt x="68" y="16"/>
                  </a:lnTo>
                  <a:lnTo>
                    <a:pt x="68" y="19"/>
                  </a:lnTo>
                  <a:lnTo>
                    <a:pt x="68" y="22"/>
                  </a:lnTo>
                  <a:lnTo>
                    <a:pt x="68" y="26"/>
                  </a:lnTo>
                  <a:lnTo>
                    <a:pt x="65" y="26"/>
                  </a:lnTo>
                  <a:lnTo>
                    <a:pt x="65" y="29"/>
                  </a:lnTo>
                  <a:lnTo>
                    <a:pt x="62" y="29"/>
                  </a:lnTo>
                  <a:lnTo>
                    <a:pt x="58" y="32"/>
                  </a:lnTo>
                  <a:lnTo>
                    <a:pt x="55" y="32"/>
                  </a:lnTo>
                  <a:lnTo>
                    <a:pt x="52" y="35"/>
                  </a:lnTo>
                  <a:lnTo>
                    <a:pt x="49" y="35"/>
                  </a:lnTo>
                  <a:lnTo>
                    <a:pt x="49" y="39"/>
                  </a:lnTo>
                  <a:lnTo>
                    <a:pt x="45" y="39"/>
                  </a:lnTo>
                  <a:lnTo>
                    <a:pt x="49" y="39"/>
                  </a:lnTo>
                  <a:lnTo>
                    <a:pt x="52" y="39"/>
                  </a:lnTo>
                  <a:lnTo>
                    <a:pt x="52" y="35"/>
                  </a:lnTo>
                  <a:lnTo>
                    <a:pt x="55" y="35"/>
                  </a:lnTo>
                  <a:lnTo>
                    <a:pt x="58" y="35"/>
                  </a:lnTo>
                  <a:lnTo>
                    <a:pt x="58" y="32"/>
                  </a:lnTo>
                  <a:lnTo>
                    <a:pt x="62" y="32"/>
                  </a:lnTo>
                  <a:lnTo>
                    <a:pt x="62" y="29"/>
                  </a:lnTo>
                  <a:lnTo>
                    <a:pt x="65" y="29"/>
                  </a:lnTo>
                  <a:lnTo>
                    <a:pt x="65" y="26"/>
                  </a:lnTo>
                  <a:lnTo>
                    <a:pt x="68" y="26"/>
                  </a:lnTo>
                  <a:lnTo>
                    <a:pt x="71" y="26"/>
                  </a:lnTo>
                  <a:lnTo>
                    <a:pt x="75" y="22"/>
                  </a:lnTo>
                  <a:lnTo>
                    <a:pt x="75" y="26"/>
                  </a:lnTo>
                  <a:lnTo>
                    <a:pt x="78" y="22"/>
                  </a:lnTo>
                  <a:lnTo>
                    <a:pt x="78" y="26"/>
                  </a:lnTo>
                  <a:lnTo>
                    <a:pt x="81" y="26"/>
                  </a:lnTo>
                  <a:lnTo>
                    <a:pt x="81" y="29"/>
                  </a:lnTo>
                  <a:lnTo>
                    <a:pt x="84" y="29"/>
                  </a:lnTo>
                  <a:lnTo>
                    <a:pt x="84" y="32"/>
                  </a:lnTo>
                  <a:lnTo>
                    <a:pt x="84" y="29"/>
                  </a:lnTo>
                  <a:lnTo>
                    <a:pt x="88" y="32"/>
                  </a:lnTo>
                  <a:lnTo>
                    <a:pt x="91" y="32"/>
                  </a:lnTo>
                  <a:lnTo>
                    <a:pt x="91" y="35"/>
                  </a:lnTo>
                  <a:lnTo>
                    <a:pt x="94" y="39"/>
                  </a:lnTo>
                  <a:lnTo>
                    <a:pt x="94" y="42"/>
                  </a:lnTo>
                  <a:lnTo>
                    <a:pt x="94" y="45"/>
                  </a:lnTo>
                  <a:lnTo>
                    <a:pt x="94" y="48"/>
                  </a:lnTo>
                  <a:lnTo>
                    <a:pt x="91" y="52"/>
                  </a:lnTo>
                  <a:lnTo>
                    <a:pt x="94" y="52"/>
                  </a:lnTo>
                  <a:lnTo>
                    <a:pt x="91" y="52"/>
                  </a:lnTo>
                  <a:lnTo>
                    <a:pt x="91" y="55"/>
                  </a:lnTo>
                  <a:lnTo>
                    <a:pt x="88" y="55"/>
                  </a:lnTo>
                  <a:lnTo>
                    <a:pt x="88" y="58"/>
                  </a:lnTo>
                  <a:lnTo>
                    <a:pt x="84" y="58"/>
                  </a:lnTo>
                  <a:lnTo>
                    <a:pt x="81" y="58"/>
                  </a:lnTo>
                  <a:lnTo>
                    <a:pt x="78" y="58"/>
                  </a:lnTo>
                  <a:lnTo>
                    <a:pt x="78" y="55"/>
                  </a:lnTo>
                  <a:lnTo>
                    <a:pt x="75" y="52"/>
                  </a:lnTo>
                  <a:lnTo>
                    <a:pt x="71" y="52"/>
                  </a:lnTo>
                  <a:lnTo>
                    <a:pt x="71" y="48"/>
                  </a:lnTo>
                  <a:lnTo>
                    <a:pt x="68" y="48"/>
                  </a:lnTo>
                  <a:lnTo>
                    <a:pt x="68" y="45"/>
                  </a:lnTo>
                  <a:lnTo>
                    <a:pt x="65" y="45"/>
                  </a:lnTo>
                  <a:lnTo>
                    <a:pt x="62" y="45"/>
                  </a:lnTo>
                  <a:lnTo>
                    <a:pt x="58" y="48"/>
                  </a:lnTo>
                  <a:lnTo>
                    <a:pt x="55" y="48"/>
                  </a:lnTo>
                  <a:lnTo>
                    <a:pt x="55" y="52"/>
                  </a:lnTo>
                  <a:lnTo>
                    <a:pt x="55" y="55"/>
                  </a:lnTo>
                  <a:lnTo>
                    <a:pt x="52" y="58"/>
                  </a:lnTo>
                </a:path>
              </a:pathLst>
            </a:custGeom>
            <a:solidFill>
              <a:srgbClr val="66CCFF"/>
            </a:solidFill>
            <a:ln w="4763">
              <a:solidFill>
                <a:srgbClr val="000000"/>
              </a:solidFill>
              <a:round/>
              <a:headEnd/>
              <a:tailEnd/>
            </a:ln>
          </p:spPr>
          <p:txBody>
            <a:bodyPr rot="10800000" vert="eaVert"/>
            <a:lstStyle/>
            <a:p>
              <a:endParaRPr lang="it-IT"/>
            </a:p>
          </p:txBody>
        </p:sp>
      </p:grpSp>
      <p:grpSp>
        <p:nvGrpSpPr>
          <p:cNvPr id="19553" name="Group 156"/>
          <p:cNvGrpSpPr>
            <a:grpSpLocks/>
          </p:cNvGrpSpPr>
          <p:nvPr/>
        </p:nvGrpSpPr>
        <p:grpSpPr bwMode="auto">
          <a:xfrm rot="3820191" flipH="1">
            <a:off x="7400132" y="5353844"/>
            <a:ext cx="439737" cy="638175"/>
            <a:chOff x="4898" y="346"/>
            <a:chExt cx="477" cy="499"/>
          </a:xfrm>
        </p:grpSpPr>
        <p:sp>
          <p:nvSpPr>
            <p:cNvPr id="19631" name="Freeform 370"/>
            <p:cNvSpPr>
              <a:spLocks/>
            </p:cNvSpPr>
            <p:nvPr/>
          </p:nvSpPr>
          <p:spPr bwMode="auto">
            <a:xfrm>
              <a:off x="4898" y="346"/>
              <a:ext cx="477" cy="499"/>
            </a:xfrm>
            <a:custGeom>
              <a:avLst/>
              <a:gdLst>
                <a:gd name="T0" fmla="*/ 2147483647 w 153"/>
                <a:gd name="T1" fmla="*/ 2147483647 h 150"/>
                <a:gd name="T2" fmla="*/ 2147483647 w 153"/>
                <a:gd name="T3" fmla="*/ 2147483647 h 150"/>
                <a:gd name="T4" fmla="*/ 2147483647 w 153"/>
                <a:gd name="T5" fmla="*/ 2147483647 h 150"/>
                <a:gd name="T6" fmla="*/ 2147483647 w 153"/>
                <a:gd name="T7" fmla="*/ 2147483647 h 150"/>
                <a:gd name="T8" fmla="*/ 2147483647 w 153"/>
                <a:gd name="T9" fmla="*/ 2147483647 h 150"/>
                <a:gd name="T10" fmla="*/ 2147483647 w 153"/>
                <a:gd name="T11" fmla="*/ 2147483647 h 150"/>
                <a:gd name="T12" fmla="*/ 2147483647 w 153"/>
                <a:gd name="T13" fmla="*/ 2147483647 h 150"/>
                <a:gd name="T14" fmla="*/ 0 w 153"/>
                <a:gd name="T15" fmla="*/ 2147483647 h 150"/>
                <a:gd name="T16" fmla="*/ 2147483647 w 153"/>
                <a:gd name="T17" fmla="*/ 2147483647 h 150"/>
                <a:gd name="T18" fmla="*/ 2147483647 w 153"/>
                <a:gd name="T19" fmla="*/ 2147483647 h 150"/>
                <a:gd name="T20" fmla="*/ 2147483647 w 153"/>
                <a:gd name="T21" fmla="*/ 2147483647 h 150"/>
                <a:gd name="T22" fmla="*/ 2147483647 w 153"/>
                <a:gd name="T23" fmla="*/ 2147483647 h 150"/>
                <a:gd name="T24" fmla="*/ 2147483647 w 153"/>
                <a:gd name="T25" fmla="*/ 2147483647 h 150"/>
                <a:gd name="T26" fmla="*/ 2147483647 w 153"/>
                <a:gd name="T27" fmla="*/ 2147483647 h 150"/>
                <a:gd name="T28" fmla="*/ 2147483647 w 153"/>
                <a:gd name="T29" fmla="*/ 2147483647 h 150"/>
                <a:gd name="T30" fmla="*/ 2147483647 w 153"/>
                <a:gd name="T31" fmla="*/ 2147483647 h 150"/>
                <a:gd name="T32" fmla="*/ 2147483647 w 153"/>
                <a:gd name="T33" fmla="*/ 2147483647 h 150"/>
                <a:gd name="T34" fmla="*/ 2147483647 w 153"/>
                <a:gd name="T35" fmla="*/ 0 h 150"/>
                <a:gd name="T36" fmla="*/ 2147483647 w 153"/>
                <a:gd name="T37" fmla="*/ 2147483647 h 150"/>
                <a:gd name="T38" fmla="*/ 2147483647 w 153"/>
                <a:gd name="T39" fmla="*/ 2147483647 h 150"/>
                <a:gd name="T40" fmla="*/ 2147483647 w 153"/>
                <a:gd name="T41" fmla="*/ 2147483647 h 150"/>
                <a:gd name="T42" fmla="*/ 2147483647 w 153"/>
                <a:gd name="T43" fmla="*/ 2147483647 h 150"/>
                <a:gd name="T44" fmla="*/ 2147483647 w 153"/>
                <a:gd name="T45" fmla="*/ 2147483647 h 150"/>
                <a:gd name="T46" fmla="*/ 2147483647 w 153"/>
                <a:gd name="T47" fmla="*/ 2147483647 h 150"/>
                <a:gd name="T48" fmla="*/ 2147483647 w 153"/>
                <a:gd name="T49" fmla="*/ 2147483647 h 150"/>
                <a:gd name="T50" fmla="*/ 2147483647 w 153"/>
                <a:gd name="T51" fmla="*/ 2147483647 h 150"/>
                <a:gd name="T52" fmla="*/ 2147483647 w 153"/>
                <a:gd name="T53" fmla="*/ 2147483647 h 150"/>
                <a:gd name="T54" fmla="*/ 2147483647 w 153"/>
                <a:gd name="T55" fmla="*/ 2147483647 h 150"/>
                <a:gd name="T56" fmla="*/ 2147483647 w 153"/>
                <a:gd name="T57" fmla="*/ 2147483647 h 150"/>
                <a:gd name="T58" fmla="*/ 2147483647 w 153"/>
                <a:gd name="T59" fmla="*/ 2147483647 h 150"/>
                <a:gd name="T60" fmla="*/ 2147483647 w 153"/>
                <a:gd name="T61" fmla="*/ 2147483647 h 150"/>
                <a:gd name="T62" fmla="*/ 2147483647 w 153"/>
                <a:gd name="T63" fmla="*/ 2147483647 h 150"/>
                <a:gd name="T64" fmla="*/ 2147483647 w 153"/>
                <a:gd name="T65" fmla="*/ 2147483647 h 150"/>
                <a:gd name="T66" fmla="*/ 2147483647 w 153"/>
                <a:gd name="T67" fmla="*/ 2147483647 h 150"/>
                <a:gd name="T68" fmla="*/ 2147483647 w 153"/>
                <a:gd name="T69" fmla="*/ 2147483647 h 150"/>
                <a:gd name="T70" fmla="*/ 2147483647 w 153"/>
                <a:gd name="T71" fmla="*/ 2147483647 h 150"/>
                <a:gd name="T72" fmla="*/ 2147483647 w 153"/>
                <a:gd name="T73" fmla="*/ 2147483647 h 150"/>
                <a:gd name="T74" fmla="*/ 2147483647 w 153"/>
                <a:gd name="T75" fmla="*/ 2147483647 h 150"/>
                <a:gd name="T76" fmla="*/ 2147483647 w 153"/>
                <a:gd name="T77" fmla="*/ 2147483647 h 150"/>
                <a:gd name="T78" fmla="*/ 2147483647 w 153"/>
                <a:gd name="T79" fmla="*/ 2147483647 h 150"/>
                <a:gd name="T80" fmla="*/ 2147483647 w 153"/>
                <a:gd name="T81" fmla="*/ 2147483647 h 150"/>
                <a:gd name="T82" fmla="*/ 2147483647 w 153"/>
                <a:gd name="T83" fmla="*/ 2147483647 h 150"/>
                <a:gd name="T84" fmla="*/ 2147483647 w 153"/>
                <a:gd name="T85" fmla="*/ 2147483647 h 150"/>
                <a:gd name="T86" fmla="*/ 2147483647 w 153"/>
                <a:gd name="T87" fmla="*/ 2147483647 h 150"/>
                <a:gd name="T88" fmla="*/ 2147483647 w 153"/>
                <a:gd name="T89" fmla="*/ 2147483647 h 150"/>
                <a:gd name="T90" fmla="*/ 2147483647 w 153"/>
                <a:gd name="T91" fmla="*/ 2147483647 h 150"/>
                <a:gd name="T92" fmla="*/ 2147483647 w 153"/>
                <a:gd name="T93" fmla="*/ 2147483647 h 150"/>
                <a:gd name="T94" fmla="*/ 2147483647 w 153"/>
                <a:gd name="T95" fmla="*/ 2147483647 h 150"/>
                <a:gd name="T96" fmla="*/ 2147483647 w 153"/>
                <a:gd name="T97" fmla="*/ 2147483647 h 150"/>
                <a:gd name="T98" fmla="*/ 2147483647 w 153"/>
                <a:gd name="T99" fmla="*/ 2147483647 h 150"/>
                <a:gd name="T100" fmla="*/ 2147483647 w 153"/>
                <a:gd name="T101" fmla="*/ 2147483647 h 15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3"/>
                <a:gd name="T154" fmla="*/ 0 h 150"/>
                <a:gd name="T155" fmla="*/ 153 w 153"/>
                <a:gd name="T156" fmla="*/ 150 h 15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3" h="150">
                  <a:moveTo>
                    <a:pt x="58" y="130"/>
                  </a:moveTo>
                  <a:lnTo>
                    <a:pt x="55" y="130"/>
                  </a:lnTo>
                  <a:lnTo>
                    <a:pt x="55" y="127"/>
                  </a:lnTo>
                  <a:lnTo>
                    <a:pt x="52" y="124"/>
                  </a:lnTo>
                  <a:lnTo>
                    <a:pt x="49" y="121"/>
                  </a:lnTo>
                  <a:lnTo>
                    <a:pt x="45" y="121"/>
                  </a:lnTo>
                  <a:lnTo>
                    <a:pt x="42" y="117"/>
                  </a:lnTo>
                  <a:lnTo>
                    <a:pt x="39" y="121"/>
                  </a:lnTo>
                  <a:lnTo>
                    <a:pt x="36" y="117"/>
                  </a:lnTo>
                  <a:lnTo>
                    <a:pt x="32" y="117"/>
                  </a:lnTo>
                  <a:lnTo>
                    <a:pt x="29" y="121"/>
                  </a:lnTo>
                  <a:lnTo>
                    <a:pt x="26" y="117"/>
                  </a:lnTo>
                  <a:lnTo>
                    <a:pt x="23" y="117"/>
                  </a:lnTo>
                  <a:lnTo>
                    <a:pt x="16" y="114"/>
                  </a:lnTo>
                  <a:lnTo>
                    <a:pt x="13" y="111"/>
                  </a:lnTo>
                  <a:lnTo>
                    <a:pt x="10" y="108"/>
                  </a:lnTo>
                  <a:lnTo>
                    <a:pt x="6" y="101"/>
                  </a:lnTo>
                  <a:lnTo>
                    <a:pt x="6" y="98"/>
                  </a:lnTo>
                  <a:lnTo>
                    <a:pt x="3" y="95"/>
                  </a:lnTo>
                  <a:lnTo>
                    <a:pt x="3" y="88"/>
                  </a:lnTo>
                  <a:lnTo>
                    <a:pt x="3" y="82"/>
                  </a:lnTo>
                  <a:lnTo>
                    <a:pt x="0" y="78"/>
                  </a:lnTo>
                  <a:lnTo>
                    <a:pt x="3" y="75"/>
                  </a:lnTo>
                  <a:lnTo>
                    <a:pt x="0" y="75"/>
                  </a:lnTo>
                  <a:lnTo>
                    <a:pt x="3" y="72"/>
                  </a:lnTo>
                  <a:lnTo>
                    <a:pt x="6" y="69"/>
                  </a:lnTo>
                  <a:lnTo>
                    <a:pt x="10" y="69"/>
                  </a:lnTo>
                  <a:lnTo>
                    <a:pt x="13" y="65"/>
                  </a:lnTo>
                  <a:lnTo>
                    <a:pt x="13" y="69"/>
                  </a:lnTo>
                  <a:lnTo>
                    <a:pt x="16" y="65"/>
                  </a:lnTo>
                  <a:lnTo>
                    <a:pt x="19" y="62"/>
                  </a:lnTo>
                  <a:lnTo>
                    <a:pt x="23" y="62"/>
                  </a:lnTo>
                  <a:lnTo>
                    <a:pt x="26" y="59"/>
                  </a:lnTo>
                  <a:lnTo>
                    <a:pt x="26" y="52"/>
                  </a:lnTo>
                  <a:lnTo>
                    <a:pt x="23" y="46"/>
                  </a:lnTo>
                  <a:lnTo>
                    <a:pt x="23" y="39"/>
                  </a:lnTo>
                  <a:lnTo>
                    <a:pt x="23" y="36"/>
                  </a:lnTo>
                  <a:lnTo>
                    <a:pt x="23" y="33"/>
                  </a:lnTo>
                  <a:lnTo>
                    <a:pt x="26" y="30"/>
                  </a:lnTo>
                  <a:lnTo>
                    <a:pt x="23" y="23"/>
                  </a:lnTo>
                  <a:lnTo>
                    <a:pt x="19" y="20"/>
                  </a:lnTo>
                  <a:lnTo>
                    <a:pt x="23" y="17"/>
                  </a:lnTo>
                  <a:lnTo>
                    <a:pt x="19" y="17"/>
                  </a:lnTo>
                  <a:lnTo>
                    <a:pt x="23" y="13"/>
                  </a:lnTo>
                  <a:lnTo>
                    <a:pt x="23" y="10"/>
                  </a:lnTo>
                  <a:lnTo>
                    <a:pt x="23" y="7"/>
                  </a:lnTo>
                  <a:lnTo>
                    <a:pt x="26" y="7"/>
                  </a:lnTo>
                  <a:lnTo>
                    <a:pt x="29" y="4"/>
                  </a:lnTo>
                  <a:lnTo>
                    <a:pt x="32" y="0"/>
                  </a:lnTo>
                  <a:lnTo>
                    <a:pt x="36" y="0"/>
                  </a:lnTo>
                  <a:lnTo>
                    <a:pt x="39" y="0"/>
                  </a:lnTo>
                  <a:lnTo>
                    <a:pt x="42" y="4"/>
                  </a:lnTo>
                  <a:lnTo>
                    <a:pt x="45" y="0"/>
                  </a:lnTo>
                  <a:lnTo>
                    <a:pt x="49" y="4"/>
                  </a:lnTo>
                  <a:lnTo>
                    <a:pt x="49" y="0"/>
                  </a:lnTo>
                  <a:lnTo>
                    <a:pt x="52" y="4"/>
                  </a:lnTo>
                  <a:lnTo>
                    <a:pt x="58" y="4"/>
                  </a:lnTo>
                  <a:lnTo>
                    <a:pt x="58" y="7"/>
                  </a:lnTo>
                  <a:lnTo>
                    <a:pt x="62" y="4"/>
                  </a:lnTo>
                  <a:lnTo>
                    <a:pt x="65" y="7"/>
                  </a:lnTo>
                  <a:lnTo>
                    <a:pt x="68" y="4"/>
                  </a:lnTo>
                  <a:lnTo>
                    <a:pt x="68" y="7"/>
                  </a:lnTo>
                  <a:lnTo>
                    <a:pt x="75" y="7"/>
                  </a:lnTo>
                  <a:lnTo>
                    <a:pt x="78" y="10"/>
                  </a:lnTo>
                  <a:lnTo>
                    <a:pt x="81" y="10"/>
                  </a:lnTo>
                  <a:lnTo>
                    <a:pt x="88" y="10"/>
                  </a:lnTo>
                  <a:lnTo>
                    <a:pt x="88" y="13"/>
                  </a:lnTo>
                  <a:lnTo>
                    <a:pt x="91" y="10"/>
                  </a:lnTo>
                  <a:lnTo>
                    <a:pt x="97" y="13"/>
                  </a:lnTo>
                  <a:lnTo>
                    <a:pt x="101" y="10"/>
                  </a:lnTo>
                  <a:lnTo>
                    <a:pt x="104" y="10"/>
                  </a:lnTo>
                  <a:lnTo>
                    <a:pt x="110" y="10"/>
                  </a:lnTo>
                  <a:lnTo>
                    <a:pt x="110" y="7"/>
                  </a:lnTo>
                  <a:lnTo>
                    <a:pt x="114" y="10"/>
                  </a:lnTo>
                  <a:lnTo>
                    <a:pt x="117" y="10"/>
                  </a:lnTo>
                  <a:lnTo>
                    <a:pt x="120" y="10"/>
                  </a:lnTo>
                  <a:lnTo>
                    <a:pt x="123" y="10"/>
                  </a:lnTo>
                  <a:lnTo>
                    <a:pt x="123" y="7"/>
                  </a:lnTo>
                  <a:lnTo>
                    <a:pt x="130" y="7"/>
                  </a:lnTo>
                  <a:lnTo>
                    <a:pt x="133" y="4"/>
                  </a:lnTo>
                  <a:lnTo>
                    <a:pt x="133" y="7"/>
                  </a:lnTo>
                  <a:lnTo>
                    <a:pt x="136" y="7"/>
                  </a:lnTo>
                  <a:lnTo>
                    <a:pt x="140" y="7"/>
                  </a:lnTo>
                  <a:lnTo>
                    <a:pt x="143" y="10"/>
                  </a:lnTo>
                  <a:lnTo>
                    <a:pt x="143" y="13"/>
                  </a:lnTo>
                  <a:lnTo>
                    <a:pt x="143" y="20"/>
                  </a:lnTo>
                  <a:lnTo>
                    <a:pt x="146" y="20"/>
                  </a:lnTo>
                  <a:lnTo>
                    <a:pt x="149" y="23"/>
                  </a:lnTo>
                  <a:lnTo>
                    <a:pt x="153" y="30"/>
                  </a:lnTo>
                  <a:lnTo>
                    <a:pt x="153" y="33"/>
                  </a:lnTo>
                  <a:lnTo>
                    <a:pt x="149" y="36"/>
                  </a:lnTo>
                  <a:lnTo>
                    <a:pt x="153" y="39"/>
                  </a:lnTo>
                  <a:lnTo>
                    <a:pt x="149" y="43"/>
                  </a:lnTo>
                  <a:lnTo>
                    <a:pt x="146" y="49"/>
                  </a:lnTo>
                  <a:lnTo>
                    <a:pt x="146" y="52"/>
                  </a:lnTo>
                  <a:lnTo>
                    <a:pt x="143" y="56"/>
                  </a:lnTo>
                  <a:lnTo>
                    <a:pt x="140" y="59"/>
                  </a:lnTo>
                  <a:lnTo>
                    <a:pt x="136" y="62"/>
                  </a:lnTo>
                  <a:lnTo>
                    <a:pt x="140" y="62"/>
                  </a:lnTo>
                  <a:lnTo>
                    <a:pt x="136" y="65"/>
                  </a:lnTo>
                  <a:lnTo>
                    <a:pt x="140" y="72"/>
                  </a:lnTo>
                  <a:lnTo>
                    <a:pt x="140" y="75"/>
                  </a:lnTo>
                  <a:lnTo>
                    <a:pt x="140" y="82"/>
                  </a:lnTo>
                  <a:lnTo>
                    <a:pt x="140" y="85"/>
                  </a:lnTo>
                  <a:lnTo>
                    <a:pt x="143" y="88"/>
                  </a:lnTo>
                  <a:lnTo>
                    <a:pt x="146" y="91"/>
                  </a:lnTo>
                  <a:lnTo>
                    <a:pt x="146" y="95"/>
                  </a:lnTo>
                  <a:lnTo>
                    <a:pt x="149" y="98"/>
                  </a:lnTo>
                  <a:lnTo>
                    <a:pt x="153" y="101"/>
                  </a:lnTo>
                  <a:lnTo>
                    <a:pt x="149" y="101"/>
                  </a:lnTo>
                  <a:lnTo>
                    <a:pt x="153" y="104"/>
                  </a:lnTo>
                  <a:lnTo>
                    <a:pt x="149" y="108"/>
                  </a:lnTo>
                  <a:lnTo>
                    <a:pt x="146" y="108"/>
                  </a:lnTo>
                  <a:lnTo>
                    <a:pt x="149" y="111"/>
                  </a:lnTo>
                  <a:lnTo>
                    <a:pt x="146" y="114"/>
                  </a:lnTo>
                  <a:lnTo>
                    <a:pt x="146" y="117"/>
                  </a:lnTo>
                  <a:lnTo>
                    <a:pt x="146" y="121"/>
                  </a:lnTo>
                  <a:lnTo>
                    <a:pt x="143" y="121"/>
                  </a:lnTo>
                  <a:lnTo>
                    <a:pt x="140" y="124"/>
                  </a:lnTo>
                  <a:lnTo>
                    <a:pt x="136" y="127"/>
                  </a:lnTo>
                  <a:lnTo>
                    <a:pt x="133" y="127"/>
                  </a:lnTo>
                  <a:lnTo>
                    <a:pt x="130" y="130"/>
                  </a:lnTo>
                  <a:lnTo>
                    <a:pt x="130" y="134"/>
                  </a:lnTo>
                  <a:lnTo>
                    <a:pt x="123" y="134"/>
                  </a:lnTo>
                  <a:lnTo>
                    <a:pt x="120" y="130"/>
                  </a:lnTo>
                  <a:lnTo>
                    <a:pt x="117" y="130"/>
                  </a:lnTo>
                  <a:lnTo>
                    <a:pt x="114" y="127"/>
                  </a:lnTo>
                  <a:lnTo>
                    <a:pt x="110" y="130"/>
                  </a:lnTo>
                  <a:lnTo>
                    <a:pt x="107" y="130"/>
                  </a:lnTo>
                  <a:lnTo>
                    <a:pt x="107" y="127"/>
                  </a:lnTo>
                  <a:lnTo>
                    <a:pt x="104" y="130"/>
                  </a:lnTo>
                  <a:lnTo>
                    <a:pt x="101" y="134"/>
                  </a:lnTo>
                  <a:lnTo>
                    <a:pt x="97" y="134"/>
                  </a:lnTo>
                  <a:lnTo>
                    <a:pt x="94" y="137"/>
                  </a:lnTo>
                  <a:lnTo>
                    <a:pt x="94" y="140"/>
                  </a:lnTo>
                  <a:lnTo>
                    <a:pt x="91" y="143"/>
                  </a:lnTo>
                  <a:lnTo>
                    <a:pt x="88" y="143"/>
                  </a:lnTo>
                  <a:lnTo>
                    <a:pt x="84" y="146"/>
                  </a:lnTo>
                  <a:lnTo>
                    <a:pt x="81" y="150"/>
                  </a:lnTo>
                  <a:lnTo>
                    <a:pt x="81" y="146"/>
                  </a:lnTo>
                  <a:lnTo>
                    <a:pt x="78" y="150"/>
                  </a:lnTo>
                  <a:lnTo>
                    <a:pt x="75" y="150"/>
                  </a:lnTo>
                  <a:lnTo>
                    <a:pt x="71" y="146"/>
                  </a:lnTo>
                  <a:lnTo>
                    <a:pt x="68" y="150"/>
                  </a:lnTo>
                  <a:lnTo>
                    <a:pt x="68" y="146"/>
                  </a:lnTo>
                  <a:lnTo>
                    <a:pt x="65" y="150"/>
                  </a:lnTo>
                  <a:lnTo>
                    <a:pt x="62" y="146"/>
                  </a:lnTo>
                  <a:lnTo>
                    <a:pt x="62" y="143"/>
                  </a:lnTo>
                  <a:lnTo>
                    <a:pt x="62" y="140"/>
                  </a:lnTo>
                  <a:lnTo>
                    <a:pt x="62" y="137"/>
                  </a:lnTo>
                  <a:lnTo>
                    <a:pt x="62" y="134"/>
                  </a:lnTo>
                </a:path>
              </a:pathLst>
            </a:custGeom>
            <a:solidFill>
              <a:srgbClr val="FFFF99"/>
            </a:solidFill>
            <a:ln w="4763">
              <a:solidFill>
                <a:srgbClr val="000000"/>
              </a:solidFill>
              <a:round/>
              <a:headEnd/>
              <a:tailEnd/>
            </a:ln>
          </p:spPr>
          <p:txBody>
            <a:bodyPr rot="10800000" vert="eaVert"/>
            <a:lstStyle/>
            <a:p>
              <a:endParaRPr lang="it-IT"/>
            </a:p>
          </p:txBody>
        </p:sp>
        <p:sp>
          <p:nvSpPr>
            <p:cNvPr id="19632" name="Freeform 371"/>
            <p:cNvSpPr>
              <a:spLocks/>
            </p:cNvSpPr>
            <p:nvPr/>
          </p:nvSpPr>
          <p:spPr bwMode="auto">
            <a:xfrm>
              <a:off x="5020" y="446"/>
              <a:ext cx="293" cy="269"/>
            </a:xfrm>
            <a:custGeom>
              <a:avLst/>
              <a:gdLst>
                <a:gd name="T0" fmla="*/ 2147483647 w 94"/>
                <a:gd name="T1" fmla="*/ 2147483647 h 81"/>
                <a:gd name="T2" fmla="*/ 2147483647 w 94"/>
                <a:gd name="T3" fmla="*/ 2147483647 h 81"/>
                <a:gd name="T4" fmla="*/ 2147483647 w 94"/>
                <a:gd name="T5" fmla="*/ 2147483647 h 81"/>
                <a:gd name="T6" fmla="*/ 2147483647 w 94"/>
                <a:gd name="T7" fmla="*/ 2147483647 h 81"/>
                <a:gd name="T8" fmla="*/ 2147483647 w 94"/>
                <a:gd name="T9" fmla="*/ 2147483647 h 81"/>
                <a:gd name="T10" fmla="*/ 2147483647 w 94"/>
                <a:gd name="T11" fmla="*/ 2147483647 h 81"/>
                <a:gd name="T12" fmla="*/ 2147483647 w 94"/>
                <a:gd name="T13" fmla="*/ 2147483647 h 81"/>
                <a:gd name="T14" fmla="*/ 2147483647 w 94"/>
                <a:gd name="T15" fmla="*/ 2147483647 h 81"/>
                <a:gd name="T16" fmla="*/ 2147483647 w 94"/>
                <a:gd name="T17" fmla="*/ 2147483647 h 81"/>
                <a:gd name="T18" fmla="*/ 2147483647 w 94"/>
                <a:gd name="T19" fmla="*/ 2147483647 h 81"/>
                <a:gd name="T20" fmla="*/ 2147483647 w 94"/>
                <a:gd name="T21" fmla="*/ 2147483647 h 81"/>
                <a:gd name="T22" fmla="*/ 2147483647 w 94"/>
                <a:gd name="T23" fmla="*/ 2147483647 h 81"/>
                <a:gd name="T24" fmla="*/ 2147483647 w 94"/>
                <a:gd name="T25" fmla="*/ 2147483647 h 81"/>
                <a:gd name="T26" fmla="*/ 2147483647 w 94"/>
                <a:gd name="T27" fmla="*/ 2147483647 h 81"/>
                <a:gd name="T28" fmla="*/ 2147483647 w 94"/>
                <a:gd name="T29" fmla="*/ 2147483647 h 81"/>
                <a:gd name="T30" fmla="*/ 2147483647 w 94"/>
                <a:gd name="T31" fmla="*/ 2147483647 h 81"/>
                <a:gd name="T32" fmla="*/ 2147483647 w 94"/>
                <a:gd name="T33" fmla="*/ 2147483647 h 81"/>
                <a:gd name="T34" fmla="*/ 2147483647 w 94"/>
                <a:gd name="T35" fmla="*/ 2147483647 h 81"/>
                <a:gd name="T36" fmla="*/ 2147483647 w 94"/>
                <a:gd name="T37" fmla="*/ 2147483647 h 81"/>
                <a:gd name="T38" fmla="*/ 2147483647 w 94"/>
                <a:gd name="T39" fmla="*/ 2147483647 h 81"/>
                <a:gd name="T40" fmla="*/ 2147483647 w 94"/>
                <a:gd name="T41" fmla="*/ 2147483647 h 81"/>
                <a:gd name="T42" fmla="*/ 2147483647 w 94"/>
                <a:gd name="T43" fmla="*/ 2147483647 h 81"/>
                <a:gd name="T44" fmla="*/ 2147483647 w 94"/>
                <a:gd name="T45" fmla="*/ 2147483647 h 81"/>
                <a:gd name="T46" fmla="*/ 2147483647 w 94"/>
                <a:gd name="T47" fmla="*/ 2147483647 h 81"/>
                <a:gd name="T48" fmla="*/ 2147483647 w 94"/>
                <a:gd name="T49" fmla="*/ 2147483647 h 81"/>
                <a:gd name="T50" fmla="*/ 2147483647 w 94"/>
                <a:gd name="T51" fmla="*/ 2147483647 h 81"/>
                <a:gd name="T52" fmla="*/ 2147483647 w 94"/>
                <a:gd name="T53" fmla="*/ 2147483647 h 81"/>
                <a:gd name="T54" fmla="*/ 2147483647 w 94"/>
                <a:gd name="T55" fmla="*/ 2147483647 h 81"/>
                <a:gd name="T56" fmla="*/ 2147483647 w 94"/>
                <a:gd name="T57" fmla="*/ 2147483647 h 81"/>
                <a:gd name="T58" fmla="*/ 2147483647 w 94"/>
                <a:gd name="T59" fmla="*/ 2147483647 h 81"/>
                <a:gd name="T60" fmla="*/ 2147483647 w 94"/>
                <a:gd name="T61" fmla="*/ 2147483647 h 81"/>
                <a:gd name="T62" fmla="*/ 2147483647 w 94"/>
                <a:gd name="T63" fmla="*/ 2147483647 h 81"/>
                <a:gd name="T64" fmla="*/ 2147483647 w 94"/>
                <a:gd name="T65" fmla="*/ 2147483647 h 81"/>
                <a:gd name="T66" fmla="*/ 2147483647 w 94"/>
                <a:gd name="T67" fmla="*/ 2147483647 h 81"/>
                <a:gd name="T68" fmla="*/ 2147483647 w 94"/>
                <a:gd name="T69" fmla="*/ 2147483647 h 81"/>
                <a:gd name="T70" fmla="*/ 2147483647 w 94"/>
                <a:gd name="T71" fmla="*/ 2147483647 h 81"/>
                <a:gd name="T72" fmla="*/ 2147483647 w 94"/>
                <a:gd name="T73" fmla="*/ 2147483647 h 81"/>
                <a:gd name="T74" fmla="*/ 2147483647 w 94"/>
                <a:gd name="T75" fmla="*/ 2147483647 h 81"/>
                <a:gd name="T76" fmla="*/ 2147483647 w 94"/>
                <a:gd name="T77" fmla="*/ 2147483647 h 81"/>
                <a:gd name="T78" fmla="*/ 2147483647 w 94"/>
                <a:gd name="T79" fmla="*/ 2147483647 h 81"/>
                <a:gd name="T80" fmla="*/ 2147483647 w 94"/>
                <a:gd name="T81" fmla="*/ 2147483647 h 81"/>
                <a:gd name="T82" fmla="*/ 2147483647 w 94"/>
                <a:gd name="T83" fmla="*/ 2147483647 h 81"/>
                <a:gd name="T84" fmla="*/ 2147483647 w 94"/>
                <a:gd name="T85" fmla="*/ 2147483647 h 81"/>
                <a:gd name="T86" fmla="*/ 2147483647 w 94"/>
                <a:gd name="T87" fmla="*/ 2147483647 h 81"/>
                <a:gd name="T88" fmla="*/ 2147483647 w 94"/>
                <a:gd name="T89" fmla="*/ 2147483647 h 81"/>
                <a:gd name="T90" fmla="*/ 2147483647 w 94"/>
                <a:gd name="T91" fmla="*/ 2147483647 h 81"/>
                <a:gd name="T92" fmla="*/ 2147483647 w 94"/>
                <a:gd name="T93" fmla="*/ 2147483647 h 81"/>
                <a:gd name="T94" fmla="*/ 2147483647 w 94"/>
                <a:gd name="T95" fmla="*/ 2147483647 h 81"/>
                <a:gd name="T96" fmla="*/ 2147483647 w 94"/>
                <a:gd name="T97" fmla="*/ 2147483647 h 81"/>
                <a:gd name="T98" fmla="*/ 2147483647 w 94"/>
                <a:gd name="T99" fmla="*/ 2147483647 h 81"/>
                <a:gd name="T100" fmla="*/ 2147483647 w 94"/>
                <a:gd name="T101" fmla="*/ 2147483647 h 81"/>
                <a:gd name="T102" fmla="*/ 2147483647 w 94"/>
                <a:gd name="T103" fmla="*/ 2147483647 h 81"/>
                <a:gd name="T104" fmla="*/ 2147483647 w 94"/>
                <a:gd name="T105" fmla="*/ 2147483647 h 81"/>
                <a:gd name="T106" fmla="*/ 2147483647 w 94"/>
                <a:gd name="T107" fmla="*/ 2147483647 h 81"/>
                <a:gd name="T108" fmla="*/ 2147483647 w 94"/>
                <a:gd name="T109" fmla="*/ 2147483647 h 8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4"/>
                <a:gd name="T166" fmla="*/ 0 h 81"/>
                <a:gd name="T167" fmla="*/ 94 w 94"/>
                <a:gd name="T168" fmla="*/ 81 h 8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4" h="81">
                  <a:moveTo>
                    <a:pt x="52" y="52"/>
                  </a:moveTo>
                  <a:lnTo>
                    <a:pt x="55" y="52"/>
                  </a:lnTo>
                  <a:lnTo>
                    <a:pt x="55" y="55"/>
                  </a:lnTo>
                  <a:lnTo>
                    <a:pt x="55" y="52"/>
                  </a:lnTo>
                  <a:lnTo>
                    <a:pt x="58" y="55"/>
                  </a:lnTo>
                  <a:lnTo>
                    <a:pt x="58" y="52"/>
                  </a:lnTo>
                  <a:lnTo>
                    <a:pt x="62" y="52"/>
                  </a:lnTo>
                  <a:lnTo>
                    <a:pt x="62" y="55"/>
                  </a:lnTo>
                  <a:lnTo>
                    <a:pt x="65" y="55"/>
                  </a:lnTo>
                  <a:lnTo>
                    <a:pt x="68" y="58"/>
                  </a:lnTo>
                  <a:lnTo>
                    <a:pt x="71" y="61"/>
                  </a:lnTo>
                  <a:lnTo>
                    <a:pt x="68" y="61"/>
                  </a:lnTo>
                  <a:lnTo>
                    <a:pt x="71" y="65"/>
                  </a:lnTo>
                  <a:lnTo>
                    <a:pt x="71" y="68"/>
                  </a:lnTo>
                  <a:lnTo>
                    <a:pt x="71" y="71"/>
                  </a:lnTo>
                  <a:lnTo>
                    <a:pt x="71" y="74"/>
                  </a:lnTo>
                  <a:lnTo>
                    <a:pt x="68" y="74"/>
                  </a:lnTo>
                  <a:lnTo>
                    <a:pt x="68" y="78"/>
                  </a:lnTo>
                  <a:lnTo>
                    <a:pt x="65" y="81"/>
                  </a:lnTo>
                  <a:lnTo>
                    <a:pt x="62" y="78"/>
                  </a:lnTo>
                  <a:lnTo>
                    <a:pt x="62" y="81"/>
                  </a:lnTo>
                  <a:lnTo>
                    <a:pt x="58" y="81"/>
                  </a:lnTo>
                  <a:lnTo>
                    <a:pt x="55" y="81"/>
                  </a:lnTo>
                  <a:lnTo>
                    <a:pt x="52" y="78"/>
                  </a:lnTo>
                  <a:lnTo>
                    <a:pt x="52" y="74"/>
                  </a:lnTo>
                  <a:lnTo>
                    <a:pt x="49" y="74"/>
                  </a:lnTo>
                  <a:lnTo>
                    <a:pt x="49" y="71"/>
                  </a:lnTo>
                  <a:lnTo>
                    <a:pt x="49" y="68"/>
                  </a:lnTo>
                  <a:lnTo>
                    <a:pt x="45" y="65"/>
                  </a:lnTo>
                  <a:lnTo>
                    <a:pt x="45" y="61"/>
                  </a:lnTo>
                  <a:lnTo>
                    <a:pt x="45" y="58"/>
                  </a:lnTo>
                  <a:lnTo>
                    <a:pt x="45" y="61"/>
                  </a:lnTo>
                  <a:lnTo>
                    <a:pt x="42" y="61"/>
                  </a:lnTo>
                  <a:lnTo>
                    <a:pt x="42" y="65"/>
                  </a:lnTo>
                  <a:lnTo>
                    <a:pt x="39" y="65"/>
                  </a:lnTo>
                  <a:lnTo>
                    <a:pt x="39" y="68"/>
                  </a:lnTo>
                  <a:lnTo>
                    <a:pt x="36" y="68"/>
                  </a:lnTo>
                  <a:lnTo>
                    <a:pt x="36" y="71"/>
                  </a:lnTo>
                  <a:lnTo>
                    <a:pt x="32" y="71"/>
                  </a:lnTo>
                  <a:lnTo>
                    <a:pt x="29" y="71"/>
                  </a:lnTo>
                  <a:lnTo>
                    <a:pt x="26" y="71"/>
                  </a:lnTo>
                  <a:lnTo>
                    <a:pt x="23" y="71"/>
                  </a:lnTo>
                  <a:lnTo>
                    <a:pt x="19" y="71"/>
                  </a:lnTo>
                  <a:lnTo>
                    <a:pt x="19" y="68"/>
                  </a:lnTo>
                  <a:lnTo>
                    <a:pt x="19" y="71"/>
                  </a:lnTo>
                  <a:lnTo>
                    <a:pt x="16" y="68"/>
                  </a:lnTo>
                  <a:lnTo>
                    <a:pt x="16" y="65"/>
                  </a:lnTo>
                  <a:lnTo>
                    <a:pt x="13" y="65"/>
                  </a:lnTo>
                  <a:lnTo>
                    <a:pt x="10" y="65"/>
                  </a:lnTo>
                  <a:lnTo>
                    <a:pt x="6" y="61"/>
                  </a:lnTo>
                  <a:lnTo>
                    <a:pt x="6" y="58"/>
                  </a:lnTo>
                  <a:lnTo>
                    <a:pt x="6" y="55"/>
                  </a:lnTo>
                  <a:lnTo>
                    <a:pt x="3" y="55"/>
                  </a:lnTo>
                  <a:lnTo>
                    <a:pt x="3" y="52"/>
                  </a:lnTo>
                  <a:lnTo>
                    <a:pt x="0" y="48"/>
                  </a:lnTo>
                  <a:lnTo>
                    <a:pt x="3" y="48"/>
                  </a:lnTo>
                  <a:lnTo>
                    <a:pt x="6" y="45"/>
                  </a:lnTo>
                  <a:lnTo>
                    <a:pt x="3" y="45"/>
                  </a:lnTo>
                  <a:lnTo>
                    <a:pt x="6" y="45"/>
                  </a:lnTo>
                  <a:lnTo>
                    <a:pt x="6" y="42"/>
                  </a:lnTo>
                  <a:lnTo>
                    <a:pt x="10" y="42"/>
                  </a:lnTo>
                  <a:lnTo>
                    <a:pt x="10" y="39"/>
                  </a:lnTo>
                  <a:lnTo>
                    <a:pt x="13" y="39"/>
                  </a:lnTo>
                  <a:lnTo>
                    <a:pt x="16" y="39"/>
                  </a:lnTo>
                  <a:lnTo>
                    <a:pt x="19" y="39"/>
                  </a:lnTo>
                  <a:lnTo>
                    <a:pt x="23" y="39"/>
                  </a:lnTo>
                  <a:lnTo>
                    <a:pt x="26" y="39"/>
                  </a:lnTo>
                  <a:lnTo>
                    <a:pt x="26" y="42"/>
                  </a:lnTo>
                  <a:lnTo>
                    <a:pt x="26" y="39"/>
                  </a:lnTo>
                  <a:lnTo>
                    <a:pt x="29" y="42"/>
                  </a:lnTo>
                  <a:lnTo>
                    <a:pt x="29" y="45"/>
                  </a:lnTo>
                  <a:lnTo>
                    <a:pt x="32" y="45"/>
                  </a:lnTo>
                  <a:lnTo>
                    <a:pt x="36" y="48"/>
                  </a:lnTo>
                  <a:lnTo>
                    <a:pt x="36" y="52"/>
                  </a:lnTo>
                  <a:lnTo>
                    <a:pt x="39" y="48"/>
                  </a:lnTo>
                  <a:lnTo>
                    <a:pt x="39" y="52"/>
                  </a:lnTo>
                  <a:lnTo>
                    <a:pt x="42" y="52"/>
                  </a:lnTo>
                  <a:lnTo>
                    <a:pt x="42" y="48"/>
                  </a:lnTo>
                  <a:lnTo>
                    <a:pt x="39" y="48"/>
                  </a:lnTo>
                  <a:lnTo>
                    <a:pt x="39" y="45"/>
                  </a:lnTo>
                  <a:lnTo>
                    <a:pt x="42" y="45"/>
                  </a:lnTo>
                  <a:lnTo>
                    <a:pt x="39" y="42"/>
                  </a:lnTo>
                  <a:lnTo>
                    <a:pt x="36" y="39"/>
                  </a:lnTo>
                  <a:lnTo>
                    <a:pt x="32" y="35"/>
                  </a:lnTo>
                  <a:lnTo>
                    <a:pt x="32" y="32"/>
                  </a:lnTo>
                  <a:lnTo>
                    <a:pt x="29" y="32"/>
                  </a:lnTo>
                  <a:lnTo>
                    <a:pt x="29" y="29"/>
                  </a:lnTo>
                  <a:lnTo>
                    <a:pt x="29" y="26"/>
                  </a:lnTo>
                  <a:lnTo>
                    <a:pt x="26" y="26"/>
                  </a:lnTo>
                  <a:lnTo>
                    <a:pt x="26" y="22"/>
                  </a:lnTo>
                  <a:lnTo>
                    <a:pt x="29" y="22"/>
                  </a:lnTo>
                  <a:lnTo>
                    <a:pt x="26" y="19"/>
                  </a:lnTo>
                  <a:lnTo>
                    <a:pt x="29" y="19"/>
                  </a:lnTo>
                  <a:lnTo>
                    <a:pt x="26" y="16"/>
                  </a:lnTo>
                  <a:lnTo>
                    <a:pt x="29" y="16"/>
                  </a:lnTo>
                  <a:lnTo>
                    <a:pt x="26" y="16"/>
                  </a:lnTo>
                  <a:lnTo>
                    <a:pt x="29" y="13"/>
                  </a:lnTo>
                  <a:lnTo>
                    <a:pt x="32" y="13"/>
                  </a:lnTo>
                  <a:lnTo>
                    <a:pt x="29" y="9"/>
                  </a:lnTo>
                  <a:lnTo>
                    <a:pt x="32" y="9"/>
                  </a:lnTo>
                  <a:lnTo>
                    <a:pt x="32" y="6"/>
                  </a:lnTo>
                  <a:lnTo>
                    <a:pt x="36" y="6"/>
                  </a:lnTo>
                  <a:lnTo>
                    <a:pt x="36" y="3"/>
                  </a:lnTo>
                  <a:lnTo>
                    <a:pt x="39" y="3"/>
                  </a:lnTo>
                  <a:lnTo>
                    <a:pt x="42" y="3"/>
                  </a:lnTo>
                  <a:lnTo>
                    <a:pt x="45" y="3"/>
                  </a:lnTo>
                  <a:lnTo>
                    <a:pt x="45" y="0"/>
                  </a:lnTo>
                  <a:lnTo>
                    <a:pt x="45" y="3"/>
                  </a:lnTo>
                  <a:lnTo>
                    <a:pt x="49" y="3"/>
                  </a:lnTo>
                  <a:lnTo>
                    <a:pt x="52" y="3"/>
                  </a:lnTo>
                  <a:lnTo>
                    <a:pt x="55" y="6"/>
                  </a:lnTo>
                  <a:lnTo>
                    <a:pt x="55" y="3"/>
                  </a:lnTo>
                  <a:lnTo>
                    <a:pt x="55" y="6"/>
                  </a:lnTo>
                  <a:lnTo>
                    <a:pt x="58" y="6"/>
                  </a:lnTo>
                  <a:lnTo>
                    <a:pt x="62" y="6"/>
                  </a:lnTo>
                  <a:lnTo>
                    <a:pt x="62" y="9"/>
                  </a:lnTo>
                  <a:lnTo>
                    <a:pt x="65" y="13"/>
                  </a:lnTo>
                  <a:lnTo>
                    <a:pt x="68" y="16"/>
                  </a:lnTo>
                  <a:lnTo>
                    <a:pt x="68" y="19"/>
                  </a:lnTo>
                  <a:lnTo>
                    <a:pt x="68" y="22"/>
                  </a:lnTo>
                  <a:lnTo>
                    <a:pt x="68" y="26"/>
                  </a:lnTo>
                  <a:lnTo>
                    <a:pt x="65" y="26"/>
                  </a:lnTo>
                  <a:lnTo>
                    <a:pt x="65" y="29"/>
                  </a:lnTo>
                  <a:lnTo>
                    <a:pt x="62" y="29"/>
                  </a:lnTo>
                  <a:lnTo>
                    <a:pt x="58" y="32"/>
                  </a:lnTo>
                  <a:lnTo>
                    <a:pt x="55" y="32"/>
                  </a:lnTo>
                  <a:lnTo>
                    <a:pt x="52" y="35"/>
                  </a:lnTo>
                  <a:lnTo>
                    <a:pt x="49" y="35"/>
                  </a:lnTo>
                  <a:lnTo>
                    <a:pt x="49" y="39"/>
                  </a:lnTo>
                  <a:lnTo>
                    <a:pt x="45" y="39"/>
                  </a:lnTo>
                  <a:lnTo>
                    <a:pt x="49" y="39"/>
                  </a:lnTo>
                  <a:lnTo>
                    <a:pt x="52" y="39"/>
                  </a:lnTo>
                  <a:lnTo>
                    <a:pt x="52" y="35"/>
                  </a:lnTo>
                  <a:lnTo>
                    <a:pt x="55" y="35"/>
                  </a:lnTo>
                  <a:lnTo>
                    <a:pt x="58" y="35"/>
                  </a:lnTo>
                  <a:lnTo>
                    <a:pt x="58" y="32"/>
                  </a:lnTo>
                  <a:lnTo>
                    <a:pt x="62" y="32"/>
                  </a:lnTo>
                  <a:lnTo>
                    <a:pt x="62" y="29"/>
                  </a:lnTo>
                  <a:lnTo>
                    <a:pt x="65" y="29"/>
                  </a:lnTo>
                  <a:lnTo>
                    <a:pt x="65" y="26"/>
                  </a:lnTo>
                  <a:lnTo>
                    <a:pt x="68" y="26"/>
                  </a:lnTo>
                  <a:lnTo>
                    <a:pt x="71" y="26"/>
                  </a:lnTo>
                  <a:lnTo>
                    <a:pt x="75" y="22"/>
                  </a:lnTo>
                  <a:lnTo>
                    <a:pt x="75" y="26"/>
                  </a:lnTo>
                  <a:lnTo>
                    <a:pt x="78" y="22"/>
                  </a:lnTo>
                  <a:lnTo>
                    <a:pt x="78" y="26"/>
                  </a:lnTo>
                  <a:lnTo>
                    <a:pt x="81" y="26"/>
                  </a:lnTo>
                  <a:lnTo>
                    <a:pt x="81" y="29"/>
                  </a:lnTo>
                  <a:lnTo>
                    <a:pt x="84" y="29"/>
                  </a:lnTo>
                  <a:lnTo>
                    <a:pt x="84" y="32"/>
                  </a:lnTo>
                  <a:lnTo>
                    <a:pt x="84" y="29"/>
                  </a:lnTo>
                  <a:lnTo>
                    <a:pt x="88" y="32"/>
                  </a:lnTo>
                  <a:lnTo>
                    <a:pt x="91" y="32"/>
                  </a:lnTo>
                  <a:lnTo>
                    <a:pt x="91" y="35"/>
                  </a:lnTo>
                  <a:lnTo>
                    <a:pt x="94" y="39"/>
                  </a:lnTo>
                  <a:lnTo>
                    <a:pt x="94" y="42"/>
                  </a:lnTo>
                  <a:lnTo>
                    <a:pt x="94" y="45"/>
                  </a:lnTo>
                  <a:lnTo>
                    <a:pt x="94" y="48"/>
                  </a:lnTo>
                  <a:lnTo>
                    <a:pt x="91" y="52"/>
                  </a:lnTo>
                  <a:lnTo>
                    <a:pt x="94" y="52"/>
                  </a:lnTo>
                  <a:lnTo>
                    <a:pt x="91" y="52"/>
                  </a:lnTo>
                  <a:lnTo>
                    <a:pt x="91" y="55"/>
                  </a:lnTo>
                  <a:lnTo>
                    <a:pt x="88" y="55"/>
                  </a:lnTo>
                  <a:lnTo>
                    <a:pt x="88" y="58"/>
                  </a:lnTo>
                  <a:lnTo>
                    <a:pt x="84" y="58"/>
                  </a:lnTo>
                  <a:lnTo>
                    <a:pt x="81" y="58"/>
                  </a:lnTo>
                  <a:lnTo>
                    <a:pt x="78" y="58"/>
                  </a:lnTo>
                  <a:lnTo>
                    <a:pt x="78" y="55"/>
                  </a:lnTo>
                  <a:lnTo>
                    <a:pt x="75" y="52"/>
                  </a:lnTo>
                  <a:lnTo>
                    <a:pt x="71" y="52"/>
                  </a:lnTo>
                  <a:lnTo>
                    <a:pt x="71" y="48"/>
                  </a:lnTo>
                  <a:lnTo>
                    <a:pt x="68" y="48"/>
                  </a:lnTo>
                  <a:lnTo>
                    <a:pt x="68" y="45"/>
                  </a:lnTo>
                  <a:lnTo>
                    <a:pt x="65" y="45"/>
                  </a:lnTo>
                  <a:lnTo>
                    <a:pt x="62" y="45"/>
                  </a:lnTo>
                  <a:lnTo>
                    <a:pt x="58" y="48"/>
                  </a:lnTo>
                  <a:lnTo>
                    <a:pt x="55" y="48"/>
                  </a:lnTo>
                  <a:lnTo>
                    <a:pt x="55" y="52"/>
                  </a:lnTo>
                  <a:lnTo>
                    <a:pt x="55" y="55"/>
                  </a:lnTo>
                  <a:lnTo>
                    <a:pt x="52" y="58"/>
                  </a:lnTo>
                </a:path>
              </a:pathLst>
            </a:custGeom>
            <a:solidFill>
              <a:srgbClr val="66CCFF"/>
            </a:solidFill>
            <a:ln w="4763">
              <a:solidFill>
                <a:srgbClr val="000000"/>
              </a:solidFill>
              <a:round/>
              <a:headEnd/>
              <a:tailEnd/>
            </a:ln>
          </p:spPr>
          <p:txBody>
            <a:bodyPr rot="10800000" vert="eaVert"/>
            <a:lstStyle/>
            <a:p>
              <a:endParaRPr lang="it-IT"/>
            </a:p>
          </p:txBody>
        </p:sp>
      </p:grpSp>
      <p:sp>
        <p:nvSpPr>
          <p:cNvPr id="6236" name="Text Box 98"/>
          <p:cNvSpPr txBox="1">
            <a:spLocks noChangeArrowheads="1"/>
          </p:cNvSpPr>
          <p:nvPr/>
        </p:nvSpPr>
        <p:spPr bwMode="auto">
          <a:xfrm>
            <a:off x="903288" y="2873375"/>
            <a:ext cx="1196975" cy="292100"/>
          </a:xfrm>
          <a:prstGeom prst="rect">
            <a:avLst/>
          </a:prstGeom>
          <a:solidFill>
            <a:srgbClr val="FFCC00"/>
          </a:solidFill>
          <a:ln w="9525">
            <a:solidFill>
              <a:srgbClr val="FFCC00"/>
            </a:solidFill>
            <a:miter lim="800000"/>
            <a:headEnd/>
            <a:tailEnd/>
          </a:ln>
          <a:scene3d>
            <a:camera prst="orthographicFront"/>
            <a:lightRig rig="threePt" dir="t"/>
          </a:scene3d>
          <a:sp3d>
            <a:bevelT/>
          </a:sp3d>
        </p:spPr>
        <p:txBody>
          <a:bodyPr wrap="none">
            <a:spAutoFit/>
          </a:bodyPr>
          <a:lstStyle/>
          <a:p>
            <a:pPr>
              <a:defRPr/>
            </a:pPr>
            <a:r>
              <a:rPr lang="it-IT" sz="1300" dirty="0">
                <a:solidFill>
                  <a:srgbClr val="000099"/>
                </a:solidFill>
                <a:ea typeface="+mn-ea"/>
                <a:cs typeface="Arial" charset="0"/>
              </a:rPr>
              <a:t>Macrophages</a:t>
            </a:r>
          </a:p>
        </p:txBody>
      </p:sp>
      <p:sp>
        <p:nvSpPr>
          <p:cNvPr id="19557" name="Text Box 135"/>
          <p:cNvSpPr txBox="1">
            <a:spLocks noChangeArrowheads="1"/>
          </p:cNvSpPr>
          <p:nvPr/>
        </p:nvSpPr>
        <p:spPr bwMode="auto">
          <a:xfrm>
            <a:off x="573088" y="3224213"/>
            <a:ext cx="633412" cy="830262"/>
          </a:xfrm>
          <a:prstGeom prst="rect">
            <a:avLst/>
          </a:prstGeom>
          <a:noFill/>
          <a:ln w="9525">
            <a:noFill/>
            <a:miter lim="800000"/>
            <a:headEnd/>
            <a:tailEnd/>
          </a:ln>
        </p:spPr>
        <p:txBody>
          <a:bodyPr wrap="none">
            <a:spAutoFit/>
          </a:bodyPr>
          <a:lstStyle/>
          <a:p>
            <a:r>
              <a:rPr lang="it-IT" sz="1200">
                <a:solidFill>
                  <a:schemeClr val="tx2"/>
                </a:solidFill>
                <a:cs typeface="Arial" charset="0"/>
              </a:rPr>
              <a:t>VEGF</a:t>
            </a:r>
          </a:p>
          <a:p>
            <a:r>
              <a:rPr lang="it-IT" sz="1200">
                <a:solidFill>
                  <a:schemeClr val="tx2"/>
                </a:solidFill>
                <a:cs typeface="Arial" charset="0"/>
              </a:rPr>
              <a:t>FGF</a:t>
            </a:r>
          </a:p>
          <a:p>
            <a:r>
              <a:rPr lang="it-IT" sz="1200">
                <a:solidFill>
                  <a:schemeClr val="tx2"/>
                </a:solidFill>
                <a:cs typeface="Arial" charset="0"/>
              </a:rPr>
              <a:t>IGF-1</a:t>
            </a:r>
          </a:p>
          <a:p>
            <a:r>
              <a:rPr lang="it-IT" sz="1200">
                <a:solidFill>
                  <a:schemeClr val="tx2"/>
                </a:solidFill>
                <a:cs typeface="Arial" charset="0"/>
              </a:rPr>
              <a:t>TGF-</a:t>
            </a:r>
            <a:r>
              <a:rPr lang="el-GR" sz="1200">
                <a:solidFill>
                  <a:schemeClr val="tx2"/>
                </a:solidFill>
                <a:cs typeface="Arial" charset="0"/>
              </a:rPr>
              <a:t>β</a:t>
            </a:r>
            <a:endParaRPr lang="it-IT" sz="1200">
              <a:solidFill>
                <a:schemeClr val="tx2"/>
              </a:solidFill>
              <a:cs typeface="Arial" charset="0"/>
            </a:endParaRPr>
          </a:p>
        </p:txBody>
      </p:sp>
      <p:sp>
        <p:nvSpPr>
          <p:cNvPr id="19558" name="Line 145"/>
          <p:cNvSpPr>
            <a:spLocks noChangeShapeType="1"/>
          </p:cNvSpPr>
          <p:nvPr/>
        </p:nvSpPr>
        <p:spPr bwMode="auto">
          <a:xfrm flipV="1">
            <a:off x="1358900" y="3268663"/>
            <a:ext cx="0" cy="685800"/>
          </a:xfrm>
          <a:prstGeom prst="line">
            <a:avLst/>
          </a:prstGeom>
          <a:noFill/>
          <a:ln w="28575">
            <a:solidFill>
              <a:schemeClr val="hlink"/>
            </a:solidFill>
            <a:round/>
            <a:headEnd/>
            <a:tailEnd type="triangle" w="med" len="med"/>
          </a:ln>
        </p:spPr>
        <p:txBody>
          <a:bodyPr/>
          <a:lstStyle/>
          <a:p>
            <a:endParaRPr lang="it-IT"/>
          </a:p>
        </p:txBody>
      </p:sp>
      <p:sp>
        <p:nvSpPr>
          <p:cNvPr id="19559" name="Line 146"/>
          <p:cNvSpPr>
            <a:spLocks noChangeShapeType="1"/>
          </p:cNvSpPr>
          <p:nvPr/>
        </p:nvSpPr>
        <p:spPr bwMode="auto">
          <a:xfrm>
            <a:off x="1495425" y="3344863"/>
            <a:ext cx="0" cy="609600"/>
          </a:xfrm>
          <a:prstGeom prst="line">
            <a:avLst/>
          </a:prstGeom>
          <a:noFill/>
          <a:ln w="28575">
            <a:solidFill>
              <a:schemeClr val="hlink"/>
            </a:solidFill>
            <a:round/>
            <a:headEnd/>
            <a:tailEnd type="triangle" w="med" len="med"/>
          </a:ln>
        </p:spPr>
        <p:txBody>
          <a:bodyPr/>
          <a:lstStyle/>
          <a:p>
            <a:endParaRPr lang="it-IT"/>
          </a:p>
        </p:txBody>
      </p:sp>
      <p:grpSp>
        <p:nvGrpSpPr>
          <p:cNvPr id="19560" name="Group 163"/>
          <p:cNvGrpSpPr>
            <a:grpSpLocks/>
          </p:cNvGrpSpPr>
          <p:nvPr/>
        </p:nvGrpSpPr>
        <p:grpSpPr bwMode="auto">
          <a:xfrm>
            <a:off x="7361238" y="3386138"/>
            <a:ext cx="315912" cy="323850"/>
            <a:chOff x="2200" y="572"/>
            <a:chExt cx="317" cy="318"/>
          </a:xfrm>
        </p:grpSpPr>
        <p:sp>
          <p:nvSpPr>
            <p:cNvPr id="19629" name="Oval 12"/>
            <p:cNvSpPr>
              <a:spLocks noChangeArrowheads="1"/>
            </p:cNvSpPr>
            <p:nvPr/>
          </p:nvSpPr>
          <p:spPr bwMode="auto">
            <a:xfrm>
              <a:off x="2200" y="572"/>
              <a:ext cx="317" cy="318"/>
            </a:xfrm>
            <a:prstGeom prst="ellipse">
              <a:avLst/>
            </a:prstGeom>
            <a:gradFill rotWithShape="1">
              <a:gsLst>
                <a:gs pos="0">
                  <a:srgbClr val="CC99FF">
                    <a:alpha val="89998"/>
                  </a:srgbClr>
                </a:gs>
                <a:gs pos="100000">
                  <a:srgbClr val="AF83DB"/>
                </a:gs>
              </a:gsLst>
              <a:path path="shape">
                <a:fillToRect l="50000" t="50000" r="50000" b="50000"/>
              </a:path>
            </a:gradFill>
            <a:ln w="9525">
              <a:solidFill>
                <a:srgbClr val="800080"/>
              </a:solidFill>
              <a:round/>
              <a:headEnd/>
              <a:tailEnd/>
            </a:ln>
          </p:spPr>
          <p:txBody>
            <a:bodyPr wrap="none" anchor="ctr"/>
            <a:lstStyle/>
            <a:p>
              <a:endParaRPr lang="it-IT" sz="2400">
                <a:latin typeface="Times New Roman" pitchFamily="18" charset="0"/>
                <a:cs typeface="Arial" charset="0"/>
              </a:endParaRPr>
            </a:p>
          </p:txBody>
        </p:sp>
        <p:sp>
          <p:nvSpPr>
            <p:cNvPr id="19630" name="Oval 13"/>
            <p:cNvSpPr>
              <a:spLocks noChangeArrowheads="1"/>
            </p:cNvSpPr>
            <p:nvPr/>
          </p:nvSpPr>
          <p:spPr bwMode="auto">
            <a:xfrm>
              <a:off x="2216" y="607"/>
              <a:ext cx="248" cy="242"/>
            </a:xfrm>
            <a:prstGeom prst="ellipse">
              <a:avLst/>
            </a:prstGeom>
            <a:gradFill rotWithShape="1">
              <a:gsLst>
                <a:gs pos="0">
                  <a:srgbClr val="3B003B"/>
                </a:gs>
                <a:gs pos="100000">
                  <a:srgbClr val="800080"/>
                </a:gs>
              </a:gsLst>
              <a:path path="shape">
                <a:fillToRect l="50000" t="50000" r="50000" b="50000"/>
              </a:path>
            </a:gradFill>
            <a:ln w="9525">
              <a:solidFill>
                <a:srgbClr val="C5BFC5"/>
              </a:solidFill>
              <a:round/>
              <a:headEnd/>
              <a:tailEnd/>
            </a:ln>
          </p:spPr>
          <p:txBody>
            <a:bodyPr wrap="none" anchor="ctr"/>
            <a:lstStyle/>
            <a:p>
              <a:endParaRPr lang="it-IT" sz="2400">
                <a:latin typeface="Times New Roman" pitchFamily="18" charset="0"/>
                <a:cs typeface="Arial" charset="0"/>
              </a:endParaRPr>
            </a:p>
          </p:txBody>
        </p:sp>
      </p:grpSp>
      <p:grpSp>
        <p:nvGrpSpPr>
          <p:cNvPr id="19561" name="Group 166"/>
          <p:cNvGrpSpPr>
            <a:grpSpLocks/>
          </p:cNvGrpSpPr>
          <p:nvPr/>
        </p:nvGrpSpPr>
        <p:grpSpPr bwMode="auto">
          <a:xfrm>
            <a:off x="7624763" y="3602038"/>
            <a:ext cx="315912" cy="323850"/>
            <a:chOff x="2200" y="572"/>
            <a:chExt cx="317" cy="318"/>
          </a:xfrm>
        </p:grpSpPr>
        <p:sp>
          <p:nvSpPr>
            <p:cNvPr id="19627" name="Oval 12"/>
            <p:cNvSpPr>
              <a:spLocks noChangeArrowheads="1"/>
            </p:cNvSpPr>
            <p:nvPr/>
          </p:nvSpPr>
          <p:spPr bwMode="auto">
            <a:xfrm>
              <a:off x="2200" y="572"/>
              <a:ext cx="317" cy="318"/>
            </a:xfrm>
            <a:prstGeom prst="ellipse">
              <a:avLst/>
            </a:prstGeom>
            <a:gradFill rotWithShape="1">
              <a:gsLst>
                <a:gs pos="0">
                  <a:srgbClr val="CC99FF">
                    <a:alpha val="89998"/>
                  </a:srgbClr>
                </a:gs>
                <a:gs pos="100000">
                  <a:srgbClr val="AF83DB"/>
                </a:gs>
              </a:gsLst>
              <a:path path="shape">
                <a:fillToRect l="50000" t="50000" r="50000" b="50000"/>
              </a:path>
            </a:gradFill>
            <a:ln w="9525">
              <a:solidFill>
                <a:srgbClr val="800080"/>
              </a:solidFill>
              <a:round/>
              <a:headEnd/>
              <a:tailEnd/>
            </a:ln>
          </p:spPr>
          <p:txBody>
            <a:bodyPr wrap="none" anchor="ctr"/>
            <a:lstStyle/>
            <a:p>
              <a:endParaRPr lang="it-IT" sz="2400">
                <a:latin typeface="Times New Roman" pitchFamily="18" charset="0"/>
                <a:cs typeface="Arial" charset="0"/>
              </a:endParaRPr>
            </a:p>
          </p:txBody>
        </p:sp>
        <p:sp>
          <p:nvSpPr>
            <p:cNvPr id="19628" name="Oval 13"/>
            <p:cNvSpPr>
              <a:spLocks noChangeArrowheads="1"/>
            </p:cNvSpPr>
            <p:nvPr/>
          </p:nvSpPr>
          <p:spPr bwMode="auto">
            <a:xfrm>
              <a:off x="2216" y="607"/>
              <a:ext cx="248" cy="242"/>
            </a:xfrm>
            <a:prstGeom prst="ellipse">
              <a:avLst/>
            </a:prstGeom>
            <a:gradFill rotWithShape="1">
              <a:gsLst>
                <a:gs pos="0">
                  <a:srgbClr val="3B003B"/>
                </a:gs>
                <a:gs pos="100000">
                  <a:srgbClr val="800080"/>
                </a:gs>
              </a:gsLst>
              <a:path path="shape">
                <a:fillToRect l="50000" t="50000" r="50000" b="50000"/>
              </a:path>
            </a:gradFill>
            <a:ln w="9525">
              <a:solidFill>
                <a:srgbClr val="C5BFC5"/>
              </a:solidFill>
              <a:round/>
              <a:headEnd/>
              <a:tailEnd/>
            </a:ln>
          </p:spPr>
          <p:txBody>
            <a:bodyPr wrap="none" anchor="ctr"/>
            <a:lstStyle/>
            <a:p>
              <a:endParaRPr lang="it-IT" sz="2400">
                <a:latin typeface="Times New Roman" pitchFamily="18" charset="0"/>
                <a:cs typeface="Arial" charset="0"/>
              </a:endParaRPr>
            </a:p>
          </p:txBody>
        </p:sp>
      </p:grpSp>
      <p:grpSp>
        <p:nvGrpSpPr>
          <p:cNvPr id="19562" name="Group 169"/>
          <p:cNvGrpSpPr>
            <a:grpSpLocks/>
          </p:cNvGrpSpPr>
          <p:nvPr/>
        </p:nvGrpSpPr>
        <p:grpSpPr bwMode="auto">
          <a:xfrm rot="7678842">
            <a:off x="7358063" y="3713163"/>
            <a:ext cx="323850" cy="317500"/>
            <a:chOff x="2200" y="572"/>
            <a:chExt cx="317" cy="318"/>
          </a:xfrm>
        </p:grpSpPr>
        <p:sp>
          <p:nvSpPr>
            <p:cNvPr id="19625" name="Oval 12"/>
            <p:cNvSpPr>
              <a:spLocks noChangeArrowheads="1"/>
            </p:cNvSpPr>
            <p:nvPr/>
          </p:nvSpPr>
          <p:spPr bwMode="auto">
            <a:xfrm>
              <a:off x="2200" y="572"/>
              <a:ext cx="317" cy="318"/>
            </a:xfrm>
            <a:prstGeom prst="ellipse">
              <a:avLst/>
            </a:prstGeom>
            <a:gradFill rotWithShape="1">
              <a:gsLst>
                <a:gs pos="0">
                  <a:srgbClr val="CC99FF">
                    <a:alpha val="89998"/>
                  </a:srgbClr>
                </a:gs>
                <a:gs pos="100000">
                  <a:srgbClr val="AF83DB"/>
                </a:gs>
              </a:gsLst>
              <a:path path="shape">
                <a:fillToRect l="50000" t="50000" r="50000" b="50000"/>
              </a:path>
            </a:gradFill>
            <a:ln w="9525">
              <a:solidFill>
                <a:srgbClr val="800080"/>
              </a:solidFill>
              <a:round/>
              <a:headEnd/>
              <a:tailEnd/>
            </a:ln>
          </p:spPr>
          <p:txBody>
            <a:bodyPr rot="10800000" vert="eaVert" wrap="none" anchor="ctr"/>
            <a:lstStyle/>
            <a:p>
              <a:endParaRPr lang="it-IT" sz="2400">
                <a:latin typeface="Times New Roman" pitchFamily="18" charset="0"/>
                <a:cs typeface="Arial" charset="0"/>
              </a:endParaRPr>
            </a:p>
          </p:txBody>
        </p:sp>
        <p:sp>
          <p:nvSpPr>
            <p:cNvPr id="19626" name="Oval 13"/>
            <p:cNvSpPr>
              <a:spLocks noChangeArrowheads="1"/>
            </p:cNvSpPr>
            <p:nvPr/>
          </p:nvSpPr>
          <p:spPr bwMode="auto">
            <a:xfrm>
              <a:off x="2216" y="607"/>
              <a:ext cx="248" cy="242"/>
            </a:xfrm>
            <a:prstGeom prst="ellipse">
              <a:avLst/>
            </a:prstGeom>
            <a:gradFill rotWithShape="1">
              <a:gsLst>
                <a:gs pos="0">
                  <a:srgbClr val="3B003B"/>
                </a:gs>
                <a:gs pos="100000">
                  <a:srgbClr val="800080"/>
                </a:gs>
              </a:gsLst>
              <a:path path="shape">
                <a:fillToRect l="50000" t="50000" r="50000" b="50000"/>
              </a:path>
            </a:gradFill>
            <a:ln w="9525">
              <a:solidFill>
                <a:srgbClr val="C5BFC5"/>
              </a:solidFill>
              <a:round/>
              <a:headEnd/>
              <a:tailEnd/>
            </a:ln>
          </p:spPr>
          <p:txBody>
            <a:bodyPr rot="10800000" vert="eaVert" wrap="none" anchor="ctr"/>
            <a:lstStyle/>
            <a:p>
              <a:endParaRPr lang="it-IT" sz="2400">
                <a:latin typeface="Times New Roman" pitchFamily="18" charset="0"/>
                <a:cs typeface="Arial" charset="0"/>
              </a:endParaRPr>
            </a:p>
          </p:txBody>
        </p:sp>
      </p:grpSp>
      <p:grpSp>
        <p:nvGrpSpPr>
          <p:cNvPr id="19563" name="Group 172"/>
          <p:cNvGrpSpPr>
            <a:grpSpLocks/>
          </p:cNvGrpSpPr>
          <p:nvPr/>
        </p:nvGrpSpPr>
        <p:grpSpPr bwMode="auto">
          <a:xfrm rot="7084982">
            <a:off x="7620794" y="3428206"/>
            <a:ext cx="293688" cy="288925"/>
            <a:chOff x="2200" y="572"/>
            <a:chExt cx="317" cy="318"/>
          </a:xfrm>
        </p:grpSpPr>
        <p:sp>
          <p:nvSpPr>
            <p:cNvPr id="19623" name="Oval 12"/>
            <p:cNvSpPr>
              <a:spLocks noChangeArrowheads="1"/>
            </p:cNvSpPr>
            <p:nvPr/>
          </p:nvSpPr>
          <p:spPr bwMode="auto">
            <a:xfrm>
              <a:off x="2200" y="572"/>
              <a:ext cx="317" cy="318"/>
            </a:xfrm>
            <a:prstGeom prst="ellipse">
              <a:avLst/>
            </a:prstGeom>
            <a:gradFill rotWithShape="1">
              <a:gsLst>
                <a:gs pos="0">
                  <a:srgbClr val="CC99FF">
                    <a:alpha val="89998"/>
                  </a:srgbClr>
                </a:gs>
                <a:gs pos="100000">
                  <a:srgbClr val="AF83DB"/>
                </a:gs>
              </a:gsLst>
              <a:path path="shape">
                <a:fillToRect l="50000" t="50000" r="50000" b="50000"/>
              </a:path>
            </a:gradFill>
            <a:ln w="9525">
              <a:solidFill>
                <a:srgbClr val="800080"/>
              </a:solidFill>
              <a:round/>
              <a:headEnd/>
              <a:tailEnd/>
            </a:ln>
          </p:spPr>
          <p:txBody>
            <a:bodyPr rot="10800000" vert="eaVert" wrap="none" anchor="ctr"/>
            <a:lstStyle/>
            <a:p>
              <a:endParaRPr lang="it-IT" sz="2400">
                <a:latin typeface="Times New Roman" pitchFamily="18" charset="0"/>
                <a:cs typeface="Arial" charset="0"/>
              </a:endParaRPr>
            </a:p>
          </p:txBody>
        </p:sp>
        <p:sp>
          <p:nvSpPr>
            <p:cNvPr id="19624" name="Oval 13"/>
            <p:cNvSpPr>
              <a:spLocks noChangeArrowheads="1"/>
            </p:cNvSpPr>
            <p:nvPr/>
          </p:nvSpPr>
          <p:spPr bwMode="auto">
            <a:xfrm>
              <a:off x="2216" y="607"/>
              <a:ext cx="248" cy="242"/>
            </a:xfrm>
            <a:prstGeom prst="ellipse">
              <a:avLst/>
            </a:prstGeom>
            <a:gradFill rotWithShape="1">
              <a:gsLst>
                <a:gs pos="0">
                  <a:srgbClr val="3B003B"/>
                </a:gs>
                <a:gs pos="100000">
                  <a:srgbClr val="800080"/>
                </a:gs>
              </a:gsLst>
              <a:path path="shape">
                <a:fillToRect l="50000" t="50000" r="50000" b="50000"/>
              </a:path>
            </a:gradFill>
            <a:ln w="9525">
              <a:solidFill>
                <a:srgbClr val="C5BFC5"/>
              </a:solidFill>
              <a:round/>
              <a:headEnd/>
              <a:tailEnd/>
            </a:ln>
          </p:spPr>
          <p:txBody>
            <a:bodyPr rot="10800000" vert="eaVert" wrap="none" anchor="ctr"/>
            <a:lstStyle/>
            <a:p>
              <a:endParaRPr lang="it-IT" sz="2400">
                <a:latin typeface="Times New Roman" pitchFamily="18" charset="0"/>
                <a:cs typeface="Arial" charset="0"/>
              </a:endParaRPr>
            </a:p>
          </p:txBody>
        </p:sp>
      </p:grpSp>
      <p:sp>
        <p:nvSpPr>
          <p:cNvPr id="6244" name="Text Box 164"/>
          <p:cNvSpPr txBox="1">
            <a:spLocks noChangeArrowheads="1"/>
          </p:cNvSpPr>
          <p:nvPr/>
        </p:nvSpPr>
        <p:spPr bwMode="auto">
          <a:xfrm>
            <a:off x="7762875" y="2976563"/>
            <a:ext cx="895350" cy="366712"/>
          </a:xfrm>
          <a:prstGeom prst="rect">
            <a:avLst/>
          </a:prstGeom>
          <a:solidFill>
            <a:srgbClr val="FFCC00"/>
          </a:solidFill>
          <a:ln w="9525">
            <a:solidFill>
              <a:srgbClr val="FFCC00"/>
            </a:solidFill>
            <a:miter lim="800000"/>
            <a:headEnd/>
            <a:tailEnd/>
          </a:ln>
          <a:scene3d>
            <a:camera prst="orthographicFront"/>
            <a:lightRig rig="threePt" dir="t"/>
          </a:scene3d>
          <a:sp3d>
            <a:bevelT/>
          </a:sp3d>
        </p:spPr>
        <p:txBody>
          <a:bodyPr wrap="none">
            <a:spAutoFit/>
          </a:bodyPr>
          <a:lstStyle/>
          <a:p>
            <a:pPr>
              <a:defRPr/>
            </a:pPr>
            <a:r>
              <a:rPr lang="it-IT">
                <a:solidFill>
                  <a:srgbClr val="000099"/>
                </a:solidFill>
                <a:ea typeface="+mn-ea"/>
                <a:cs typeface="Arial" charset="0"/>
              </a:rPr>
              <a:t>T cells</a:t>
            </a:r>
          </a:p>
        </p:txBody>
      </p:sp>
      <p:grpSp>
        <p:nvGrpSpPr>
          <p:cNvPr id="19567" name="Group 176"/>
          <p:cNvGrpSpPr>
            <a:grpSpLocks/>
          </p:cNvGrpSpPr>
          <p:nvPr/>
        </p:nvGrpSpPr>
        <p:grpSpPr bwMode="auto">
          <a:xfrm>
            <a:off x="7739063" y="4587875"/>
            <a:ext cx="792162" cy="893763"/>
            <a:chOff x="3107" y="799"/>
            <a:chExt cx="628" cy="726"/>
          </a:xfrm>
        </p:grpSpPr>
        <p:grpSp>
          <p:nvGrpSpPr>
            <p:cNvPr id="19613" name="Group 177"/>
            <p:cNvGrpSpPr>
              <a:grpSpLocks/>
            </p:cNvGrpSpPr>
            <p:nvPr/>
          </p:nvGrpSpPr>
          <p:grpSpPr bwMode="auto">
            <a:xfrm>
              <a:off x="3107" y="799"/>
              <a:ext cx="499" cy="583"/>
              <a:chOff x="2517" y="443"/>
              <a:chExt cx="499" cy="583"/>
            </a:xfrm>
          </p:grpSpPr>
          <p:sp>
            <p:nvSpPr>
              <p:cNvPr id="115890" name="Freeform 178"/>
              <p:cNvSpPr>
                <a:spLocks/>
              </p:cNvSpPr>
              <p:nvPr/>
            </p:nvSpPr>
            <p:spPr bwMode="auto">
              <a:xfrm>
                <a:off x="2517" y="443"/>
                <a:ext cx="499" cy="583"/>
              </a:xfrm>
              <a:custGeom>
                <a:avLst/>
                <a:gdLst/>
                <a:ahLst/>
                <a:cxnLst>
                  <a:cxn ang="0">
                    <a:pos x="196" y="33"/>
                  </a:cxn>
                  <a:cxn ang="0">
                    <a:pos x="266" y="72"/>
                  </a:cxn>
                  <a:cxn ang="0">
                    <a:pos x="377" y="22"/>
                  </a:cxn>
                  <a:cxn ang="0">
                    <a:pos x="341" y="107"/>
                  </a:cxn>
                  <a:cxn ang="0">
                    <a:pos x="485" y="152"/>
                  </a:cxn>
                  <a:cxn ang="0">
                    <a:pos x="410" y="230"/>
                  </a:cxn>
                  <a:cxn ang="0">
                    <a:pos x="489" y="310"/>
                  </a:cxn>
                  <a:cxn ang="0">
                    <a:pos x="404" y="342"/>
                  </a:cxn>
                  <a:cxn ang="0">
                    <a:pos x="482" y="513"/>
                  </a:cxn>
                  <a:cxn ang="0">
                    <a:pos x="301" y="391"/>
                  </a:cxn>
                  <a:cxn ang="0">
                    <a:pos x="197" y="579"/>
                  </a:cxn>
                  <a:cxn ang="0">
                    <a:pos x="188" y="365"/>
                  </a:cxn>
                  <a:cxn ang="0">
                    <a:pos x="29" y="462"/>
                  </a:cxn>
                  <a:cxn ang="0">
                    <a:pos x="114" y="340"/>
                  </a:cxn>
                  <a:cxn ang="0">
                    <a:pos x="31" y="282"/>
                  </a:cxn>
                  <a:cxn ang="0">
                    <a:pos x="115" y="250"/>
                  </a:cxn>
                  <a:cxn ang="0">
                    <a:pos x="3" y="142"/>
                  </a:cxn>
                  <a:cxn ang="0">
                    <a:pos x="131" y="132"/>
                  </a:cxn>
                  <a:cxn ang="0">
                    <a:pos x="157" y="64"/>
                  </a:cxn>
                  <a:cxn ang="0">
                    <a:pos x="148" y="5"/>
                  </a:cxn>
                  <a:cxn ang="0">
                    <a:pos x="196" y="33"/>
                  </a:cxn>
                </a:cxnLst>
                <a:rect l="0" t="0" r="r" b="b"/>
                <a:pathLst>
                  <a:path w="499" h="583">
                    <a:moveTo>
                      <a:pt x="196" y="33"/>
                    </a:moveTo>
                    <a:cubicBezTo>
                      <a:pt x="218" y="43"/>
                      <a:pt x="235" y="74"/>
                      <a:pt x="266" y="72"/>
                    </a:cubicBezTo>
                    <a:cubicBezTo>
                      <a:pt x="296" y="71"/>
                      <a:pt x="366" y="17"/>
                      <a:pt x="377" y="22"/>
                    </a:cubicBezTo>
                    <a:cubicBezTo>
                      <a:pt x="390" y="28"/>
                      <a:pt x="322" y="84"/>
                      <a:pt x="341" y="107"/>
                    </a:cubicBezTo>
                    <a:cubicBezTo>
                      <a:pt x="358" y="128"/>
                      <a:pt x="473" y="132"/>
                      <a:pt x="485" y="152"/>
                    </a:cubicBezTo>
                    <a:cubicBezTo>
                      <a:pt x="496" y="173"/>
                      <a:pt x="409" y="204"/>
                      <a:pt x="410" y="230"/>
                    </a:cubicBezTo>
                    <a:cubicBezTo>
                      <a:pt x="410" y="257"/>
                      <a:pt x="490" y="292"/>
                      <a:pt x="489" y="310"/>
                    </a:cubicBezTo>
                    <a:cubicBezTo>
                      <a:pt x="488" y="329"/>
                      <a:pt x="405" y="308"/>
                      <a:pt x="404" y="342"/>
                    </a:cubicBezTo>
                    <a:cubicBezTo>
                      <a:pt x="403" y="376"/>
                      <a:pt x="499" y="505"/>
                      <a:pt x="482" y="513"/>
                    </a:cubicBezTo>
                    <a:cubicBezTo>
                      <a:pt x="465" y="521"/>
                      <a:pt x="348" y="380"/>
                      <a:pt x="301" y="391"/>
                    </a:cubicBezTo>
                    <a:cubicBezTo>
                      <a:pt x="254" y="402"/>
                      <a:pt x="216" y="583"/>
                      <a:pt x="197" y="579"/>
                    </a:cubicBezTo>
                    <a:cubicBezTo>
                      <a:pt x="178" y="575"/>
                      <a:pt x="216" y="385"/>
                      <a:pt x="188" y="365"/>
                    </a:cubicBezTo>
                    <a:cubicBezTo>
                      <a:pt x="160" y="345"/>
                      <a:pt x="41" y="466"/>
                      <a:pt x="29" y="462"/>
                    </a:cubicBezTo>
                    <a:cubicBezTo>
                      <a:pt x="17" y="458"/>
                      <a:pt x="114" y="370"/>
                      <a:pt x="114" y="340"/>
                    </a:cubicBezTo>
                    <a:cubicBezTo>
                      <a:pt x="115" y="311"/>
                      <a:pt x="31" y="296"/>
                      <a:pt x="31" y="282"/>
                    </a:cubicBezTo>
                    <a:cubicBezTo>
                      <a:pt x="31" y="268"/>
                      <a:pt x="119" y="274"/>
                      <a:pt x="115" y="250"/>
                    </a:cubicBezTo>
                    <a:cubicBezTo>
                      <a:pt x="110" y="227"/>
                      <a:pt x="0" y="161"/>
                      <a:pt x="3" y="142"/>
                    </a:cubicBezTo>
                    <a:cubicBezTo>
                      <a:pt x="6" y="123"/>
                      <a:pt x="106" y="145"/>
                      <a:pt x="131" y="132"/>
                    </a:cubicBezTo>
                    <a:cubicBezTo>
                      <a:pt x="158" y="120"/>
                      <a:pt x="154" y="85"/>
                      <a:pt x="157" y="64"/>
                    </a:cubicBezTo>
                    <a:cubicBezTo>
                      <a:pt x="160" y="42"/>
                      <a:pt x="141" y="11"/>
                      <a:pt x="148" y="5"/>
                    </a:cubicBezTo>
                    <a:cubicBezTo>
                      <a:pt x="154" y="0"/>
                      <a:pt x="186" y="27"/>
                      <a:pt x="196" y="33"/>
                    </a:cubicBezTo>
                    <a:close/>
                  </a:path>
                </a:pathLst>
              </a:custGeom>
              <a:gradFill rotWithShape="1">
                <a:gsLst>
                  <a:gs pos="0">
                    <a:srgbClr val="DDDDDD">
                      <a:gamma/>
                      <a:shade val="46275"/>
                      <a:invGamma/>
                    </a:srgbClr>
                  </a:gs>
                  <a:gs pos="50000">
                    <a:srgbClr val="DDDDDD">
                      <a:alpha val="99001"/>
                    </a:srgbClr>
                  </a:gs>
                  <a:gs pos="100000">
                    <a:srgbClr val="DDDDDD">
                      <a:gamma/>
                      <a:shade val="46275"/>
                      <a:invGamma/>
                    </a:srgbClr>
                  </a:gs>
                </a:gsLst>
                <a:lin ang="0" scaled="1"/>
              </a:gradFill>
              <a:ln w="9525">
                <a:solidFill>
                  <a:schemeClr val="tx1"/>
                </a:solidFill>
                <a:round/>
                <a:headEnd/>
                <a:tailEnd/>
              </a:ln>
              <a:effectLst/>
            </p:spPr>
            <p:txBody>
              <a:bodyPr/>
              <a:lstStyle/>
              <a:p>
                <a:pPr>
                  <a:defRPr/>
                </a:pPr>
                <a:endParaRPr lang="en-US" dirty="0">
                  <a:latin typeface="Arial" pitchFamily="34" charset="0"/>
                  <a:ea typeface="+mn-ea"/>
                  <a:cs typeface="Arial" pitchFamily="34" charset="0"/>
                </a:endParaRPr>
              </a:p>
            </p:txBody>
          </p:sp>
          <p:sp>
            <p:nvSpPr>
              <p:cNvPr id="19622" name="Oval 179"/>
              <p:cNvSpPr>
                <a:spLocks noChangeArrowheads="1"/>
              </p:cNvSpPr>
              <p:nvPr/>
            </p:nvSpPr>
            <p:spPr bwMode="auto">
              <a:xfrm>
                <a:off x="2699" y="572"/>
                <a:ext cx="181" cy="137"/>
              </a:xfrm>
              <a:prstGeom prst="ellipse">
                <a:avLst/>
              </a:prstGeom>
              <a:solidFill>
                <a:srgbClr val="808080"/>
              </a:solidFill>
              <a:ln w="3175" algn="ctr">
                <a:solidFill>
                  <a:srgbClr val="333333"/>
                </a:solidFill>
                <a:round/>
                <a:headEnd/>
                <a:tailEnd/>
              </a:ln>
            </p:spPr>
            <p:txBody>
              <a:bodyPr wrap="none" anchor="ctr"/>
              <a:lstStyle/>
              <a:p>
                <a:endParaRPr lang="it-IT">
                  <a:cs typeface="Arial" charset="0"/>
                </a:endParaRPr>
              </a:p>
            </p:txBody>
          </p:sp>
        </p:grpSp>
        <p:grpSp>
          <p:nvGrpSpPr>
            <p:cNvPr id="19614" name="Group 180"/>
            <p:cNvGrpSpPr>
              <a:grpSpLocks/>
            </p:cNvGrpSpPr>
            <p:nvPr/>
          </p:nvGrpSpPr>
          <p:grpSpPr bwMode="auto">
            <a:xfrm rot="-6467798">
              <a:off x="3331" y="1120"/>
              <a:ext cx="408" cy="401"/>
              <a:chOff x="2517" y="443"/>
              <a:chExt cx="499" cy="583"/>
            </a:xfrm>
          </p:grpSpPr>
          <p:sp>
            <p:nvSpPr>
              <p:cNvPr id="115893" name="Freeform 181"/>
              <p:cNvSpPr>
                <a:spLocks/>
              </p:cNvSpPr>
              <p:nvPr/>
            </p:nvSpPr>
            <p:spPr bwMode="auto">
              <a:xfrm>
                <a:off x="2517" y="443"/>
                <a:ext cx="499" cy="583"/>
              </a:xfrm>
              <a:custGeom>
                <a:avLst/>
                <a:gdLst/>
                <a:ahLst/>
                <a:cxnLst>
                  <a:cxn ang="0">
                    <a:pos x="196" y="33"/>
                  </a:cxn>
                  <a:cxn ang="0">
                    <a:pos x="266" y="72"/>
                  </a:cxn>
                  <a:cxn ang="0">
                    <a:pos x="377" y="22"/>
                  </a:cxn>
                  <a:cxn ang="0">
                    <a:pos x="341" y="107"/>
                  </a:cxn>
                  <a:cxn ang="0">
                    <a:pos x="485" y="152"/>
                  </a:cxn>
                  <a:cxn ang="0">
                    <a:pos x="410" y="230"/>
                  </a:cxn>
                  <a:cxn ang="0">
                    <a:pos x="489" y="310"/>
                  </a:cxn>
                  <a:cxn ang="0">
                    <a:pos x="404" y="342"/>
                  </a:cxn>
                  <a:cxn ang="0">
                    <a:pos x="482" y="513"/>
                  </a:cxn>
                  <a:cxn ang="0">
                    <a:pos x="301" y="391"/>
                  </a:cxn>
                  <a:cxn ang="0">
                    <a:pos x="197" y="579"/>
                  </a:cxn>
                  <a:cxn ang="0">
                    <a:pos x="188" y="365"/>
                  </a:cxn>
                  <a:cxn ang="0">
                    <a:pos x="29" y="462"/>
                  </a:cxn>
                  <a:cxn ang="0">
                    <a:pos x="114" y="340"/>
                  </a:cxn>
                  <a:cxn ang="0">
                    <a:pos x="31" y="282"/>
                  </a:cxn>
                  <a:cxn ang="0">
                    <a:pos x="115" y="250"/>
                  </a:cxn>
                  <a:cxn ang="0">
                    <a:pos x="3" y="142"/>
                  </a:cxn>
                  <a:cxn ang="0">
                    <a:pos x="131" y="132"/>
                  </a:cxn>
                  <a:cxn ang="0">
                    <a:pos x="157" y="64"/>
                  </a:cxn>
                  <a:cxn ang="0">
                    <a:pos x="148" y="5"/>
                  </a:cxn>
                  <a:cxn ang="0">
                    <a:pos x="196" y="33"/>
                  </a:cxn>
                </a:cxnLst>
                <a:rect l="0" t="0" r="r" b="b"/>
                <a:pathLst>
                  <a:path w="499" h="583">
                    <a:moveTo>
                      <a:pt x="196" y="33"/>
                    </a:moveTo>
                    <a:cubicBezTo>
                      <a:pt x="218" y="43"/>
                      <a:pt x="235" y="74"/>
                      <a:pt x="266" y="72"/>
                    </a:cubicBezTo>
                    <a:cubicBezTo>
                      <a:pt x="296" y="71"/>
                      <a:pt x="366" y="17"/>
                      <a:pt x="377" y="22"/>
                    </a:cubicBezTo>
                    <a:cubicBezTo>
                      <a:pt x="390" y="28"/>
                      <a:pt x="322" y="84"/>
                      <a:pt x="341" y="107"/>
                    </a:cubicBezTo>
                    <a:cubicBezTo>
                      <a:pt x="358" y="128"/>
                      <a:pt x="473" y="132"/>
                      <a:pt x="485" y="152"/>
                    </a:cubicBezTo>
                    <a:cubicBezTo>
                      <a:pt x="496" y="173"/>
                      <a:pt x="409" y="204"/>
                      <a:pt x="410" y="230"/>
                    </a:cubicBezTo>
                    <a:cubicBezTo>
                      <a:pt x="410" y="257"/>
                      <a:pt x="490" y="292"/>
                      <a:pt x="489" y="310"/>
                    </a:cubicBezTo>
                    <a:cubicBezTo>
                      <a:pt x="488" y="329"/>
                      <a:pt x="405" y="308"/>
                      <a:pt x="404" y="342"/>
                    </a:cubicBezTo>
                    <a:cubicBezTo>
                      <a:pt x="403" y="376"/>
                      <a:pt x="499" y="505"/>
                      <a:pt x="482" y="513"/>
                    </a:cubicBezTo>
                    <a:cubicBezTo>
                      <a:pt x="465" y="521"/>
                      <a:pt x="348" y="380"/>
                      <a:pt x="301" y="391"/>
                    </a:cubicBezTo>
                    <a:cubicBezTo>
                      <a:pt x="254" y="402"/>
                      <a:pt x="216" y="583"/>
                      <a:pt x="197" y="579"/>
                    </a:cubicBezTo>
                    <a:cubicBezTo>
                      <a:pt x="178" y="575"/>
                      <a:pt x="216" y="385"/>
                      <a:pt x="188" y="365"/>
                    </a:cubicBezTo>
                    <a:cubicBezTo>
                      <a:pt x="160" y="345"/>
                      <a:pt x="41" y="466"/>
                      <a:pt x="29" y="462"/>
                    </a:cubicBezTo>
                    <a:cubicBezTo>
                      <a:pt x="17" y="458"/>
                      <a:pt x="114" y="370"/>
                      <a:pt x="114" y="340"/>
                    </a:cubicBezTo>
                    <a:cubicBezTo>
                      <a:pt x="115" y="311"/>
                      <a:pt x="31" y="296"/>
                      <a:pt x="31" y="282"/>
                    </a:cubicBezTo>
                    <a:cubicBezTo>
                      <a:pt x="31" y="268"/>
                      <a:pt x="119" y="274"/>
                      <a:pt x="115" y="250"/>
                    </a:cubicBezTo>
                    <a:cubicBezTo>
                      <a:pt x="110" y="227"/>
                      <a:pt x="0" y="161"/>
                      <a:pt x="3" y="142"/>
                    </a:cubicBezTo>
                    <a:cubicBezTo>
                      <a:pt x="6" y="123"/>
                      <a:pt x="106" y="145"/>
                      <a:pt x="131" y="132"/>
                    </a:cubicBezTo>
                    <a:cubicBezTo>
                      <a:pt x="158" y="120"/>
                      <a:pt x="154" y="85"/>
                      <a:pt x="157" y="64"/>
                    </a:cubicBezTo>
                    <a:cubicBezTo>
                      <a:pt x="160" y="42"/>
                      <a:pt x="141" y="11"/>
                      <a:pt x="148" y="5"/>
                    </a:cubicBezTo>
                    <a:cubicBezTo>
                      <a:pt x="154" y="0"/>
                      <a:pt x="186" y="27"/>
                      <a:pt x="196" y="33"/>
                    </a:cubicBezTo>
                    <a:close/>
                  </a:path>
                </a:pathLst>
              </a:custGeom>
              <a:gradFill rotWithShape="1">
                <a:gsLst>
                  <a:gs pos="0">
                    <a:srgbClr val="DDDDDD">
                      <a:gamma/>
                      <a:shade val="46275"/>
                      <a:invGamma/>
                    </a:srgbClr>
                  </a:gs>
                  <a:gs pos="50000">
                    <a:srgbClr val="DDDDDD">
                      <a:alpha val="99001"/>
                    </a:srgbClr>
                  </a:gs>
                  <a:gs pos="100000">
                    <a:srgbClr val="DDDDDD">
                      <a:gamma/>
                      <a:shade val="46275"/>
                      <a:invGamma/>
                    </a:srgbClr>
                  </a:gs>
                </a:gsLst>
                <a:lin ang="0" scaled="1"/>
              </a:gradFill>
              <a:ln w="9525">
                <a:solidFill>
                  <a:schemeClr val="tx1"/>
                </a:solidFill>
                <a:round/>
                <a:headEnd/>
                <a:tailEnd/>
              </a:ln>
              <a:effectLst/>
            </p:spPr>
            <p:txBody>
              <a:bodyPr/>
              <a:lstStyle/>
              <a:p>
                <a:pPr>
                  <a:defRPr/>
                </a:pPr>
                <a:endParaRPr lang="en-US" dirty="0">
                  <a:latin typeface="Arial" pitchFamily="34" charset="0"/>
                  <a:ea typeface="+mn-ea"/>
                  <a:cs typeface="Arial" pitchFamily="34" charset="0"/>
                </a:endParaRPr>
              </a:p>
            </p:txBody>
          </p:sp>
          <p:sp>
            <p:nvSpPr>
              <p:cNvPr id="19618" name="Oval 182"/>
              <p:cNvSpPr>
                <a:spLocks noChangeArrowheads="1"/>
              </p:cNvSpPr>
              <p:nvPr/>
            </p:nvSpPr>
            <p:spPr bwMode="auto">
              <a:xfrm>
                <a:off x="2699" y="572"/>
                <a:ext cx="181" cy="137"/>
              </a:xfrm>
              <a:prstGeom prst="ellipse">
                <a:avLst/>
              </a:prstGeom>
              <a:solidFill>
                <a:srgbClr val="808080"/>
              </a:solidFill>
              <a:ln w="3175" algn="ctr">
                <a:solidFill>
                  <a:srgbClr val="333333"/>
                </a:solidFill>
                <a:round/>
                <a:headEnd/>
                <a:tailEnd/>
              </a:ln>
            </p:spPr>
            <p:txBody>
              <a:bodyPr wrap="none" anchor="ctr"/>
              <a:lstStyle/>
              <a:p>
                <a:endParaRPr lang="it-IT">
                  <a:cs typeface="Arial" charset="0"/>
                </a:endParaRPr>
              </a:p>
            </p:txBody>
          </p:sp>
        </p:grpSp>
      </p:grpSp>
      <p:sp>
        <p:nvSpPr>
          <p:cNvPr id="6246" name="Text Box 164"/>
          <p:cNvSpPr txBox="1">
            <a:spLocks noChangeArrowheads="1"/>
          </p:cNvSpPr>
          <p:nvPr/>
        </p:nvSpPr>
        <p:spPr bwMode="auto">
          <a:xfrm>
            <a:off x="7521575" y="4297363"/>
            <a:ext cx="1131888" cy="274637"/>
          </a:xfrm>
          <a:prstGeom prst="rect">
            <a:avLst/>
          </a:prstGeom>
          <a:solidFill>
            <a:srgbClr val="FFCC00"/>
          </a:solidFill>
          <a:ln w="9525">
            <a:solidFill>
              <a:srgbClr val="FFCC00"/>
            </a:solidFill>
            <a:miter lim="800000"/>
            <a:headEnd/>
            <a:tailEnd/>
          </a:ln>
          <a:scene3d>
            <a:camera prst="orthographicFront"/>
            <a:lightRig rig="threePt" dir="t"/>
          </a:scene3d>
          <a:sp3d>
            <a:bevelT/>
          </a:sp3d>
        </p:spPr>
        <p:txBody>
          <a:bodyPr wrap="none">
            <a:spAutoFit/>
          </a:bodyPr>
          <a:lstStyle/>
          <a:p>
            <a:pPr>
              <a:defRPr/>
            </a:pPr>
            <a:r>
              <a:rPr lang="it-IT" sz="1200">
                <a:solidFill>
                  <a:srgbClr val="000099"/>
                </a:solidFill>
                <a:ea typeface="+mn-ea"/>
                <a:cs typeface="Arial" charset="0"/>
              </a:rPr>
              <a:t>Stromal cells</a:t>
            </a:r>
          </a:p>
        </p:txBody>
      </p:sp>
      <p:grpSp>
        <p:nvGrpSpPr>
          <p:cNvPr id="19571" name="Group 184"/>
          <p:cNvGrpSpPr>
            <a:grpSpLocks/>
          </p:cNvGrpSpPr>
          <p:nvPr/>
        </p:nvGrpSpPr>
        <p:grpSpPr bwMode="auto">
          <a:xfrm rot="5092214">
            <a:off x="1392238" y="2260600"/>
            <a:ext cx="287337" cy="474663"/>
            <a:chOff x="2286" y="1545"/>
            <a:chExt cx="678" cy="1343"/>
          </a:xfrm>
        </p:grpSpPr>
        <p:sp>
          <p:nvSpPr>
            <p:cNvPr id="19611" name="Freeform 185"/>
            <p:cNvSpPr>
              <a:spLocks/>
            </p:cNvSpPr>
            <p:nvPr/>
          </p:nvSpPr>
          <p:spPr bwMode="auto">
            <a:xfrm>
              <a:off x="2286" y="1545"/>
              <a:ext cx="678" cy="1343"/>
            </a:xfrm>
            <a:custGeom>
              <a:avLst/>
              <a:gdLst>
                <a:gd name="T0" fmla="*/ 367 w 678"/>
                <a:gd name="T1" fmla="*/ 388 h 1343"/>
                <a:gd name="T2" fmla="*/ 140 w 678"/>
                <a:gd name="T3" fmla="*/ 751 h 1343"/>
                <a:gd name="T4" fmla="*/ 70 w 678"/>
                <a:gd name="T5" fmla="*/ 1326 h 1343"/>
                <a:gd name="T6" fmla="*/ 559 w 678"/>
                <a:gd name="T7" fmla="*/ 855 h 1343"/>
                <a:gd name="T8" fmla="*/ 646 w 678"/>
                <a:gd name="T9" fmla="*/ 78 h 1343"/>
                <a:gd name="T10" fmla="*/ 367 w 678"/>
                <a:gd name="T11" fmla="*/ 388 h 1343"/>
                <a:gd name="T12" fmla="*/ 0 60000 65536"/>
                <a:gd name="T13" fmla="*/ 0 60000 65536"/>
                <a:gd name="T14" fmla="*/ 0 60000 65536"/>
                <a:gd name="T15" fmla="*/ 0 60000 65536"/>
                <a:gd name="T16" fmla="*/ 0 60000 65536"/>
                <a:gd name="T17" fmla="*/ 0 60000 65536"/>
                <a:gd name="T18" fmla="*/ 0 w 678"/>
                <a:gd name="T19" fmla="*/ 0 h 1343"/>
                <a:gd name="T20" fmla="*/ 678 w 678"/>
                <a:gd name="T21" fmla="*/ 1343 h 1343"/>
              </a:gdLst>
              <a:ahLst/>
              <a:cxnLst>
                <a:cxn ang="T12">
                  <a:pos x="T0" y="T1"/>
                </a:cxn>
                <a:cxn ang="T13">
                  <a:pos x="T2" y="T3"/>
                </a:cxn>
                <a:cxn ang="T14">
                  <a:pos x="T4" y="T5"/>
                </a:cxn>
                <a:cxn ang="T15">
                  <a:pos x="T6" y="T7"/>
                </a:cxn>
                <a:cxn ang="T16">
                  <a:pos x="T8" y="T9"/>
                </a:cxn>
                <a:cxn ang="T17">
                  <a:pos x="T10" y="T11"/>
                </a:cxn>
              </a:cxnLst>
              <a:rect l="T18" t="T19" r="T20" b="T21"/>
              <a:pathLst>
                <a:path w="678" h="1343">
                  <a:moveTo>
                    <a:pt x="367" y="388"/>
                  </a:moveTo>
                  <a:cubicBezTo>
                    <a:pt x="307" y="479"/>
                    <a:pt x="189" y="595"/>
                    <a:pt x="140" y="751"/>
                  </a:cubicBezTo>
                  <a:cubicBezTo>
                    <a:pt x="91" y="907"/>
                    <a:pt x="0" y="1309"/>
                    <a:pt x="70" y="1326"/>
                  </a:cubicBezTo>
                  <a:cubicBezTo>
                    <a:pt x="140" y="1343"/>
                    <a:pt x="463" y="1063"/>
                    <a:pt x="559" y="855"/>
                  </a:cubicBezTo>
                  <a:cubicBezTo>
                    <a:pt x="655" y="647"/>
                    <a:pt x="678" y="156"/>
                    <a:pt x="646" y="78"/>
                  </a:cubicBezTo>
                  <a:cubicBezTo>
                    <a:pt x="614" y="0"/>
                    <a:pt x="425" y="324"/>
                    <a:pt x="367" y="388"/>
                  </a:cubicBezTo>
                  <a:close/>
                </a:path>
              </a:pathLst>
            </a:custGeom>
            <a:gradFill rotWithShape="1">
              <a:gsLst>
                <a:gs pos="0">
                  <a:srgbClr val="760000"/>
                </a:gs>
                <a:gs pos="50000">
                  <a:srgbClr val="FF0000"/>
                </a:gs>
                <a:gs pos="100000">
                  <a:srgbClr val="760000"/>
                </a:gs>
              </a:gsLst>
              <a:lin ang="0" scaled="1"/>
            </a:gradFill>
            <a:ln w="9525">
              <a:solidFill>
                <a:schemeClr val="tx1"/>
              </a:solidFill>
              <a:round/>
              <a:headEnd/>
              <a:tailEnd/>
            </a:ln>
          </p:spPr>
          <p:txBody>
            <a:bodyPr/>
            <a:lstStyle/>
            <a:p>
              <a:endParaRPr lang="it-IT"/>
            </a:p>
          </p:txBody>
        </p:sp>
        <p:sp>
          <p:nvSpPr>
            <p:cNvPr id="19612" name="Oval 186"/>
            <p:cNvSpPr>
              <a:spLocks noChangeArrowheads="1"/>
            </p:cNvSpPr>
            <p:nvPr/>
          </p:nvSpPr>
          <p:spPr bwMode="auto">
            <a:xfrm rot="1330054">
              <a:off x="2517" y="2158"/>
              <a:ext cx="227" cy="363"/>
            </a:xfrm>
            <a:prstGeom prst="ellipse">
              <a:avLst/>
            </a:prstGeom>
            <a:gradFill rotWithShape="1">
              <a:gsLst>
                <a:gs pos="0">
                  <a:srgbClr val="767600"/>
                </a:gs>
                <a:gs pos="50000">
                  <a:srgbClr val="FFFF00"/>
                </a:gs>
                <a:gs pos="100000">
                  <a:srgbClr val="767600"/>
                </a:gs>
              </a:gsLst>
              <a:lin ang="0" scaled="1"/>
            </a:gradFill>
            <a:ln w="9525">
              <a:solidFill>
                <a:schemeClr val="tx1"/>
              </a:solidFill>
              <a:round/>
              <a:headEnd/>
              <a:tailEnd/>
            </a:ln>
          </p:spPr>
          <p:txBody>
            <a:bodyPr wrap="none" anchor="ctr"/>
            <a:lstStyle/>
            <a:p>
              <a:endParaRPr lang="it-IT">
                <a:cs typeface="Arial" charset="0"/>
              </a:endParaRPr>
            </a:p>
          </p:txBody>
        </p:sp>
      </p:grpSp>
      <p:grpSp>
        <p:nvGrpSpPr>
          <p:cNvPr id="19572" name="Group 187"/>
          <p:cNvGrpSpPr>
            <a:grpSpLocks/>
          </p:cNvGrpSpPr>
          <p:nvPr/>
        </p:nvGrpSpPr>
        <p:grpSpPr bwMode="auto">
          <a:xfrm rot="5092214">
            <a:off x="2090738" y="2463800"/>
            <a:ext cx="287337" cy="474663"/>
            <a:chOff x="2286" y="1545"/>
            <a:chExt cx="678" cy="1343"/>
          </a:xfrm>
        </p:grpSpPr>
        <p:sp>
          <p:nvSpPr>
            <p:cNvPr id="19609" name="Freeform 188"/>
            <p:cNvSpPr>
              <a:spLocks/>
            </p:cNvSpPr>
            <p:nvPr/>
          </p:nvSpPr>
          <p:spPr bwMode="auto">
            <a:xfrm>
              <a:off x="2286" y="1545"/>
              <a:ext cx="678" cy="1343"/>
            </a:xfrm>
            <a:custGeom>
              <a:avLst/>
              <a:gdLst>
                <a:gd name="T0" fmla="*/ 367 w 678"/>
                <a:gd name="T1" fmla="*/ 388 h 1343"/>
                <a:gd name="T2" fmla="*/ 140 w 678"/>
                <a:gd name="T3" fmla="*/ 751 h 1343"/>
                <a:gd name="T4" fmla="*/ 70 w 678"/>
                <a:gd name="T5" fmla="*/ 1326 h 1343"/>
                <a:gd name="T6" fmla="*/ 559 w 678"/>
                <a:gd name="T7" fmla="*/ 855 h 1343"/>
                <a:gd name="T8" fmla="*/ 646 w 678"/>
                <a:gd name="T9" fmla="*/ 78 h 1343"/>
                <a:gd name="T10" fmla="*/ 367 w 678"/>
                <a:gd name="T11" fmla="*/ 388 h 1343"/>
                <a:gd name="T12" fmla="*/ 0 60000 65536"/>
                <a:gd name="T13" fmla="*/ 0 60000 65536"/>
                <a:gd name="T14" fmla="*/ 0 60000 65536"/>
                <a:gd name="T15" fmla="*/ 0 60000 65536"/>
                <a:gd name="T16" fmla="*/ 0 60000 65536"/>
                <a:gd name="T17" fmla="*/ 0 60000 65536"/>
                <a:gd name="T18" fmla="*/ 0 w 678"/>
                <a:gd name="T19" fmla="*/ 0 h 1343"/>
                <a:gd name="T20" fmla="*/ 678 w 678"/>
                <a:gd name="T21" fmla="*/ 1343 h 1343"/>
              </a:gdLst>
              <a:ahLst/>
              <a:cxnLst>
                <a:cxn ang="T12">
                  <a:pos x="T0" y="T1"/>
                </a:cxn>
                <a:cxn ang="T13">
                  <a:pos x="T2" y="T3"/>
                </a:cxn>
                <a:cxn ang="T14">
                  <a:pos x="T4" y="T5"/>
                </a:cxn>
                <a:cxn ang="T15">
                  <a:pos x="T6" y="T7"/>
                </a:cxn>
                <a:cxn ang="T16">
                  <a:pos x="T8" y="T9"/>
                </a:cxn>
                <a:cxn ang="T17">
                  <a:pos x="T10" y="T11"/>
                </a:cxn>
              </a:cxnLst>
              <a:rect l="T18" t="T19" r="T20" b="T21"/>
              <a:pathLst>
                <a:path w="678" h="1343">
                  <a:moveTo>
                    <a:pt x="367" y="388"/>
                  </a:moveTo>
                  <a:cubicBezTo>
                    <a:pt x="307" y="479"/>
                    <a:pt x="189" y="595"/>
                    <a:pt x="140" y="751"/>
                  </a:cubicBezTo>
                  <a:cubicBezTo>
                    <a:pt x="91" y="907"/>
                    <a:pt x="0" y="1309"/>
                    <a:pt x="70" y="1326"/>
                  </a:cubicBezTo>
                  <a:cubicBezTo>
                    <a:pt x="140" y="1343"/>
                    <a:pt x="463" y="1063"/>
                    <a:pt x="559" y="855"/>
                  </a:cubicBezTo>
                  <a:cubicBezTo>
                    <a:pt x="655" y="647"/>
                    <a:pt x="678" y="156"/>
                    <a:pt x="646" y="78"/>
                  </a:cubicBezTo>
                  <a:cubicBezTo>
                    <a:pt x="614" y="0"/>
                    <a:pt x="425" y="324"/>
                    <a:pt x="367" y="388"/>
                  </a:cubicBezTo>
                  <a:close/>
                </a:path>
              </a:pathLst>
            </a:custGeom>
            <a:gradFill rotWithShape="1">
              <a:gsLst>
                <a:gs pos="0">
                  <a:srgbClr val="760000"/>
                </a:gs>
                <a:gs pos="50000">
                  <a:srgbClr val="FF0000"/>
                </a:gs>
                <a:gs pos="100000">
                  <a:srgbClr val="760000"/>
                </a:gs>
              </a:gsLst>
              <a:lin ang="0" scaled="1"/>
            </a:gradFill>
            <a:ln w="9525">
              <a:solidFill>
                <a:schemeClr val="tx1"/>
              </a:solidFill>
              <a:round/>
              <a:headEnd/>
              <a:tailEnd/>
            </a:ln>
          </p:spPr>
          <p:txBody>
            <a:bodyPr/>
            <a:lstStyle/>
            <a:p>
              <a:endParaRPr lang="it-IT"/>
            </a:p>
          </p:txBody>
        </p:sp>
        <p:sp>
          <p:nvSpPr>
            <p:cNvPr id="19610" name="Oval 189"/>
            <p:cNvSpPr>
              <a:spLocks noChangeArrowheads="1"/>
            </p:cNvSpPr>
            <p:nvPr/>
          </p:nvSpPr>
          <p:spPr bwMode="auto">
            <a:xfrm rot="1330054">
              <a:off x="2517" y="2158"/>
              <a:ext cx="227" cy="363"/>
            </a:xfrm>
            <a:prstGeom prst="ellipse">
              <a:avLst/>
            </a:prstGeom>
            <a:gradFill rotWithShape="1">
              <a:gsLst>
                <a:gs pos="0">
                  <a:srgbClr val="767600"/>
                </a:gs>
                <a:gs pos="50000">
                  <a:srgbClr val="FFFF00"/>
                </a:gs>
                <a:gs pos="100000">
                  <a:srgbClr val="767600"/>
                </a:gs>
              </a:gsLst>
              <a:lin ang="0" scaled="1"/>
            </a:gradFill>
            <a:ln w="9525">
              <a:solidFill>
                <a:schemeClr val="tx1"/>
              </a:solidFill>
              <a:round/>
              <a:headEnd/>
              <a:tailEnd/>
            </a:ln>
          </p:spPr>
          <p:txBody>
            <a:bodyPr wrap="none" anchor="ctr"/>
            <a:lstStyle/>
            <a:p>
              <a:endParaRPr lang="it-IT">
                <a:cs typeface="Arial" charset="0"/>
              </a:endParaRPr>
            </a:p>
          </p:txBody>
        </p:sp>
      </p:grpSp>
      <p:sp>
        <p:nvSpPr>
          <p:cNvPr id="5" name="Text Box 98"/>
          <p:cNvSpPr txBox="1">
            <a:spLocks noChangeArrowheads="1"/>
          </p:cNvSpPr>
          <p:nvPr/>
        </p:nvSpPr>
        <p:spPr bwMode="auto">
          <a:xfrm>
            <a:off x="2173288" y="2314575"/>
            <a:ext cx="1025525" cy="304800"/>
          </a:xfrm>
          <a:prstGeom prst="rect">
            <a:avLst/>
          </a:prstGeom>
          <a:solidFill>
            <a:srgbClr val="FFCC00"/>
          </a:solidFill>
          <a:ln w="9525">
            <a:solidFill>
              <a:srgbClr val="FFCC00"/>
            </a:solidFill>
            <a:miter lim="800000"/>
            <a:headEnd/>
            <a:tailEnd/>
          </a:ln>
          <a:scene3d>
            <a:camera prst="orthographicFront"/>
            <a:lightRig rig="threePt" dir="t"/>
          </a:scene3d>
          <a:sp3d>
            <a:bevelT/>
          </a:sp3d>
        </p:spPr>
        <p:txBody>
          <a:bodyPr wrap="none">
            <a:spAutoFit/>
          </a:bodyPr>
          <a:lstStyle/>
          <a:p>
            <a:pPr>
              <a:defRPr/>
            </a:pPr>
            <a:r>
              <a:rPr lang="it-IT" sz="1400">
                <a:solidFill>
                  <a:srgbClr val="000099"/>
                </a:solidFill>
                <a:ea typeface="+mn-ea"/>
                <a:cs typeface="Arial" charset="0"/>
              </a:rPr>
              <a:t>CEP, CEC</a:t>
            </a:r>
          </a:p>
        </p:txBody>
      </p:sp>
      <p:sp>
        <p:nvSpPr>
          <p:cNvPr id="19576" name="Oval 191"/>
          <p:cNvSpPr>
            <a:spLocks noChangeArrowheads="1"/>
          </p:cNvSpPr>
          <p:nvPr/>
        </p:nvSpPr>
        <p:spPr bwMode="auto">
          <a:xfrm>
            <a:off x="673100" y="4292600"/>
            <a:ext cx="482600" cy="584200"/>
          </a:xfrm>
          <a:prstGeom prst="ellipse">
            <a:avLst/>
          </a:prstGeom>
          <a:solidFill>
            <a:srgbClr val="FFCC00"/>
          </a:solidFill>
          <a:ln w="9525">
            <a:solidFill>
              <a:schemeClr val="tx1"/>
            </a:solidFill>
            <a:round/>
            <a:headEnd/>
            <a:tailEnd/>
          </a:ln>
        </p:spPr>
        <p:txBody>
          <a:bodyPr wrap="none" anchor="ctr"/>
          <a:lstStyle/>
          <a:p>
            <a:pPr algn="ctr"/>
            <a:endParaRPr lang="it-IT" sz="1600">
              <a:solidFill>
                <a:srgbClr val="FFFF00"/>
              </a:solidFill>
              <a:latin typeface="Times New Roman" pitchFamily="18" charset="0"/>
              <a:cs typeface="Arial" charset="0"/>
            </a:endParaRPr>
          </a:p>
        </p:txBody>
      </p:sp>
      <p:sp>
        <p:nvSpPr>
          <p:cNvPr id="19577" name="Oval 192"/>
          <p:cNvSpPr>
            <a:spLocks noChangeArrowheads="1"/>
          </p:cNvSpPr>
          <p:nvPr/>
        </p:nvSpPr>
        <p:spPr bwMode="auto">
          <a:xfrm>
            <a:off x="825500" y="4445000"/>
            <a:ext cx="165100" cy="228600"/>
          </a:xfrm>
          <a:prstGeom prst="ellipse">
            <a:avLst/>
          </a:prstGeom>
          <a:solidFill>
            <a:srgbClr val="FF0000"/>
          </a:solidFill>
          <a:ln w="9525">
            <a:solidFill>
              <a:schemeClr val="tx1"/>
            </a:solidFill>
            <a:round/>
            <a:headEnd/>
            <a:tailEnd/>
          </a:ln>
        </p:spPr>
        <p:txBody>
          <a:bodyPr wrap="none" anchor="ctr"/>
          <a:lstStyle/>
          <a:p>
            <a:endParaRPr lang="it-IT">
              <a:cs typeface="Arial" charset="0"/>
            </a:endParaRPr>
          </a:p>
        </p:txBody>
      </p:sp>
      <p:sp>
        <p:nvSpPr>
          <p:cNvPr id="6" name="Text Box 98"/>
          <p:cNvSpPr txBox="1">
            <a:spLocks noChangeArrowheads="1"/>
          </p:cNvSpPr>
          <p:nvPr/>
        </p:nvSpPr>
        <p:spPr bwMode="auto">
          <a:xfrm>
            <a:off x="1119188" y="4156075"/>
            <a:ext cx="579437" cy="304800"/>
          </a:xfrm>
          <a:prstGeom prst="rect">
            <a:avLst/>
          </a:prstGeom>
          <a:solidFill>
            <a:srgbClr val="FFCC00"/>
          </a:solidFill>
          <a:ln w="9525">
            <a:solidFill>
              <a:srgbClr val="FFCC00"/>
            </a:solidFill>
            <a:miter lim="800000"/>
            <a:headEnd/>
            <a:tailEnd/>
          </a:ln>
          <a:scene3d>
            <a:camera prst="orthographicFront"/>
            <a:lightRig rig="threePt" dir="t"/>
          </a:scene3d>
          <a:sp3d>
            <a:bevelT/>
          </a:sp3d>
        </p:spPr>
        <p:txBody>
          <a:bodyPr wrap="none">
            <a:spAutoFit/>
          </a:bodyPr>
          <a:lstStyle/>
          <a:p>
            <a:pPr>
              <a:defRPr/>
            </a:pPr>
            <a:r>
              <a:rPr lang="it-IT" sz="1400">
                <a:solidFill>
                  <a:srgbClr val="000099"/>
                </a:solidFill>
                <a:ea typeface="+mn-ea"/>
                <a:cs typeface="Arial" charset="0"/>
              </a:rPr>
              <a:t>MSC</a:t>
            </a:r>
          </a:p>
        </p:txBody>
      </p:sp>
      <p:sp>
        <p:nvSpPr>
          <p:cNvPr id="7" name="Text Box 36"/>
          <p:cNvSpPr txBox="1">
            <a:spLocks noChangeArrowheads="1"/>
          </p:cNvSpPr>
          <p:nvPr/>
        </p:nvSpPr>
        <p:spPr bwMode="auto">
          <a:xfrm>
            <a:off x="7732713" y="6126163"/>
            <a:ext cx="1190625" cy="336550"/>
          </a:xfrm>
          <a:prstGeom prst="rect">
            <a:avLst/>
          </a:prstGeom>
          <a:solidFill>
            <a:srgbClr val="FFCC00"/>
          </a:solidFill>
          <a:ln w="9525">
            <a:noFill/>
            <a:miter lim="800000"/>
            <a:headEnd/>
            <a:tailEnd/>
          </a:ln>
          <a:scene3d>
            <a:camera prst="orthographicFront"/>
            <a:lightRig rig="threePt" dir="t"/>
          </a:scene3d>
          <a:sp3d>
            <a:bevelT/>
          </a:sp3d>
        </p:spPr>
        <p:txBody>
          <a:bodyPr wrap="none">
            <a:spAutoFit/>
          </a:bodyPr>
          <a:lstStyle/>
          <a:p>
            <a:pPr eaLnBrk="0" hangingPunct="0">
              <a:defRPr/>
            </a:pPr>
            <a:r>
              <a:rPr lang="it-IT" sz="1600" i="1">
                <a:cs typeface="Arial" charset="0"/>
              </a:rPr>
              <a:t>Lining cell</a:t>
            </a:r>
          </a:p>
        </p:txBody>
      </p:sp>
      <p:grpSp>
        <p:nvGrpSpPr>
          <p:cNvPr id="75990" name="Group 195"/>
          <p:cNvGrpSpPr>
            <a:grpSpLocks/>
          </p:cNvGrpSpPr>
          <p:nvPr/>
        </p:nvGrpSpPr>
        <p:grpSpPr bwMode="auto">
          <a:xfrm rot="10552659">
            <a:off x="2555875" y="1584325"/>
            <a:ext cx="274638" cy="400050"/>
            <a:chOff x="677" y="552"/>
            <a:chExt cx="549" cy="590"/>
          </a:xfrm>
        </p:grpSpPr>
        <p:sp>
          <p:nvSpPr>
            <p:cNvPr id="19607" name="Oval 196"/>
            <p:cNvSpPr>
              <a:spLocks noChangeAspect="1" noChangeArrowheads="1"/>
            </p:cNvSpPr>
            <p:nvPr/>
          </p:nvSpPr>
          <p:spPr bwMode="auto">
            <a:xfrm rot="3359868">
              <a:off x="657" y="572"/>
              <a:ext cx="590" cy="549"/>
            </a:xfrm>
            <a:prstGeom prst="ellipse">
              <a:avLst/>
            </a:prstGeom>
            <a:gradFill rotWithShape="0">
              <a:gsLst>
                <a:gs pos="0">
                  <a:srgbClr val="00CCFF"/>
                </a:gs>
                <a:gs pos="100000">
                  <a:srgbClr val="0088AA"/>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sp>
          <p:nvSpPr>
            <p:cNvPr id="19608" name="Oval 197"/>
            <p:cNvSpPr>
              <a:spLocks noChangeAspect="1" noChangeArrowheads="1"/>
            </p:cNvSpPr>
            <p:nvPr/>
          </p:nvSpPr>
          <p:spPr bwMode="auto">
            <a:xfrm rot="3551841">
              <a:off x="661" y="761"/>
              <a:ext cx="376" cy="262"/>
            </a:xfrm>
            <a:prstGeom prst="ellipse">
              <a:avLst/>
            </a:prstGeom>
            <a:gradFill rotWithShape="0">
              <a:gsLst>
                <a:gs pos="0">
                  <a:srgbClr val="00005E"/>
                </a:gs>
                <a:gs pos="100000">
                  <a:srgbClr val="0000CC"/>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grpSp>
      <p:grpSp>
        <p:nvGrpSpPr>
          <p:cNvPr id="75993" name="Group 198"/>
          <p:cNvGrpSpPr>
            <a:grpSpLocks/>
          </p:cNvGrpSpPr>
          <p:nvPr/>
        </p:nvGrpSpPr>
        <p:grpSpPr bwMode="auto">
          <a:xfrm rot="2907682">
            <a:off x="3628232" y="1932781"/>
            <a:ext cx="317500" cy="363537"/>
            <a:chOff x="677" y="552"/>
            <a:chExt cx="549" cy="590"/>
          </a:xfrm>
        </p:grpSpPr>
        <p:sp>
          <p:nvSpPr>
            <p:cNvPr id="19605" name="Oval 199"/>
            <p:cNvSpPr>
              <a:spLocks noChangeAspect="1" noChangeArrowheads="1"/>
            </p:cNvSpPr>
            <p:nvPr/>
          </p:nvSpPr>
          <p:spPr bwMode="auto">
            <a:xfrm rot="3359868">
              <a:off x="657" y="572"/>
              <a:ext cx="590" cy="549"/>
            </a:xfrm>
            <a:prstGeom prst="ellipse">
              <a:avLst/>
            </a:prstGeom>
            <a:gradFill rotWithShape="0">
              <a:gsLst>
                <a:gs pos="0">
                  <a:srgbClr val="00CCFF"/>
                </a:gs>
                <a:gs pos="100000">
                  <a:srgbClr val="0088AA"/>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sp>
          <p:nvSpPr>
            <p:cNvPr id="19606" name="Oval 200"/>
            <p:cNvSpPr>
              <a:spLocks noChangeAspect="1" noChangeArrowheads="1"/>
            </p:cNvSpPr>
            <p:nvPr/>
          </p:nvSpPr>
          <p:spPr bwMode="auto">
            <a:xfrm rot="3551841">
              <a:off x="661" y="761"/>
              <a:ext cx="376" cy="262"/>
            </a:xfrm>
            <a:prstGeom prst="ellipse">
              <a:avLst/>
            </a:prstGeom>
            <a:gradFill rotWithShape="0">
              <a:gsLst>
                <a:gs pos="0">
                  <a:srgbClr val="00005E"/>
                </a:gs>
                <a:gs pos="100000">
                  <a:srgbClr val="0000CC"/>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grpSp>
      <p:grpSp>
        <p:nvGrpSpPr>
          <p:cNvPr id="75996" name="Group 201"/>
          <p:cNvGrpSpPr>
            <a:grpSpLocks/>
          </p:cNvGrpSpPr>
          <p:nvPr/>
        </p:nvGrpSpPr>
        <p:grpSpPr bwMode="auto">
          <a:xfrm rot="2907682">
            <a:off x="3996532" y="2910681"/>
            <a:ext cx="317500" cy="363537"/>
            <a:chOff x="677" y="552"/>
            <a:chExt cx="549" cy="590"/>
          </a:xfrm>
        </p:grpSpPr>
        <p:sp>
          <p:nvSpPr>
            <p:cNvPr id="19603" name="Oval 202"/>
            <p:cNvSpPr>
              <a:spLocks noChangeAspect="1" noChangeArrowheads="1"/>
            </p:cNvSpPr>
            <p:nvPr/>
          </p:nvSpPr>
          <p:spPr bwMode="auto">
            <a:xfrm rot="3359868">
              <a:off x="657" y="572"/>
              <a:ext cx="590" cy="549"/>
            </a:xfrm>
            <a:prstGeom prst="ellipse">
              <a:avLst/>
            </a:prstGeom>
            <a:gradFill rotWithShape="0">
              <a:gsLst>
                <a:gs pos="0">
                  <a:srgbClr val="00CCFF"/>
                </a:gs>
                <a:gs pos="100000">
                  <a:srgbClr val="0088AA"/>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sp>
          <p:nvSpPr>
            <p:cNvPr id="19604" name="Oval 203"/>
            <p:cNvSpPr>
              <a:spLocks noChangeAspect="1" noChangeArrowheads="1"/>
            </p:cNvSpPr>
            <p:nvPr/>
          </p:nvSpPr>
          <p:spPr bwMode="auto">
            <a:xfrm rot="3551841">
              <a:off x="661" y="761"/>
              <a:ext cx="376" cy="262"/>
            </a:xfrm>
            <a:prstGeom prst="ellipse">
              <a:avLst/>
            </a:prstGeom>
            <a:gradFill rotWithShape="0">
              <a:gsLst>
                <a:gs pos="0">
                  <a:srgbClr val="00005E"/>
                </a:gs>
                <a:gs pos="100000">
                  <a:srgbClr val="0000CC"/>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grpSp>
      <p:grpSp>
        <p:nvGrpSpPr>
          <p:cNvPr id="75999" name="Group 204"/>
          <p:cNvGrpSpPr>
            <a:grpSpLocks/>
          </p:cNvGrpSpPr>
          <p:nvPr/>
        </p:nvGrpSpPr>
        <p:grpSpPr bwMode="auto">
          <a:xfrm rot="2907682">
            <a:off x="3856832" y="3863181"/>
            <a:ext cx="317500" cy="363537"/>
            <a:chOff x="677" y="552"/>
            <a:chExt cx="549" cy="590"/>
          </a:xfrm>
        </p:grpSpPr>
        <p:sp>
          <p:nvSpPr>
            <p:cNvPr id="19601" name="Oval 205"/>
            <p:cNvSpPr>
              <a:spLocks noChangeAspect="1" noChangeArrowheads="1"/>
            </p:cNvSpPr>
            <p:nvPr/>
          </p:nvSpPr>
          <p:spPr bwMode="auto">
            <a:xfrm rot="3359868">
              <a:off x="657" y="572"/>
              <a:ext cx="590" cy="549"/>
            </a:xfrm>
            <a:prstGeom prst="ellipse">
              <a:avLst/>
            </a:prstGeom>
            <a:gradFill rotWithShape="0">
              <a:gsLst>
                <a:gs pos="0">
                  <a:srgbClr val="00CCFF"/>
                </a:gs>
                <a:gs pos="100000">
                  <a:srgbClr val="0088AA"/>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sp>
          <p:nvSpPr>
            <p:cNvPr id="19602" name="Oval 206"/>
            <p:cNvSpPr>
              <a:spLocks noChangeAspect="1" noChangeArrowheads="1"/>
            </p:cNvSpPr>
            <p:nvPr/>
          </p:nvSpPr>
          <p:spPr bwMode="auto">
            <a:xfrm rot="3551841">
              <a:off x="661" y="761"/>
              <a:ext cx="376" cy="262"/>
            </a:xfrm>
            <a:prstGeom prst="ellipse">
              <a:avLst/>
            </a:prstGeom>
            <a:gradFill rotWithShape="0">
              <a:gsLst>
                <a:gs pos="0">
                  <a:srgbClr val="00005E"/>
                </a:gs>
                <a:gs pos="100000">
                  <a:srgbClr val="0000CC"/>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grpSp>
      <p:grpSp>
        <p:nvGrpSpPr>
          <p:cNvPr id="76002" name="Group 207"/>
          <p:cNvGrpSpPr>
            <a:grpSpLocks/>
          </p:cNvGrpSpPr>
          <p:nvPr/>
        </p:nvGrpSpPr>
        <p:grpSpPr bwMode="auto">
          <a:xfrm rot="2907682">
            <a:off x="3996532" y="4434681"/>
            <a:ext cx="317500" cy="363537"/>
            <a:chOff x="677" y="552"/>
            <a:chExt cx="549" cy="590"/>
          </a:xfrm>
        </p:grpSpPr>
        <p:sp>
          <p:nvSpPr>
            <p:cNvPr id="19599" name="Oval 208"/>
            <p:cNvSpPr>
              <a:spLocks noChangeAspect="1" noChangeArrowheads="1"/>
            </p:cNvSpPr>
            <p:nvPr/>
          </p:nvSpPr>
          <p:spPr bwMode="auto">
            <a:xfrm rot="3359868">
              <a:off x="657" y="572"/>
              <a:ext cx="590" cy="549"/>
            </a:xfrm>
            <a:prstGeom prst="ellipse">
              <a:avLst/>
            </a:prstGeom>
            <a:gradFill rotWithShape="0">
              <a:gsLst>
                <a:gs pos="0">
                  <a:srgbClr val="00CCFF"/>
                </a:gs>
                <a:gs pos="100000">
                  <a:srgbClr val="0088AA"/>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sp>
          <p:nvSpPr>
            <p:cNvPr id="19600" name="Oval 209"/>
            <p:cNvSpPr>
              <a:spLocks noChangeAspect="1" noChangeArrowheads="1"/>
            </p:cNvSpPr>
            <p:nvPr/>
          </p:nvSpPr>
          <p:spPr bwMode="auto">
            <a:xfrm rot="3551841">
              <a:off x="661" y="761"/>
              <a:ext cx="376" cy="262"/>
            </a:xfrm>
            <a:prstGeom prst="ellipse">
              <a:avLst/>
            </a:prstGeom>
            <a:gradFill rotWithShape="0">
              <a:gsLst>
                <a:gs pos="0">
                  <a:srgbClr val="00005E"/>
                </a:gs>
                <a:gs pos="100000">
                  <a:srgbClr val="0000CC"/>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grpSp>
      <p:grpSp>
        <p:nvGrpSpPr>
          <p:cNvPr id="76005" name="Group 210"/>
          <p:cNvGrpSpPr>
            <a:grpSpLocks/>
          </p:cNvGrpSpPr>
          <p:nvPr/>
        </p:nvGrpSpPr>
        <p:grpSpPr bwMode="auto">
          <a:xfrm rot="2907682">
            <a:off x="3247232" y="4688681"/>
            <a:ext cx="317500" cy="363537"/>
            <a:chOff x="677" y="552"/>
            <a:chExt cx="549" cy="590"/>
          </a:xfrm>
        </p:grpSpPr>
        <p:sp>
          <p:nvSpPr>
            <p:cNvPr id="19597" name="Oval 211"/>
            <p:cNvSpPr>
              <a:spLocks noChangeAspect="1" noChangeArrowheads="1"/>
            </p:cNvSpPr>
            <p:nvPr/>
          </p:nvSpPr>
          <p:spPr bwMode="auto">
            <a:xfrm rot="3359868">
              <a:off x="657" y="572"/>
              <a:ext cx="590" cy="549"/>
            </a:xfrm>
            <a:prstGeom prst="ellipse">
              <a:avLst/>
            </a:prstGeom>
            <a:gradFill rotWithShape="0">
              <a:gsLst>
                <a:gs pos="0">
                  <a:srgbClr val="00CCFF"/>
                </a:gs>
                <a:gs pos="100000">
                  <a:srgbClr val="0088AA"/>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sp>
          <p:nvSpPr>
            <p:cNvPr id="19598" name="Oval 212"/>
            <p:cNvSpPr>
              <a:spLocks noChangeAspect="1" noChangeArrowheads="1"/>
            </p:cNvSpPr>
            <p:nvPr/>
          </p:nvSpPr>
          <p:spPr bwMode="auto">
            <a:xfrm rot="3551841">
              <a:off x="661" y="761"/>
              <a:ext cx="376" cy="262"/>
            </a:xfrm>
            <a:prstGeom prst="ellipse">
              <a:avLst/>
            </a:prstGeom>
            <a:gradFill rotWithShape="0">
              <a:gsLst>
                <a:gs pos="0">
                  <a:srgbClr val="00005E"/>
                </a:gs>
                <a:gs pos="100000">
                  <a:srgbClr val="0000CC"/>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grpSp>
      <p:sp>
        <p:nvSpPr>
          <p:cNvPr id="8" name="Text Box 98"/>
          <p:cNvSpPr txBox="1">
            <a:spLocks noChangeArrowheads="1"/>
          </p:cNvSpPr>
          <p:nvPr/>
        </p:nvSpPr>
        <p:spPr bwMode="auto">
          <a:xfrm>
            <a:off x="3100388" y="1454150"/>
            <a:ext cx="2116137" cy="304800"/>
          </a:xfrm>
          <a:prstGeom prst="rect">
            <a:avLst/>
          </a:prstGeom>
          <a:solidFill>
            <a:srgbClr val="FFCC00"/>
          </a:solidFill>
          <a:ln w="9525">
            <a:solidFill>
              <a:srgbClr val="FFCC00"/>
            </a:solidFill>
            <a:miter lim="800000"/>
            <a:headEnd/>
            <a:tailEnd/>
          </a:ln>
          <a:scene3d>
            <a:camera prst="orthographicFront"/>
            <a:lightRig rig="threePt" dir="t"/>
          </a:scene3d>
          <a:sp3d>
            <a:bevelT/>
          </a:sp3d>
        </p:spPr>
        <p:txBody>
          <a:bodyPr wrap="none">
            <a:spAutoFit/>
          </a:bodyPr>
          <a:lstStyle/>
          <a:p>
            <a:pPr>
              <a:defRPr/>
            </a:pPr>
            <a:r>
              <a:rPr lang="it-IT" sz="1400">
                <a:solidFill>
                  <a:srgbClr val="000099"/>
                </a:solidFill>
                <a:ea typeface="+mn-ea"/>
                <a:cs typeface="Arial" charset="0"/>
              </a:rPr>
              <a:t>Cancer cells and CSCs</a:t>
            </a:r>
          </a:p>
        </p:txBody>
      </p:sp>
      <p:grpSp>
        <p:nvGrpSpPr>
          <p:cNvPr id="19593" name="Group 217"/>
          <p:cNvGrpSpPr>
            <a:grpSpLocks/>
          </p:cNvGrpSpPr>
          <p:nvPr/>
        </p:nvGrpSpPr>
        <p:grpSpPr bwMode="auto">
          <a:xfrm rot="10552659">
            <a:off x="319088" y="1647825"/>
            <a:ext cx="274637" cy="400050"/>
            <a:chOff x="677" y="552"/>
            <a:chExt cx="549" cy="590"/>
          </a:xfrm>
        </p:grpSpPr>
        <p:sp>
          <p:nvSpPr>
            <p:cNvPr id="19595" name="Oval 218"/>
            <p:cNvSpPr>
              <a:spLocks noChangeAspect="1" noChangeArrowheads="1"/>
            </p:cNvSpPr>
            <p:nvPr/>
          </p:nvSpPr>
          <p:spPr bwMode="auto">
            <a:xfrm rot="3359868">
              <a:off x="657" y="572"/>
              <a:ext cx="590" cy="549"/>
            </a:xfrm>
            <a:prstGeom prst="ellipse">
              <a:avLst/>
            </a:prstGeom>
            <a:gradFill rotWithShape="0">
              <a:gsLst>
                <a:gs pos="0">
                  <a:srgbClr val="00CCFF"/>
                </a:gs>
                <a:gs pos="100000">
                  <a:srgbClr val="0088AA"/>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sp>
          <p:nvSpPr>
            <p:cNvPr id="19596" name="Oval 219"/>
            <p:cNvSpPr>
              <a:spLocks noChangeAspect="1" noChangeArrowheads="1"/>
            </p:cNvSpPr>
            <p:nvPr/>
          </p:nvSpPr>
          <p:spPr bwMode="auto">
            <a:xfrm rot="3551841">
              <a:off x="661" y="761"/>
              <a:ext cx="376" cy="262"/>
            </a:xfrm>
            <a:prstGeom prst="ellipse">
              <a:avLst/>
            </a:prstGeom>
            <a:gradFill rotWithShape="0">
              <a:gsLst>
                <a:gs pos="0">
                  <a:srgbClr val="00005E"/>
                </a:gs>
                <a:gs pos="100000">
                  <a:srgbClr val="0000CC"/>
                </a:gs>
              </a:gsLst>
              <a:path path="shape">
                <a:fillToRect l="50000" t="50000" r="50000" b="50000"/>
              </a:path>
            </a:gradFill>
            <a:ln w="9525">
              <a:solidFill>
                <a:schemeClr val="tx1"/>
              </a:solidFill>
              <a:round/>
              <a:headEnd/>
              <a:tailEnd/>
            </a:ln>
          </p:spPr>
          <p:txBody>
            <a:bodyPr wrap="none" anchor="ctr"/>
            <a:lstStyle/>
            <a:p>
              <a:endParaRPr lang="it-IT">
                <a:cs typeface="Arial" charset="0"/>
              </a:endParaRPr>
            </a:p>
          </p:txBody>
        </p:sp>
      </p:grpSp>
      <p:sp>
        <p:nvSpPr>
          <p:cNvPr id="215" name="Slide Number Placeholder 3"/>
          <p:cNvSpPr txBox="1">
            <a:spLocks noGrp="1"/>
          </p:cNvSpPr>
          <p:nvPr/>
        </p:nvSpPr>
        <p:spPr>
          <a:xfrm>
            <a:off x="7010400" y="6492875"/>
            <a:ext cx="2133600" cy="365125"/>
          </a:xfrm>
          <a:prstGeom prst="rect">
            <a:avLst/>
          </a:prstGeom>
          <a:noFill/>
        </p:spPr>
        <p:txBody>
          <a:bodyPr anchor="ctr"/>
          <a:lstStyle/>
          <a:p>
            <a:pPr algn="r" fontAlgn="auto">
              <a:spcBef>
                <a:spcPts val="0"/>
              </a:spcBef>
              <a:spcAft>
                <a:spcPts val="0"/>
              </a:spcAft>
              <a:defRPr/>
            </a:pPr>
            <a:fld id="{4198CC03-2643-4604-96D0-8843A816D666}" type="slidenum">
              <a:rPr lang="en-US" sz="1200">
                <a:solidFill>
                  <a:srgbClr val="000000"/>
                </a:solidFill>
                <a:latin typeface="+mn-lt"/>
                <a:ea typeface="+mn-ea"/>
                <a:cs typeface="+mn-cs"/>
              </a:rPr>
              <a:pPr algn="r" fontAlgn="auto">
                <a:spcBef>
                  <a:spcPts val="0"/>
                </a:spcBef>
                <a:spcAft>
                  <a:spcPts val="0"/>
                </a:spcAft>
                <a:defRPr/>
              </a:pPr>
              <a:t>23</a:t>
            </a:fld>
            <a:endParaRPr lang="en-US" sz="1200" dirty="0">
              <a:solidFill>
                <a:srgbClr val="000000"/>
              </a:solidFill>
              <a:latin typeface="+mn-lt"/>
              <a:ea typeface="+mn-ea"/>
              <a:cs typeface="+mn-cs"/>
            </a:endParaRPr>
          </a:p>
        </p:txBody>
      </p:sp>
    </p:spTree>
    <p:extLst>
      <p:ext uri="{BB962C8B-B14F-4D97-AF65-F5344CB8AC3E}">
        <p14:creationId xmlns:p14="http://schemas.microsoft.com/office/powerpoint/2010/main" val="230924910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75864"/>
                                        </p:tgtEl>
                                        <p:attrNameLst>
                                          <p:attrName>style.visibility</p:attrName>
                                        </p:attrNameLst>
                                      </p:cBhvr>
                                      <p:to>
                                        <p:strVal val="visible"/>
                                      </p:to>
                                    </p:set>
                                    <p:animEffect transition="in" filter="box(in)">
                                      <p:cBhvr>
                                        <p:cTn id="7" dur="500"/>
                                        <p:tgtEl>
                                          <p:spTgt spid="75864"/>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75990"/>
                                        </p:tgtEl>
                                        <p:attrNameLst>
                                          <p:attrName>style.visibility</p:attrName>
                                        </p:attrNameLst>
                                      </p:cBhvr>
                                      <p:to>
                                        <p:strVal val="visible"/>
                                      </p:to>
                                    </p:set>
                                    <p:animEffect transition="in" filter="box(in)">
                                      <p:cBhvr>
                                        <p:cTn id="12" dur="500"/>
                                        <p:tgtEl>
                                          <p:spTgt spid="75990"/>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16" fill="hold" nodeType="clickEffect">
                                  <p:stCondLst>
                                    <p:cond delay="0"/>
                                  </p:stCondLst>
                                  <p:childTnLst>
                                    <p:set>
                                      <p:cBhvr>
                                        <p:cTn id="16" dur="1" fill="hold">
                                          <p:stCondLst>
                                            <p:cond delay="0"/>
                                          </p:stCondLst>
                                        </p:cTn>
                                        <p:tgtEl>
                                          <p:spTgt spid="75814"/>
                                        </p:tgtEl>
                                        <p:attrNameLst>
                                          <p:attrName>style.visibility</p:attrName>
                                        </p:attrNameLst>
                                      </p:cBhvr>
                                      <p:to>
                                        <p:strVal val="visible"/>
                                      </p:to>
                                    </p:set>
                                    <p:animEffect transition="in" filter="box(in)">
                                      <p:cBhvr>
                                        <p:cTn id="17" dur="500"/>
                                        <p:tgtEl>
                                          <p:spTgt spid="75814"/>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16" fill="hold" nodeType="clickEffect">
                                  <p:stCondLst>
                                    <p:cond delay="0"/>
                                  </p:stCondLst>
                                  <p:childTnLst>
                                    <p:set>
                                      <p:cBhvr>
                                        <p:cTn id="21" dur="1" fill="hold">
                                          <p:stCondLst>
                                            <p:cond delay="0"/>
                                          </p:stCondLst>
                                        </p:cTn>
                                        <p:tgtEl>
                                          <p:spTgt spid="75817"/>
                                        </p:tgtEl>
                                        <p:attrNameLst>
                                          <p:attrName>style.visibility</p:attrName>
                                        </p:attrNameLst>
                                      </p:cBhvr>
                                      <p:to>
                                        <p:strVal val="visible"/>
                                      </p:to>
                                    </p:set>
                                    <p:animEffect transition="in" filter="box(in)">
                                      <p:cBhvr>
                                        <p:cTn id="22" dur="500"/>
                                        <p:tgtEl>
                                          <p:spTgt spid="75817"/>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16" fill="hold" nodeType="clickEffect">
                                  <p:stCondLst>
                                    <p:cond delay="0"/>
                                  </p:stCondLst>
                                  <p:childTnLst>
                                    <p:set>
                                      <p:cBhvr>
                                        <p:cTn id="26" dur="1" fill="hold">
                                          <p:stCondLst>
                                            <p:cond delay="0"/>
                                          </p:stCondLst>
                                        </p:cTn>
                                        <p:tgtEl>
                                          <p:spTgt spid="75993"/>
                                        </p:tgtEl>
                                        <p:attrNameLst>
                                          <p:attrName>style.visibility</p:attrName>
                                        </p:attrNameLst>
                                      </p:cBhvr>
                                      <p:to>
                                        <p:strVal val="visible"/>
                                      </p:to>
                                    </p:set>
                                    <p:animEffect transition="in" filter="box(in)">
                                      <p:cBhvr>
                                        <p:cTn id="27" dur="500"/>
                                        <p:tgtEl>
                                          <p:spTgt spid="75993"/>
                                        </p:tgtEl>
                                      </p:cBhvr>
                                    </p:animEffect>
                                  </p:childTnLst>
                                </p:cTn>
                              </p:par>
                            </p:childTnLst>
                          </p:cTn>
                        </p:par>
                      </p:childTnLst>
                    </p:cTn>
                  </p:par>
                  <p:par>
                    <p:cTn id="28" fill="hold">
                      <p:stCondLst>
                        <p:cond delay="indefinite"/>
                      </p:stCondLst>
                      <p:childTnLst>
                        <p:par>
                          <p:cTn id="29" fill="hold">
                            <p:stCondLst>
                              <p:cond delay="0"/>
                            </p:stCondLst>
                            <p:childTnLst>
                              <p:par>
                                <p:cTn id="30" presetID="4" presetClass="entr" presetSubtype="16" fill="hold" nodeType="clickEffect">
                                  <p:stCondLst>
                                    <p:cond delay="0"/>
                                  </p:stCondLst>
                                  <p:childTnLst>
                                    <p:set>
                                      <p:cBhvr>
                                        <p:cTn id="31" dur="1" fill="hold">
                                          <p:stCondLst>
                                            <p:cond delay="0"/>
                                          </p:stCondLst>
                                        </p:cTn>
                                        <p:tgtEl>
                                          <p:spTgt spid="75820"/>
                                        </p:tgtEl>
                                        <p:attrNameLst>
                                          <p:attrName>style.visibility</p:attrName>
                                        </p:attrNameLst>
                                      </p:cBhvr>
                                      <p:to>
                                        <p:strVal val="visible"/>
                                      </p:to>
                                    </p:set>
                                    <p:animEffect transition="in" filter="box(in)">
                                      <p:cBhvr>
                                        <p:cTn id="32" dur="500"/>
                                        <p:tgtEl>
                                          <p:spTgt spid="75820"/>
                                        </p:tgtEl>
                                      </p:cBhvr>
                                    </p:animEffect>
                                  </p:childTnLst>
                                </p:cTn>
                              </p:par>
                            </p:childTnLst>
                          </p:cTn>
                        </p:par>
                      </p:childTnLst>
                    </p:cTn>
                  </p:par>
                  <p:par>
                    <p:cTn id="33" fill="hold">
                      <p:stCondLst>
                        <p:cond delay="indefinite"/>
                      </p:stCondLst>
                      <p:childTnLst>
                        <p:par>
                          <p:cTn id="34" fill="hold">
                            <p:stCondLst>
                              <p:cond delay="0"/>
                            </p:stCondLst>
                            <p:childTnLst>
                              <p:par>
                                <p:cTn id="35" presetID="4" presetClass="entr" presetSubtype="16" fill="hold" nodeType="clickEffect">
                                  <p:stCondLst>
                                    <p:cond delay="0"/>
                                  </p:stCondLst>
                                  <p:childTnLst>
                                    <p:set>
                                      <p:cBhvr>
                                        <p:cTn id="36" dur="1" fill="hold">
                                          <p:stCondLst>
                                            <p:cond delay="0"/>
                                          </p:stCondLst>
                                        </p:cTn>
                                        <p:tgtEl>
                                          <p:spTgt spid="75996"/>
                                        </p:tgtEl>
                                        <p:attrNameLst>
                                          <p:attrName>style.visibility</p:attrName>
                                        </p:attrNameLst>
                                      </p:cBhvr>
                                      <p:to>
                                        <p:strVal val="visible"/>
                                      </p:to>
                                    </p:set>
                                    <p:animEffect transition="in" filter="box(in)">
                                      <p:cBhvr>
                                        <p:cTn id="37" dur="500"/>
                                        <p:tgtEl>
                                          <p:spTgt spid="75996"/>
                                        </p:tgtEl>
                                      </p:cBhvr>
                                    </p:animEffect>
                                  </p:childTnLst>
                                </p:cTn>
                              </p:par>
                            </p:childTnLst>
                          </p:cTn>
                        </p:par>
                      </p:childTnLst>
                    </p:cTn>
                  </p:par>
                  <p:par>
                    <p:cTn id="38" fill="hold">
                      <p:stCondLst>
                        <p:cond delay="indefinite"/>
                      </p:stCondLst>
                      <p:childTnLst>
                        <p:par>
                          <p:cTn id="39" fill="hold">
                            <p:stCondLst>
                              <p:cond delay="0"/>
                            </p:stCondLst>
                            <p:childTnLst>
                              <p:par>
                                <p:cTn id="40" presetID="4" presetClass="entr" presetSubtype="16" fill="hold" nodeType="clickEffect">
                                  <p:stCondLst>
                                    <p:cond delay="0"/>
                                  </p:stCondLst>
                                  <p:childTnLst>
                                    <p:set>
                                      <p:cBhvr>
                                        <p:cTn id="41" dur="1" fill="hold">
                                          <p:stCondLst>
                                            <p:cond delay="0"/>
                                          </p:stCondLst>
                                        </p:cTn>
                                        <p:tgtEl>
                                          <p:spTgt spid="75826"/>
                                        </p:tgtEl>
                                        <p:attrNameLst>
                                          <p:attrName>style.visibility</p:attrName>
                                        </p:attrNameLst>
                                      </p:cBhvr>
                                      <p:to>
                                        <p:strVal val="visible"/>
                                      </p:to>
                                    </p:set>
                                    <p:animEffect transition="in" filter="box(in)">
                                      <p:cBhvr>
                                        <p:cTn id="42" dur="500"/>
                                        <p:tgtEl>
                                          <p:spTgt spid="75826"/>
                                        </p:tgtEl>
                                      </p:cBhvr>
                                    </p:animEffect>
                                  </p:childTnLst>
                                </p:cTn>
                              </p:par>
                            </p:childTnLst>
                          </p:cTn>
                        </p:par>
                      </p:childTnLst>
                    </p:cTn>
                  </p:par>
                  <p:par>
                    <p:cTn id="43" fill="hold">
                      <p:stCondLst>
                        <p:cond delay="indefinite"/>
                      </p:stCondLst>
                      <p:childTnLst>
                        <p:par>
                          <p:cTn id="44" fill="hold">
                            <p:stCondLst>
                              <p:cond delay="0"/>
                            </p:stCondLst>
                            <p:childTnLst>
                              <p:par>
                                <p:cTn id="45" presetID="4" presetClass="entr" presetSubtype="16" fill="hold" nodeType="clickEffect">
                                  <p:stCondLst>
                                    <p:cond delay="0"/>
                                  </p:stCondLst>
                                  <p:childTnLst>
                                    <p:set>
                                      <p:cBhvr>
                                        <p:cTn id="46" dur="1" fill="hold">
                                          <p:stCondLst>
                                            <p:cond delay="0"/>
                                          </p:stCondLst>
                                        </p:cTn>
                                        <p:tgtEl>
                                          <p:spTgt spid="75999"/>
                                        </p:tgtEl>
                                        <p:attrNameLst>
                                          <p:attrName>style.visibility</p:attrName>
                                        </p:attrNameLst>
                                      </p:cBhvr>
                                      <p:to>
                                        <p:strVal val="visible"/>
                                      </p:to>
                                    </p:set>
                                    <p:animEffect transition="in" filter="box(in)">
                                      <p:cBhvr>
                                        <p:cTn id="47" dur="500"/>
                                        <p:tgtEl>
                                          <p:spTgt spid="75999"/>
                                        </p:tgtEl>
                                      </p:cBhvr>
                                    </p:animEffect>
                                  </p:childTnLst>
                                </p:cTn>
                              </p:par>
                            </p:childTnLst>
                          </p:cTn>
                        </p:par>
                      </p:childTnLst>
                    </p:cTn>
                  </p:par>
                  <p:par>
                    <p:cTn id="48" fill="hold">
                      <p:stCondLst>
                        <p:cond delay="indefinite"/>
                      </p:stCondLst>
                      <p:childTnLst>
                        <p:par>
                          <p:cTn id="49" fill="hold">
                            <p:stCondLst>
                              <p:cond delay="0"/>
                            </p:stCondLst>
                            <p:childTnLst>
                              <p:par>
                                <p:cTn id="50" presetID="4" presetClass="entr" presetSubtype="16" fill="hold" nodeType="clickEffect">
                                  <p:stCondLst>
                                    <p:cond delay="0"/>
                                  </p:stCondLst>
                                  <p:childTnLst>
                                    <p:set>
                                      <p:cBhvr>
                                        <p:cTn id="51" dur="1" fill="hold">
                                          <p:stCondLst>
                                            <p:cond delay="0"/>
                                          </p:stCondLst>
                                        </p:cTn>
                                        <p:tgtEl>
                                          <p:spTgt spid="76002"/>
                                        </p:tgtEl>
                                        <p:attrNameLst>
                                          <p:attrName>style.visibility</p:attrName>
                                        </p:attrNameLst>
                                      </p:cBhvr>
                                      <p:to>
                                        <p:strVal val="visible"/>
                                      </p:to>
                                    </p:set>
                                    <p:animEffect transition="in" filter="box(in)">
                                      <p:cBhvr>
                                        <p:cTn id="52" dur="500"/>
                                        <p:tgtEl>
                                          <p:spTgt spid="76002"/>
                                        </p:tgtEl>
                                      </p:cBhvr>
                                    </p:animEffect>
                                  </p:childTnLst>
                                </p:cTn>
                              </p:par>
                            </p:childTnLst>
                          </p:cTn>
                        </p:par>
                      </p:childTnLst>
                    </p:cTn>
                  </p:par>
                  <p:par>
                    <p:cTn id="53" fill="hold">
                      <p:stCondLst>
                        <p:cond delay="indefinite"/>
                      </p:stCondLst>
                      <p:childTnLst>
                        <p:par>
                          <p:cTn id="54" fill="hold">
                            <p:stCondLst>
                              <p:cond delay="0"/>
                            </p:stCondLst>
                            <p:childTnLst>
                              <p:par>
                                <p:cTn id="55" presetID="4" presetClass="entr" presetSubtype="16" fill="hold" nodeType="clickEffect">
                                  <p:stCondLst>
                                    <p:cond delay="0"/>
                                  </p:stCondLst>
                                  <p:childTnLst>
                                    <p:set>
                                      <p:cBhvr>
                                        <p:cTn id="56" dur="1" fill="hold">
                                          <p:stCondLst>
                                            <p:cond delay="0"/>
                                          </p:stCondLst>
                                        </p:cTn>
                                        <p:tgtEl>
                                          <p:spTgt spid="75869"/>
                                        </p:tgtEl>
                                        <p:attrNameLst>
                                          <p:attrName>style.visibility</p:attrName>
                                        </p:attrNameLst>
                                      </p:cBhvr>
                                      <p:to>
                                        <p:strVal val="visible"/>
                                      </p:to>
                                    </p:set>
                                    <p:animEffect transition="in" filter="box(in)">
                                      <p:cBhvr>
                                        <p:cTn id="57" dur="500"/>
                                        <p:tgtEl>
                                          <p:spTgt spid="75869"/>
                                        </p:tgtEl>
                                      </p:cBhvr>
                                    </p:animEffect>
                                  </p:childTnLst>
                                </p:cTn>
                              </p:par>
                            </p:childTnLst>
                          </p:cTn>
                        </p:par>
                      </p:childTnLst>
                    </p:cTn>
                  </p:par>
                  <p:par>
                    <p:cTn id="58" fill="hold">
                      <p:stCondLst>
                        <p:cond delay="indefinite"/>
                      </p:stCondLst>
                      <p:childTnLst>
                        <p:par>
                          <p:cTn id="59" fill="hold">
                            <p:stCondLst>
                              <p:cond delay="0"/>
                            </p:stCondLst>
                            <p:childTnLst>
                              <p:par>
                                <p:cTn id="60" presetID="4" presetClass="entr" presetSubtype="16" fill="hold" nodeType="clickEffect">
                                  <p:stCondLst>
                                    <p:cond delay="0"/>
                                  </p:stCondLst>
                                  <p:childTnLst>
                                    <p:set>
                                      <p:cBhvr>
                                        <p:cTn id="61" dur="1" fill="hold">
                                          <p:stCondLst>
                                            <p:cond delay="0"/>
                                          </p:stCondLst>
                                        </p:cTn>
                                        <p:tgtEl>
                                          <p:spTgt spid="76005"/>
                                        </p:tgtEl>
                                        <p:attrNameLst>
                                          <p:attrName>style.visibility</p:attrName>
                                        </p:attrNameLst>
                                      </p:cBhvr>
                                      <p:to>
                                        <p:strVal val="visible"/>
                                      </p:to>
                                    </p:set>
                                    <p:animEffect transition="in" filter="box(in)">
                                      <p:cBhvr>
                                        <p:cTn id="62" dur="500"/>
                                        <p:tgtEl>
                                          <p:spTgt spid="76005"/>
                                        </p:tgtEl>
                                      </p:cBhvr>
                                    </p:animEffect>
                                  </p:childTnLst>
                                </p:cTn>
                              </p:par>
                            </p:childTnLst>
                          </p:cTn>
                        </p:par>
                      </p:childTnLst>
                    </p:cTn>
                  </p:par>
                  <p:par>
                    <p:cTn id="63" fill="hold">
                      <p:stCondLst>
                        <p:cond delay="indefinite"/>
                      </p:stCondLst>
                      <p:childTnLst>
                        <p:par>
                          <p:cTn id="64" fill="hold">
                            <p:stCondLst>
                              <p:cond delay="0"/>
                            </p:stCondLst>
                            <p:childTnLst>
                              <p:par>
                                <p:cTn id="65" presetID="4" presetClass="entr" presetSubtype="16" fill="hold" nodeType="clickEffect">
                                  <p:stCondLst>
                                    <p:cond delay="0"/>
                                  </p:stCondLst>
                                  <p:childTnLst>
                                    <p:set>
                                      <p:cBhvr>
                                        <p:cTn id="66" dur="1" fill="hold">
                                          <p:stCondLst>
                                            <p:cond delay="0"/>
                                          </p:stCondLst>
                                        </p:cTn>
                                        <p:tgtEl>
                                          <p:spTgt spid="75875"/>
                                        </p:tgtEl>
                                        <p:attrNameLst>
                                          <p:attrName>style.visibility</p:attrName>
                                        </p:attrNameLst>
                                      </p:cBhvr>
                                      <p:to>
                                        <p:strVal val="visible"/>
                                      </p:to>
                                    </p:set>
                                    <p:animEffect transition="in" filter="box(in)">
                                      <p:cBhvr>
                                        <p:cTn id="67" dur="500"/>
                                        <p:tgtEl>
                                          <p:spTgt spid="75875"/>
                                        </p:tgtEl>
                                      </p:cBhvr>
                                    </p:animEffect>
                                  </p:childTnLst>
                                </p:cTn>
                              </p:par>
                            </p:childTnLst>
                          </p:cTn>
                        </p:par>
                      </p:childTnLst>
                    </p:cTn>
                  </p:par>
                  <p:par>
                    <p:cTn id="68" fill="hold">
                      <p:stCondLst>
                        <p:cond delay="indefinite"/>
                      </p:stCondLst>
                      <p:childTnLst>
                        <p:par>
                          <p:cTn id="69" fill="hold">
                            <p:stCondLst>
                              <p:cond delay="0"/>
                            </p:stCondLst>
                            <p:childTnLst>
                              <p:par>
                                <p:cTn id="70" presetID="4" presetClass="entr" presetSubtype="16" fill="hold" nodeType="clickEffect">
                                  <p:stCondLst>
                                    <p:cond delay="0"/>
                                  </p:stCondLst>
                                  <p:childTnLst>
                                    <p:set>
                                      <p:cBhvr>
                                        <p:cTn id="71" dur="1" fill="hold">
                                          <p:stCondLst>
                                            <p:cond delay="0"/>
                                          </p:stCondLst>
                                        </p:cTn>
                                        <p:tgtEl>
                                          <p:spTgt spid="75861"/>
                                        </p:tgtEl>
                                        <p:attrNameLst>
                                          <p:attrName>style.visibility</p:attrName>
                                        </p:attrNameLst>
                                      </p:cBhvr>
                                      <p:to>
                                        <p:strVal val="visible"/>
                                      </p:to>
                                    </p:set>
                                    <p:animEffect transition="in" filter="box(in)">
                                      <p:cBhvr>
                                        <p:cTn id="72" dur="500"/>
                                        <p:tgtEl>
                                          <p:spTgt spid="758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50" name="Rectangle 14"/>
          <p:cNvSpPr>
            <a:spLocks noGrp="1" noChangeArrowheads="1"/>
          </p:cNvSpPr>
          <p:nvPr>
            <p:ph type="title"/>
          </p:nvPr>
        </p:nvSpPr>
        <p:spPr>
          <a:xfrm>
            <a:off x="467544" y="30278"/>
            <a:ext cx="7893050" cy="1030288"/>
          </a:xfrm>
          <a:ln algn="ctr">
            <a:miter lim="800000"/>
            <a:headEnd/>
            <a:tailEnd/>
          </a:ln>
        </p:spPr>
        <p:txBody>
          <a:bodyPr/>
          <a:lstStyle/>
          <a:p>
            <a:pPr>
              <a:lnSpc>
                <a:spcPts val="3000"/>
              </a:lnSpc>
              <a:defRPr/>
            </a:pPr>
            <a:r>
              <a:rPr lang="en-US" sz="2900" b="1" dirty="0" smtClean="0">
                <a:solidFill>
                  <a:srgbClr val="002060"/>
                </a:solidFill>
              </a:rPr>
              <a:t>The cells of </a:t>
            </a:r>
            <a:r>
              <a:rPr lang="en-US" sz="2900" b="1" dirty="0" err="1" smtClean="0">
                <a:solidFill>
                  <a:srgbClr val="002060"/>
                </a:solidFill>
              </a:rPr>
              <a:t>preneoplastic</a:t>
            </a:r>
            <a:r>
              <a:rPr lang="en-US" sz="2900" b="1" dirty="0" smtClean="0">
                <a:solidFill>
                  <a:srgbClr val="002060"/>
                </a:solidFill>
              </a:rPr>
              <a:t> niche</a:t>
            </a:r>
          </a:p>
        </p:txBody>
      </p:sp>
      <p:sp>
        <p:nvSpPr>
          <p:cNvPr id="189448" name="Text Box 8"/>
          <p:cNvSpPr txBox="1">
            <a:spLocks noChangeArrowheads="1"/>
          </p:cNvSpPr>
          <p:nvPr/>
        </p:nvSpPr>
        <p:spPr bwMode="auto">
          <a:xfrm>
            <a:off x="2717800" y="1052736"/>
            <a:ext cx="6532563" cy="5434437"/>
          </a:xfrm>
          <a:prstGeom prst="rect">
            <a:avLst/>
          </a:prstGeom>
          <a:noFill/>
          <a:ln w="9525">
            <a:noFill/>
            <a:miter lim="800000"/>
            <a:headEnd/>
            <a:tailEnd/>
          </a:ln>
          <a:effectLst>
            <a:prstShdw prst="shdw17" dist="17961" dir="2700000">
              <a:schemeClr val="accent1">
                <a:gamma/>
                <a:shade val="60000"/>
                <a:invGamma/>
              </a:schemeClr>
            </a:prstShdw>
          </a:effectLst>
        </p:spPr>
        <p:txBody>
          <a:bodyPr lIns="90000" tIns="46800" rIns="90000" bIns="46800">
            <a:spAutoFit/>
          </a:bodyPr>
          <a:lstStyle/>
          <a:p>
            <a:pPr marL="182880" indent="-182880">
              <a:lnSpc>
                <a:spcPct val="150000"/>
              </a:lnSpc>
              <a:spcBef>
                <a:spcPts val="600"/>
              </a:spcBef>
              <a:buClr>
                <a:srgbClr val="FFC000"/>
              </a:buClr>
              <a:buFont typeface="Wingdings" pitchFamily="2" charset="2"/>
              <a:buChar char="§"/>
              <a:defRPr/>
            </a:pPr>
            <a:r>
              <a:rPr lang="it-IT" dirty="0">
                <a:solidFill>
                  <a:schemeClr val="tx2"/>
                </a:solidFill>
              </a:rPr>
              <a:t>Circulating tumor cells (CTCs)</a:t>
            </a:r>
          </a:p>
          <a:p>
            <a:pPr marL="182880" indent="-182880">
              <a:lnSpc>
                <a:spcPct val="150000"/>
              </a:lnSpc>
              <a:spcBef>
                <a:spcPts val="600"/>
              </a:spcBef>
              <a:buClr>
                <a:srgbClr val="FFC000"/>
              </a:buClr>
              <a:buFont typeface="Wingdings" pitchFamily="2" charset="2"/>
              <a:buChar char="§"/>
              <a:defRPr/>
            </a:pPr>
            <a:r>
              <a:rPr lang="it-IT" dirty="0">
                <a:solidFill>
                  <a:schemeClr val="tx2"/>
                </a:solidFill>
              </a:rPr>
              <a:t>Disseminated tumor cells (DTCs)</a:t>
            </a:r>
          </a:p>
          <a:p>
            <a:pPr indent="176213">
              <a:lnSpc>
                <a:spcPct val="150000"/>
              </a:lnSpc>
              <a:spcBef>
                <a:spcPts val="600"/>
              </a:spcBef>
              <a:buClr>
                <a:srgbClr val="FFC000"/>
              </a:buClr>
              <a:buFont typeface="Wingdings" pitchFamily="2" charset="2"/>
              <a:buChar char="§"/>
              <a:defRPr/>
            </a:pPr>
            <a:r>
              <a:rPr lang="it-IT" dirty="0">
                <a:solidFill>
                  <a:schemeClr val="tx2"/>
                </a:solidFill>
              </a:rPr>
              <a:t>Osteoclasts and macrophages</a:t>
            </a:r>
          </a:p>
          <a:p>
            <a:pPr indent="176213">
              <a:lnSpc>
                <a:spcPct val="150000"/>
              </a:lnSpc>
              <a:spcBef>
                <a:spcPts val="600"/>
              </a:spcBef>
              <a:buClr>
                <a:srgbClr val="FFC000"/>
              </a:buClr>
              <a:buFont typeface="Wingdings" pitchFamily="2" charset="2"/>
              <a:buChar char="§"/>
              <a:defRPr/>
            </a:pPr>
            <a:r>
              <a:rPr lang="it-IT" dirty="0">
                <a:solidFill>
                  <a:schemeClr val="tx2"/>
                </a:solidFill>
              </a:rPr>
              <a:t>Osteoblasts			</a:t>
            </a:r>
          </a:p>
          <a:p>
            <a:pPr indent="176213">
              <a:lnSpc>
                <a:spcPct val="150000"/>
              </a:lnSpc>
              <a:spcBef>
                <a:spcPts val="600"/>
              </a:spcBef>
              <a:buClr>
                <a:srgbClr val="FFC000"/>
              </a:buClr>
              <a:buFont typeface="Wingdings" pitchFamily="2" charset="2"/>
              <a:buChar char="§"/>
              <a:defRPr/>
            </a:pPr>
            <a:r>
              <a:rPr lang="it-IT" dirty="0">
                <a:solidFill>
                  <a:schemeClr val="tx2"/>
                </a:solidFill>
              </a:rPr>
              <a:t>Bone marrow stromal cells</a:t>
            </a:r>
          </a:p>
          <a:p>
            <a:pPr indent="176213">
              <a:lnSpc>
                <a:spcPct val="150000"/>
              </a:lnSpc>
              <a:spcBef>
                <a:spcPts val="600"/>
              </a:spcBef>
              <a:buClr>
                <a:srgbClr val="FFC000"/>
              </a:buClr>
              <a:buFont typeface="Wingdings" pitchFamily="2" charset="2"/>
              <a:buChar char="§"/>
              <a:defRPr/>
            </a:pPr>
            <a:r>
              <a:rPr lang="it-IT" dirty="0">
                <a:solidFill>
                  <a:schemeClr val="tx2"/>
                </a:solidFill>
              </a:rPr>
              <a:t>Circulating endothelial progenitors (CEPs) and cells (CECs)</a:t>
            </a:r>
          </a:p>
          <a:p>
            <a:pPr indent="176213">
              <a:lnSpc>
                <a:spcPct val="150000"/>
              </a:lnSpc>
              <a:spcBef>
                <a:spcPts val="600"/>
              </a:spcBef>
              <a:buClr>
                <a:srgbClr val="FFC000"/>
              </a:buClr>
              <a:buFont typeface="Wingdings" pitchFamily="2" charset="2"/>
              <a:buChar char="§"/>
              <a:defRPr/>
            </a:pPr>
            <a:r>
              <a:rPr lang="it-IT" dirty="0">
                <a:solidFill>
                  <a:schemeClr val="tx2"/>
                </a:solidFill>
              </a:rPr>
              <a:t>Gamma/delta (</a:t>
            </a:r>
            <a:r>
              <a:rPr kumimoji="1" lang="en-US" altLang="ja-JP" dirty="0">
                <a:solidFill>
                  <a:schemeClr val="tx2"/>
                </a:solidFill>
                <a:effectLst>
                  <a:outerShdw blurRad="38100" dist="38100" dir="2700000" algn="tl">
                    <a:srgbClr val="000000"/>
                  </a:outerShdw>
                </a:effectLst>
                <a:sym typeface="Symbol" pitchFamily="18" charset="2"/>
              </a:rPr>
              <a:t>)</a:t>
            </a:r>
            <a:r>
              <a:rPr lang="it-IT" dirty="0">
                <a:solidFill>
                  <a:schemeClr val="tx2"/>
                </a:solidFill>
              </a:rPr>
              <a:t> and alfa/beta (</a:t>
            </a:r>
            <a:r>
              <a:rPr lang="el-GR" dirty="0">
                <a:solidFill>
                  <a:schemeClr val="tx2"/>
                </a:solidFill>
              </a:rPr>
              <a:t>α</a:t>
            </a:r>
            <a:r>
              <a:rPr lang="en-US" dirty="0">
                <a:solidFill>
                  <a:schemeClr val="tx2"/>
                </a:solidFill>
              </a:rPr>
              <a:t>/</a:t>
            </a:r>
            <a:r>
              <a:rPr lang="el-GR" dirty="0">
                <a:solidFill>
                  <a:schemeClr val="tx2"/>
                </a:solidFill>
              </a:rPr>
              <a:t>β</a:t>
            </a:r>
            <a:r>
              <a:rPr lang="it-IT" dirty="0">
                <a:solidFill>
                  <a:schemeClr val="tx2"/>
                </a:solidFill>
              </a:rPr>
              <a:t>) T cells	</a:t>
            </a:r>
          </a:p>
          <a:p>
            <a:pPr indent="176213">
              <a:lnSpc>
                <a:spcPct val="150000"/>
              </a:lnSpc>
              <a:spcBef>
                <a:spcPts val="600"/>
              </a:spcBef>
              <a:buClr>
                <a:srgbClr val="FFC000"/>
              </a:buClr>
              <a:buFont typeface="Wingdings" pitchFamily="2" charset="2"/>
              <a:buChar char="§"/>
              <a:defRPr/>
            </a:pPr>
            <a:r>
              <a:rPr lang="it-IT" dirty="0">
                <a:solidFill>
                  <a:schemeClr val="tx2"/>
                </a:solidFill>
              </a:rPr>
              <a:t>Mesenchimal stem cells (MSCs)	</a:t>
            </a:r>
          </a:p>
          <a:p>
            <a:pPr indent="176213">
              <a:lnSpc>
                <a:spcPct val="150000"/>
              </a:lnSpc>
              <a:spcBef>
                <a:spcPts val="600"/>
              </a:spcBef>
              <a:buClr>
                <a:srgbClr val="FFC000"/>
              </a:buClr>
              <a:buFont typeface="Wingdings" pitchFamily="2" charset="2"/>
              <a:buChar char="§"/>
              <a:defRPr/>
            </a:pPr>
            <a:r>
              <a:rPr lang="it-IT" dirty="0">
                <a:solidFill>
                  <a:schemeClr val="tx2"/>
                </a:solidFill>
              </a:rPr>
              <a:t>HSC VEGFR1</a:t>
            </a:r>
            <a:r>
              <a:rPr lang="it-IT" baseline="30000" dirty="0">
                <a:solidFill>
                  <a:schemeClr val="tx2"/>
                </a:solidFill>
              </a:rPr>
              <a:t>+</a:t>
            </a:r>
            <a:r>
              <a:rPr lang="it-IT" dirty="0">
                <a:solidFill>
                  <a:schemeClr val="tx2"/>
                </a:solidFill>
              </a:rPr>
              <a:t> or 2</a:t>
            </a:r>
            <a:r>
              <a:rPr lang="it-IT" baseline="30000" dirty="0">
                <a:solidFill>
                  <a:schemeClr val="tx2"/>
                </a:solidFill>
              </a:rPr>
              <a:t>+</a:t>
            </a:r>
            <a:r>
              <a:rPr lang="it-IT" dirty="0">
                <a:solidFill>
                  <a:schemeClr val="tx2"/>
                </a:solidFill>
              </a:rPr>
              <a:t>		</a:t>
            </a:r>
          </a:p>
          <a:p>
            <a:pPr indent="176213">
              <a:lnSpc>
                <a:spcPct val="150000"/>
              </a:lnSpc>
              <a:spcBef>
                <a:spcPts val="600"/>
              </a:spcBef>
              <a:buClr>
                <a:srgbClr val="FFC000"/>
              </a:buClr>
              <a:buFont typeface="Wingdings" pitchFamily="2" charset="2"/>
              <a:buChar char="§"/>
              <a:defRPr/>
            </a:pPr>
            <a:r>
              <a:rPr lang="it-IT" dirty="0">
                <a:solidFill>
                  <a:schemeClr val="tx2"/>
                </a:solidFill>
              </a:rPr>
              <a:t>Cancer stem cells (</a:t>
            </a:r>
            <a:r>
              <a:rPr lang="it-IT" dirty="0" err="1">
                <a:solidFill>
                  <a:schemeClr val="tx2"/>
                </a:solidFill>
              </a:rPr>
              <a:t>CSCs</a:t>
            </a:r>
            <a:r>
              <a:rPr lang="it-IT" dirty="0" smtClean="0">
                <a:solidFill>
                  <a:schemeClr val="tx2"/>
                </a:solidFill>
              </a:rPr>
              <a:t>)</a:t>
            </a:r>
          </a:p>
          <a:p>
            <a:pPr indent="176213">
              <a:lnSpc>
                <a:spcPct val="150000"/>
              </a:lnSpc>
              <a:spcBef>
                <a:spcPts val="600"/>
              </a:spcBef>
              <a:buClr>
                <a:srgbClr val="FFC000"/>
              </a:buClr>
              <a:buFont typeface="Wingdings" pitchFamily="2" charset="2"/>
              <a:buChar char="§"/>
              <a:defRPr/>
            </a:pPr>
            <a:r>
              <a:rPr lang="it-IT" dirty="0" smtClean="0">
                <a:solidFill>
                  <a:schemeClr val="tx2"/>
                </a:solidFill>
              </a:rPr>
              <a:t>Osteocytes</a:t>
            </a:r>
            <a:endParaRPr lang="it-IT" dirty="0">
              <a:solidFill>
                <a:schemeClr val="tx2"/>
              </a:solidFill>
            </a:endParaRPr>
          </a:p>
        </p:txBody>
      </p:sp>
      <p:grpSp>
        <p:nvGrpSpPr>
          <p:cNvPr id="24579" name="Group 10"/>
          <p:cNvGrpSpPr>
            <a:grpSpLocks/>
          </p:cNvGrpSpPr>
          <p:nvPr/>
        </p:nvGrpSpPr>
        <p:grpSpPr bwMode="auto">
          <a:xfrm>
            <a:off x="-268288" y="2630488"/>
            <a:ext cx="2938463" cy="1849437"/>
            <a:chOff x="-98" y="1123"/>
            <a:chExt cx="1475" cy="928"/>
          </a:xfrm>
        </p:grpSpPr>
        <p:grpSp>
          <p:nvGrpSpPr>
            <p:cNvPr id="24583" name="Group 22"/>
            <p:cNvGrpSpPr>
              <a:grpSpLocks/>
            </p:cNvGrpSpPr>
            <p:nvPr/>
          </p:nvGrpSpPr>
          <p:grpSpPr bwMode="auto">
            <a:xfrm>
              <a:off x="413" y="1123"/>
              <a:ext cx="559" cy="769"/>
              <a:chOff x="1888" y="3064"/>
              <a:chExt cx="475" cy="821"/>
            </a:xfrm>
          </p:grpSpPr>
          <p:pic>
            <p:nvPicPr>
              <p:cNvPr id="24585" name="Picture 23" descr="boneme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8" y="3064"/>
                <a:ext cx="475" cy="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6" name="Rectangle 24"/>
              <p:cNvSpPr>
                <a:spLocks noChangeArrowheads="1"/>
              </p:cNvSpPr>
              <p:nvPr/>
            </p:nvSpPr>
            <p:spPr bwMode="auto">
              <a:xfrm>
                <a:off x="1940" y="3200"/>
                <a:ext cx="158" cy="158"/>
              </a:xfrm>
              <a:prstGeom prst="rect">
                <a:avLst/>
              </a:prstGeom>
              <a:solidFill>
                <a:srgbClr val="FBE4CD"/>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it-IT">
                  <a:latin typeface="Comic Sans MS" panose="030F0702030302020204" pitchFamily="66" charset="0"/>
                  <a:ea typeface="ＭＳ Ｐゴシック" panose="020B0600070205080204" pitchFamily="34" charset="-128"/>
                </a:endParaRPr>
              </a:p>
            </p:txBody>
          </p:sp>
          <p:sp>
            <p:nvSpPr>
              <p:cNvPr id="24587" name="Rectangle 25"/>
              <p:cNvSpPr>
                <a:spLocks noChangeArrowheads="1"/>
              </p:cNvSpPr>
              <p:nvPr/>
            </p:nvSpPr>
            <p:spPr bwMode="auto">
              <a:xfrm>
                <a:off x="2071" y="3193"/>
                <a:ext cx="158" cy="128"/>
              </a:xfrm>
              <a:prstGeom prst="rect">
                <a:avLst/>
              </a:prstGeom>
              <a:solidFill>
                <a:srgbClr val="FBE4CD"/>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it-IT">
                  <a:latin typeface="Comic Sans MS" panose="030F0702030302020204" pitchFamily="66" charset="0"/>
                  <a:ea typeface="ＭＳ Ｐゴシック" panose="020B0600070205080204" pitchFamily="34" charset="-128"/>
                </a:endParaRPr>
              </a:p>
            </p:txBody>
          </p:sp>
          <p:sp>
            <p:nvSpPr>
              <p:cNvPr id="24588" name="Rectangle 26"/>
              <p:cNvSpPr>
                <a:spLocks noChangeArrowheads="1"/>
              </p:cNvSpPr>
              <p:nvPr/>
            </p:nvSpPr>
            <p:spPr bwMode="auto">
              <a:xfrm>
                <a:off x="1974" y="3326"/>
                <a:ext cx="158" cy="140"/>
              </a:xfrm>
              <a:prstGeom prst="rect">
                <a:avLst/>
              </a:prstGeom>
              <a:solidFill>
                <a:srgbClr val="FBE4CD"/>
              </a:solidFill>
              <a:ln>
                <a:noFill/>
              </a:ln>
              <a:extLst>
                <a:ext uri="{91240B29-F687-4F45-9708-019B960494DF}">
                  <a14:hiddenLine xmlns:a14="http://schemas.microsoft.com/office/drawing/2010/main" w="19050">
                    <a:solidFill>
                      <a:srgbClr val="000000"/>
                    </a:solidFill>
                    <a:miter lim="800000"/>
                    <a:headEnd/>
                    <a:tailEnd/>
                  </a14:hiddenLine>
                </a:ext>
              </a:extLst>
            </p:spPr>
            <p:txBody>
              <a:bodyPr wrap="none" anchor="ct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it-IT">
                  <a:latin typeface="Comic Sans MS" panose="030F0702030302020204" pitchFamily="66" charset="0"/>
                  <a:ea typeface="ＭＳ Ｐゴシック" panose="020B0600070205080204" pitchFamily="34" charset="-128"/>
                </a:endParaRPr>
              </a:p>
            </p:txBody>
          </p:sp>
          <p:sp>
            <p:nvSpPr>
              <p:cNvPr id="2" name="Oval 27"/>
              <p:cNvSpPr>
                <a:spLocks noChangeArrowheads="1"/>
              </p:cNvSpPr>
              <p:nvPr/>
            </p:nvSpPr>
            <p:spPr bwMode="auto">
              <a:xfrm>
                <a:off x="2094" y="3334"/>
                <a:ext cx="35" cy="27"/>
              </a:xfrm>
              <a:prstGeom prst="ellipse">
                <a:avLst/>
              </a:prstGeom>
              <a:solidFill>
                <a:schemeClr val="bg1">
                  <a:lumMod val="60000"/>
                  <a:lumOff val="40000"/>
                </a:schemeClr>
              </a:solidFill>
              <a:ln w="19050">
                <a:noFill/>
                <a:round/>
                <a:headEnd/>
                <a:tailEnd/>
              </a:ln>
            </p:spPr>
            <p:txBody>
              <a:bodyPr wrap="none" anchor="ctr"/>
              <a:lstStyle/>
              <a:p>
                <a:pPr defTabSz="457200">
                  <a:defRPr/>
                </a:pPr>
                <a:endParaRPr lang="en-GB" dirty="0">
                  <a:latin typeface="Comic Sans MS" pitchFamily="66" charset="0"/>
                  <a:ea typeface="ＭＳ Ｐゴシック" pitchFamily="34" charset="-128"/>
                </a:endParaRPr>
              </a:p>
            </p:txBody>
          </p:sp>
          <p:sp>
            <p:nvSpPr>
              <p:cNvPr id="3" name="Oval 28"/>
              <p:cNvSpPr>
                <a:spLocks noChangeArrowheads="1"/>
              </p:cNvSpPr>
              <p:nvPr/>
            </p:nvSpPr>
            <p:spPr bwMode="auto">
              <a:xfrm>
                <a:off x="2057" y="3425"/>
                <a:ext cx="34" cy="27"/>
              </a:xfrm>
              <a:prstGeom prst="ellipse">
                <a:avLst/>
              </a:prstGeom>
              <a:solidFill>
                <a:schemeClr val="bg1">
                  <a:lumMod val="60000"/>
                  <a:lumOff val="40000"/>
                </a:schemeClr>
              </a:solidFill>
              <a:ln w="19050">
                <a:noFill/>
                <a:round/>
                <a:headEnd/>
                <a:tailEnd/>
              </a:ln>
            </p:spPr>
            <p:txBody>
              <a:bodyPr wrap="none" anchor="ctr"/>
              <a:lstStyle/>
              <a:p>
                <a:pPr defTabSz="457200">
                  <a:defRPr/>
                </a:pPr>
                <a:endParaRPr lang="en-GB" dirty="0">
                  <a:latin typeface="Comic Sans MS" pitchFamily="66" charset="0"/>
                  <a:ea typeface="ＭＳ Ｐゴシック" pitchFamily="34" charset="-128"/>
                </a:endParaRPr>
              </a:p>
            </p:txBody>
          </p:sp>
        </p:grpSp>
        <p:sp>
          <p:nvSpPr>
            <p:cNvPr id="24584" name="Text Box 29"/>
            <p:cNvSpPr txBox="1">
              <a:spLocks noChangeArrowheads="1"/>
            </p:cNvSpPr>
            <p:nvPr/>
          </p:nvSpPr>
          <p:spPr bwMode="auto">
            <a:xfrm>
              <a:off x="-98" y="1882"/>
              <a:ext cx="1475" cy="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cs typeface="Arial" panose="020B0604020202020204" pitchFamily="34" charset="0"/>
                </a:defRPr>
              </a:lvl1pPr>
              <a:lvl2pPr marL="742950" indent="-285750" defTabSz="457200">
                <a:defRPr>
                  <a:solidFill>
                    <a:schemeClr val="tx1"/>
                  </a:solidFill>
                  <a:latin typeface="Arial" panose="020B0604020202020204" pitchFamily="34" charset="0"/>
                  <a:cs typeface="Arial" panose="020B0604020202020204" pitchFamily="34" charset="0"/>
                </a:defRPr>
              </a:lvl2pPr>
              <a:lvl3pPr marL="1143000" indent="-228600" defTabSz="457200">
                <a:defRPr>
                  <a:solidFill>
                    <a:schemeClr val="tx1"/>
                  </a:solidFill>
                  <a:latin typeface="Arial" panose="020B0604020202020204" pitchFamily="34" charset="0"/>
                  <a:cs typeface="Arial" panose="020B0604020202020204" pitchFamily="34" charset="0"/>
                </a:defRPr>
              </a:lvl3pPr>
              <a:lvl4pPr marL="1600200" indent="-228600" defTabSz="457200">
                <a:defRPr>
                  <a:solidFill>
                    <a:schemeClr val="tx1"/>
                  </a:solidFill>
                  <a:latin typeface="Arial" panose="020B0604020202020204" pitchFamily="34" charset="0"/>
                  <a:cs typeface="Arial" panose="020B0604020202020204" pitchFamily="34" charset="0"/>
                </a:defRPr>
              </a:lvl4pPr>
              <a:lvl5pPr marL="2057400" indent="-228600" defTabSz="4572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it-IT" sz="1600" dirty="0">
                  <a:solidFill>
                    <a:schemeClr val="tx2"/>
                  </a:solidFill>
                  <a:ea typeface="ＭＳ Ｐゴシック" panose="020B0600070205080204" pitchFamily="34" charset="-128"/>
                </a:rPr>
                <a:t>Cancer </a:t>
              </a:r>
              <a:r>
                <a:rPr lang="en-US" altLang="it-IT" sz="1600" dirty="0" smtClean="0">
                  <a:solidFill>
                    <a:schemeClr val="tx2"/>
                  </a:solidFill>
                  <a:ea typeface="ＭＳ Ｐゴシック" panose="020B0600070205080204" pitchFamily="34" charset="-128"/>
                </a:rPr>
                <a:t>cell </a:t>
              </a:r>
              <a:r>
                <a:rPr lang="en-US" altLang="it-IT" sz="1600" dirty="0">
                  <a:solidFill>
                    <a:schemeClr val="tx2"/>
                  </a:solidFill>
                  <a:ea typeface="ＭＳ Ｐゴシック" panose="020B0600070205080204" pitchFamily="34" charset="-128"/>
                </a:rPr>
                <a:t>niche</a:t>
              </a:r>
            </a:p>
          </p:txBody>
        </p:sp>
      </p:grpSp>
      <p:sp>
        <p:nvSpPr>
          <p:cNvPr id="24580" name="AutoShape 13"/>
          <p:cNvSpPr>
            <a:spLocks/>
          </p:cNvSpPr>
          <p:nvPr/>
        </p:nvSpPr>
        <p:spPr bwMode="auto">
          <a:xfrm>
            <a:off x="2247900" y="1159814"/>
            <a:ext cx="431800" cy="5228286"/>
          </a:xfrm>
          <a:prstGeom prst="leftBrace">
            <a:avLst>
              <a:gd name="adj1" fmla="val 90931"/>
              <a:gd name="adj2" fmla="val 50000"/>
            </a:avLst>
          </a:prstGeom>
          <a:solidFill>
            <a:srgbClr val="00FF00"/>
          </a:solidFill>
          <a:ln>
            <a:noFill/>
          </a:ln>
          <a:effectLst>
            <a:prstShdw prst="shdw17" dist="17961" dir="2700000">
              <a:srgbClr val="009900"/>
            </a:prstShdw>
          </a:effectLst>
          <a:extLs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it-IT" altLang="it-IT"/>
          </a:p>
        </p:txBody>
      </p:sp>
      <p:sp>
        <p:nvSpPr>
          <p:cNvPr id="14" name="Text Box 9"/>
          <p:cNvSpPr txBox="1">
            <a:spLocks noChangeArrowheads="1"/>
          </p:cNvSpPr>
          <p:nvPr/>
        </p:nvSpPr>
        <p:spPr bwMode="auto">
          <a:xfrm>
            <a:off x="57150" y="6562725"/>
            <a:ext cx="8907338" cy="292388"/>
          </a:xfrm>
          <a:prstGeom prst="rect">
            <a:avLst/>
          </a:prstGeom>
          <a:noFill/>
          <a:ln w="9525" algn="ctr">
            <a:noFill/>
            <a:miter lim="800000"/>
            <a:headEnd/>
            <a:tailEnd/>
          </a:ln>
        </p:spPr>
        <p:txBody>
          <a:bodyPr wrap="square">
            <a:spAutoFit/>
          </a:bodyPr>
          <a:lstStyle/>
          <a:p>
            <a:pPr>
              <a:defRPr/>
            </a:pPr>
            <a:r>
              <a:rPr lang="en-US" sz="1300" dirty="0">
                <a:solidFill>
                  <a:schemeClr val="tx2"/>
                </a:solidFill>
                <a:latin typeface="+mn-lt"/>
                <a:ea typeface="ＭＳ Ｐゴシック" pitchFamily="34" charset="-128"/>
                <a:cs typeface="Arial" charset="0"/>
              </a:rPr>
              <a:t>Abbreviations: HSC VEGFR1</a:t>
            </a:r>
            <a:r>
              <a:rPr lang="en-US" sz="1300" baseline="30000" dirty="0">
                <a:solidFill>
                  <a:schemeClr val="tx2"/>
                </a:solidFill>
                <a:latin typeface="+mn-lt"/>
                <a:ea typeface="ＭＳ Ｐゴシック" pitchFamily="34" charset="-128"/>
                <a:cs typeface="Arial" charset="0"/>
              </a:rPr>
              <a:t>+</a:t>
            </a:r>
            <a:r>
              <a:rPr lang="en-US" sz="1300" dirty="0">
                <a:solidFill>
                  <a:schemeClr val="tx2"/>
                </a:solidFill>
                <a:latin typeface="+mn-lt"/>
                <a:ea typeface="ＭＳ Ｐゴシック" pitchFamily="34" charset="-128"/>
                <a:cs typeface="Arial" charset="0"/>
              </a:rPr>
              <a:t> or 2</a:t>
            </a:r>
            <a:r>
              <a:rPr lang="en-US" sz="1300" baseline="30000" dirty="0">
                <a:solidFill>
                  <a:schemeClr val="tx2"/>
                </a:solidFill>
                <a:latin typeface="+mn-lt"/>
                <a:ea typeface="ＭＳ Ｐゴシック" pitchFamily="34" charset="-128"/>
                <a:cs typeface="Arial" charset="0"/>
              </a:rPr>
              <a:t>+</a:t>
            </a:r>
            <a:r>
              <a:rPr lang="en-US" sz="1300" dirty="0">
                <a:solidFill>
                  <a:schemeClr val="tx2"/>
                </a:solidFill>
                <a:latin typeface="+mn-lt"/>
                <a:ea typeface="ＭＳ Ｐゴシック" pitchFamily="34" charset="-128"/>
                <a:cs typeface="Arial" charset="0"/>
              </a:rPr>
              <a:t>, hematopoietic stem cell vascular endothelial growth factor receptor 1-positive or </a:t>
            </a:r>
            <a:r>
              <a:rPr lang="en-US" sz="1300" dirty="0" smtClean="0">
                <a:solidFill>
                  <a:schemeClr val="tx2"/>
                </a:solidFill>
                <a:latin typeface="+mn-lt"/>
                <a:ea typeface="ＭＳ Ｐゴシック" pitchFamily="34" charset="-128"/>
                <a:cs typeface="Arial" charset="0"/>
              </a:rPr>
              <a:t>2-positive.</a:t>
            </a:r>
            <a:endParaRPr lang="en-US" sz="1300" dirty="0">
              <a:solidFill>
                <a:schemeClr val="tx2"/>
              </a:solidFill>
              <a:latin typeface="+mn-lt"/>
              <a:ea typeface="ＭＳ Ｐゴシック" pitchFamily="34" charset="-128"/>
              <a:cs typeface="Arial" charset="0"/>
            </a:endParaRPr>
          </a:p>
        </p:txBody>
      </p:sp>
      <p:sp>
        <p:nvSpPr>
          <p:cNvPr id="15" name="Slide Number Placeholder 3"/>
          <p:cNvSpPr>
            <a:spLocks noGrp="1"/>
          </p:cNvSpPr>
          <p:nvPr>
            <p:ph type="sldNum" sz="quarter" idx="12"/>
          </p:nvPr>
        </p:nvSpPr>
        <p:spPr>
          <a:xfrm>
            <a:off x="7010400" y="6492875"/>
            <a:ext cx="2133600" cy="365125"/>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927FA26-97D1-4FD9-BDF3-9BA7DBF3AE7D}" type="slidenum">
              <a:rPr lang="en-US" altLang="it-IT">
                <a:solidFill>
                  <a:srgbClr val="FFFFFF"/>
                </a:solidFill>
                <a:latin typeface="Calibri" panose="020F0502020204030204" pitchFamily="34" charset="0"/>
              </a:rPr>
              <a:pPr/>
              <a:t>24</a:t>
            </a:fld>
            <a:endParaRPr lang="en-US" altLang="it-IT">
              <a:solidFill>
                <a:srgbClr val="FFFFFF"/>
              </a:solidFill>
              <a:latin typeface="Calibri" panose="020F0502020204030204" pitchFamily="34" charset="0"/>
            </a:endParaRPr>
          </a:p>
        </p:txBody>
      </p:sp>
    </p:spTree>
    <p:extLst>
      <p:ext uri="{BB962C8B-B14F-4D97-AF65-F5344CB8AC3E}">
        <p14:creationId xmlns:p14="http://schemas.microsoft.com/office/powerpoint/2010/main" val="3228018025"/>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539552" y="188640"/>
            <a:ext cx="8496944" cy="1470025"/>
          </a:xfrm>
        </p:spPr>
        <p:txBody>
          <a:bodyPr/>
          <a:lstStyle/>
          <a:p>
            <a:r>
              <a:rPr lang="it-IT" sz="2800" dirty="0" smtClean="0">
                <a:latin typeface="Arial" panose="020B0604020202020204" pitchFamily="34" charset="0"/>
                <a:cs typeface="Arial" panose="020B0604020202020204" pitchFamily="34" charset="0"/>
              </a:rPr>
              <a:t>5. </a:t>
            </a:r>
            <a:r>
              <a:rPr lang="it-IT" sz="2800" dirty="0" err="1" smtClean="0">
                <a:latin typeface="Arial" panose="020B0604020202020204" pitchFamily="34" charset="0"/>
                <a:cs typeface="Arial" panose="020B0604020202020204" pitchFamily="34" charset="0"/>
              </a:rPr>
              <a:t>Role</a:t>
            </a:r>
            <a:r>
              <a:rPr lang="it-IT" sz="2800" dirty="0" smtClean="0">
                <a:latin typeface="Arial" panose="020B0604020202020204" pitchFamily="34" charset="0"/>
                <a:cs typeface="Arial" panose="020B0604020202020204" pitchFamily="34" charset="0"/>
              </a:rPr>
              <a:t> of </a:t>
            </a:r>
            <a:r>
              <a:rPr lang="it-IT" sz="2800" dirty="0" err="1" smtClean="0">
                <a:latin typeface="Arial" panose="020B0604020202020204" pitchFamily="34" charset="0"/>
                <a:cs typeface="Arial" panose="020B0604020202020204" pitchFamily="34" charset="0"/>
              </a:rPr>
              <a:t>preneopastic</a:t>
            </a:r>
            <a:r>
              <a:rPr lang="it-IT" sz="2800" dirty="0" smtClean="0">
                <a:latin typeface="Arial" panose="020B0604020202020204" pitchFamily="34" charset="0"/>
                <a:cs typeface="Arial" panose="020B0604020202020204" pitchFamily="34" charset="0"/>
              </a:rPr>
              <a:t> </a:t>
            </a:r>
            <a:r>
              <a:rPr lang="it-IT" sz="2800" dirty="0" err="1" smtClean="0">
                <a:latin typeface="Arial" panose="020B0604020202020204" pitchFamily="34" charset="0"/>
                <a:cs typeface="Arial" panose="020B0604020202020204" pitchFamily="34" charset="0"/>
              </a:rPr>
              <a:t>osteoblastic</a:t>
            </a:r>
            <a:r>
              <a:rPr lang="it-IT" sz="2800" dirty="0" smtClean="0">
                <a:latin typeface="Arial" panose="020B0604020202020204" pitchFamily="34" charset="0"/>
                <a:cs typeface="Arial" panose="020B0604020202020204" pitchFamily="34" charset="0"/>
              </a:rPr>
              <a:t> </a:t>
            </a:r>
            <a:r>
              <a:rPr lang="it-IT" sz="2800" dirty="0" err="1" smtClean="0">
                <a:latin typeface="Arial" panose="020B0604020202020204" pitchFamily="34" charset="0"/>
                <a:cs typeface="Arial" panose="020B0604020202020204" pitchFamily="34" charset="0"/>
              </a:rPr>
              <a:t>niche</a:t>
            </a:r>
            <a:endParaRPr lang="it-IT" sz="2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311607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6546" name="Picture 2"/>
          <p:cNvPicPr>
            <a:picLocks noChangeAspect="1" noChangeArrowheads="1"/>
          </p:cNvPicPr>
          <p:nvPr/>
        </p:nvPicPr>
        <p:blipFill>
          <a:blip r:embed="rId2" cstate="print"/>
          <a:srcRect/>
          <a:stretch>
            <a:fillRect/>
          </a:stretch>
        </p:blipFill>
        <p:spPr bwMode="auto">
          <a:xfrm>
            <a:off x="533400" y="0"/>
            <a:ext cx="7715250" cy="914400"/>
          </a:xfrm>
          <a:prstGeom prst="rect">
            <a:avLst/>
          </a:prstGeom>
          <a:noFill/>
          <a:ln w="9525">
            <a:noFill/>
            <a:miter lim="800000"/>
            <a:headEnd/>
            <a:tailEnd/>
          </a:ln>
        </p:spPr>
      </p:pic>
      <p:pic>
        <p:nvPicPr>
          <p:cNvPr id="876547" name="Picture 3"/>
          <p:cNvPicPr>
            <a:picLocks noChangeAspect="1" noChangeArrowheads="1"/>
          </p:cNvPicPr>
          <p:nvPr/>
        </p:nvPicPr>
        <p:blipFill>
          <a:blip r:embed="rId3" cstate="print"/>
          <a:srcRect/>
          <a:stretch>
            <a:fillRect/>
          </a:stretch>
        </p:blipFill>
        <p:spPr bwMode="auto">
          <a:xfrm>
            <a:off x="6096000" y="914400"/>
            <a:ext cx="2547938" cy="2971800"/>
          </a:xfrm>
          <a:prstGeom prst="rect">
            <a:avLst/>
          </a:prstGeom>
          <a:noFill/>
          <a:ln w="9525">
            <a:noFill/>
            <a:miter lim="800000"/>
            <a:headEnd/>
            <a:tailEnd/>
          </a:ln>
        </p:spPr>
      </p:pic>
      <p:pic>
        <p:nvPicPr>
          <p:cNvPr id="876548" name="Picture 4"/>
          <p:cNvPicPr>
            <a:picLocks noChangeAspect="1" noChangeArrowheads="1"/>
          </p:cNvPicPr>
          <p:nvPr/>
        </p:nvPicPr>
        <p:blipFill>
          <a:blip r:embed="rId4" cstate="print"/>
          <a:srcRect/>
          <a:stretch>
            <a:fillRect/>
          </a:stretch>
        </p:blipFill>
        <p:spPr bwMode="auto">
          <a:xfrm>
            <a:off x="533399" y="1066800"/>
            <a:ext cx="4843117" cy="4450432"/>
          </a:xfrm>
          <a:prstGeom prst="rect">
            <a:avLst/>
          </a:prstGeom>
          <a:noFill/>
          <a:ln w="9525">
            <a:noFill/>
            <a:miter lim="800000"/>
            <a:headEnd/>
            <a:tailEnd/>
          </a:ln>
        </p:spPr>
      </p:pic>
      <p:pic>
        <p:nvPicPr>
          <p:cNvPr id="876549" name="Picture 5"/>
          <p:cNvPicPr>
            <a:picLocks noChangeAspect="1" noChangeArrowheads="1"/>
          </p:cNvPicPr>
          <p:nvPr/>
        </p:nvPicPr>
        <p:blipFill>
          <a:blip r:embed="rId5" cstate="print"/>
          <a:srcRect/>
          <a:stretch>
            <a:fillRect/>
          </a:stretch>
        </p:blipFill>
        <p:spPr bwMode="auto">
          <a:xfrm>
            <a:off x="6248400" y="3962400"/>
            <a:ext cx="2514600" cy="2590800"/>
          </a:xfrm>
          <a:prstGeom prst="rect">
            <a:avLst/>
          </a:prstGeom>
          <a:noFill/>
          <a:ln w="9525">
            <a:noFill/>
            <a:miter lim="800000"/>
            <a:headEnd/>
            <a:tailEnd/>
          </a:ln>
        </p:spPr>
      </p:pic>
      <p:sp>
        <p:nvSpPr>
          <p:cNvPr id="876551" name="CasellaDiTesto 9"/>
          <p:cNvSpPr txBox="1">
            <a:spLocks noChangeArrowheads="1"/>
          </p:cNvSpPr>
          <p:nvPr/>
        </p:nvSpPr>
        <p:spPr bwMode="auto">
          <a:xfrm>
            <a:off x="5486400" y="6550025"/>
            <a:ext cx="2416175" cy="307975"/>
          </a:xfrm>
          <a:prstGeom prst="rect">
            <a:avLst/>
          </a:prstGeom>
          <a:noFill/>
          <a:ln w="9525">
            <a:noFill/>
            <a:miter lim="800000"/>
            <a:headEnd/>
            <a:tailEnd/>
          </a:ln>
        </p:spPr>
        <p:txBody>
          <a:bodyPr wrap="none">
            <a:spAutoFit/>
          </a:bodyPr>
          <a:lstStyle/>
          <a:p>
            <a:pPr fontAlgn="base">
              <a:spcBef>
                <a:spcPct val="0"/>
              </a:spcBef>
              <a:spcAft>
                <a:spcPct val="0"/>
              </a:spcAft>
            </a:pPr>
            <a:r>
              <a:rPr lang="it-IT" sz="1400">
                <a:solidFill>
                  <a:srgbClr val="000000"/>
                </a:solidFill>
                <a:latin typeface="Garamond" pitchFamily="18" charset="0"/>
                <a:ea typeface="ＭＳ Ｐゴシック" pitchFamily="34" charset="-128"/>
              </a:rPr>
              <a:t>Wang N J Bone Miner Res 2015</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9827" t="23380" r="41164" b="21379"/>
          <a:stretch/>
        </p:blipFill>
        <p:spPr bwMode="auto">
          <a:xfrm>
            <a:off x="1331640" y="1556792"/>
            <a:ext cx="6335960" cy="44635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ttangolo 4"/>
          <p:cNvSpPr/>
          <p:nvPr/>
        </p:nvSpPr>
        <p:spPr>
          <a:xfrm>
            <a:off x="3563888" y="6509720"/>
            <a:ext cx="5140616" cy="253916"/>
          </a:xfrm>
          <a:prstGeom prst="rect">
            <a:avLst/>
          </a:prstGeom>
        </p:spPr>
        <p:txBody>
          <a:bodyPr wrap="square">
            <a:spAutoFit/>
          </a:bodyPr>
          <a:lstStyle/>
          <a:p>
            <a:r>
              <a:rPr lang="en-US" sz="1050" i="1" dirty="0">
                <a:solidFill>
                  <a:prstClr val="black"/>
                </a:solidFill>
              </a:rPr>
              <a:t>Bone metastasis: the importance of the </a:t>
            </a:r>
            <a:r>
              <a:rPr lang="en-US" sz="1050" i="1" dirty="0" err="1">
                <a:solidFill>
                  <a:prstClr val="black"/>
                </a:solidFill>
              </a:rPr>
              <a:t>neighbourhood</a:t>
            </a:r>
            <a:r>
              <a:rPr lang="en-US" sz="1050" i="1" dirty="0">
                <a:solidFill>
                  <a:prstClr val="black"/>
                </a:solidFill>
              </a:rPr>
              <a:t>.  </a:t>
            </a:r>
            <a:r>
              <a:rPr lang="it-IT" sz="1050" i="1" dirty="0">
                <a:solidFill>
                  <a:prstClr val="black"/>
                </a:solidFill>
              </a:rPr>
              <a:t>NATURE REVIEWS. 2016 </a:t>
            </a:r>
            <a:endParaRPr lang="it-IT" sz="900" i="1" dirty="0">
              <a:solidFill>
                <a:prstClr val="black"/>
              </a:solidFill>
            </a:endParaRPr>
          </a:p>
        </p:txBody>
      </p:sp>
      <p:sp>
        <p:nvSpPr>
          <p:cNvPr id="4" name="Rettangolo 3"/>
          <p:cNvSpPr/>
          <p:nvPr/>
        </p:nvSpPr>
        <p:spPr>
          <a:xfrm>
            <a:off x="251520" y="260648"/>
            <a:ext cx="8712967" cy="830997"/>
          </a:xfrm>
          <a:prstGeom prst="rect">
            <a:avLst/>
          </a:prstGeom>
        </p:spPr>
        <p:txBody>
          <a:bodyPr wrap="square">
            <a:spAutoFit/>
          </a:bodyPr>
          <a:lstStyle/>
          <a:p>
            <a:pPr algn="ctr"/>
            <a:r>
              <a:rPr lang="en-US" sz="2400" b="1" dirty="0" smtClean="0">
                <a:solidFill>
                  <a:prstClr val="black"/>
                </a:solidFill>
              </a:rPr>
              <a:t>Osteoblasts regulate the cancer cell </a:t>
            </a:r>
            <a:r>
              <a:rPr lang="en-US" sz="2400" b="1" i="1" dirty="0" err="1" smtClean="0">
                <a:solidFill>
                  <a:prstClr val="black"/>
                </a:solidFill>
              </a:rPr>
              <a:t>fatus</a:t>
            </a:r>
            <a:r>
              <a:rPr lang="en-US" sz="2400" b="1" i="1" dirty="0" smtClean="0">
                <a:solidFill>
                  <a:prstClr val="black"/>
                </a:solidFill>
              </a:rPr>
              <a:t> </a:t>
            </a:r>
            <a:r>
              <a:rPr lang="en-US" sz="2400" b="1" dirty="0" smtClean="0">
                <a:solidFill>
                  <a:prstClr val="black"/>
                </a:solidFill>
              </a:rPr>
              <a:t>in the </a:t>
            </a:r>
            <a:r>
              <a:rPr lang="en-US" sz="2400" b="1" dirty="0" err="1" smtClean="0">
                <a:solidFill>
                  <a:prstClr val="black"/>
                </a:solidFill>
              </a:rPr>
              <a:t>preneoplastic</a:t>
            </a:r>
            <a:r>
              <a:rPr lang="en-US" sz="2400" b="1" dirty="0" smtClean="0">
                <a:solidFill>
                  <a:prstClr val="black"/>
                </a:solidFill>
              </a:rPr>
              <a:t> niche</a:t>
            </a:r>
            <a:endParaRPr lang="it-IT" sz="2400" dirty="0">
              <a:solidFill>
                <a:prstClr val="black"/>
              </a:solidFill>
            </a:endParaRPr>
          </a:p>
        </p:txBody>
      </p:sp>
    </p:spTree>
    <p:extLst>
      <p:ext uri="{BB962C8B-B14F-4D97-AF65-F5344CB8AC3E}">
        <p14:creationId xmlns:p14="http://schemas.microsoft.com/office/powerpoint/2010/main" val="360075080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2690" name="Rectangle 2"/>
          <p:cNvSpPr>
            <a:spLocks noChangeArrowheads="1"/>
          </p:cNvSpPr>
          <p:nvPr/>
        </p:nvSpPr>
        <p:spPr bwMode="auto">
          <a:xfrm>
            <a:off x="-107950" y="549275"/>
            <a:ext cx="9251950" cy="2951163"/>
          </a:xfrm>
          <a:prstGeom prst="rect">
            <a:avLst/>
          </a:prstGeom>
          <a:gradFill rotWithShape="1">
            <a:gsLst>
              <a:gs pos="0">
                <a:srgbClr val="000099">
                  <a:alpha val="71001"/>
                </a:srgbClr>
              </a:gs>
              <a:gs pos="100000">
                <a:schemeClr val="bg1"/>
              </a:gs>
            </a:gsLst>
            <a:lin ang="5400000" scaled="1"/>
          </a:gradFill>
          <a:ln w="9525">
            <a:solidFill>
              <a:schemeClr val="bg1"/>
            </a:solidFill>
            <a:miter lim="800000"/>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1058819" name="Freeform 3"/>
          <p:cNvSpPr>
            <a:spLocks/>
          </p:cNvSpPr>
          <p:nvPr/>
        </p:nvSpPr>
        <p:spPr bwMode="auto">
          <a:xfrm>
            <a:off x="3708400" y="3141663"/>
            <a:ext cx="431800" cy="1223962"/>
          </a:xfrm>
          <a:custGeom>
            <a:avLst/>
            <a:gdLst>
              <a:gd name="T0" fmla="*/ 2147483647 w 883"/>
              <a:gd name="T1" fmla="*/ 2147483647 h 695"/>
              <a:gd name="T2" fmla="*/ 2147483647 w 883"/>
              <a:gd name="T3" fmla="*/ 2147483647 h 695"/>
              <a:gd name="T4" fmla="*/ 2147483647 w 883"/>
              <a:gd name="T5" fmla="*/ 2147483647 h 695"/>
              <a:gd name="T6" fmla="*/ 2147483647 w 883"/>
              <a:gd name="T7" fmla="*/ 2147483647 h 695"/>
              <a:gd name="T8" fmla="*/ 2147483647 w 883"/>
              <a:gd name="T9" fmla="*/ 2147483647 h 695"/>
              <a:gd name="T10" fmla="*/ 2147483647 w 883"/>
              <a:gd name="T11" fmla="*/ 2147483647 h 695"/>
              <a:gd name="T12" fmla="*/ 2147483647 w 883"/>
              <a:gd name="T13" fmla="*/ 2147483647 h 695"/>
              <a:gd name="T14" fmla="*/ 2147483647 w 883"/>
              <a:gd name="T15" fmla="*/ 2147483647 h 695"/>
              <a:gd name="T16" fmla="*/ 2147483647 w 883"/>
              <a:gd name="T17" fmla="*/ 2147483647 h 695"/>
              <a:gd name="T18" fmla="*/ 2147483647 w 883"/>
              <a:gd name="T19" fmla="*/ 2147483647 h 695"/>
              <a:gd name="T20" fmla="*/ 2147483647 w 883"/>
              <a:gd name="T21" fmla="*/ 0 h 695"/>
              <a:gd name="T22" fmla="*/ 2147483647 w 883"/>
              <a:gd name="T23" fmla="*/ 0 h 6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3"/>
              <a:gd name="T37" fmla="*/ 0 h 695"/>
              <a:gd name="T38" fmla="*/ 883 w 883"/>
              <a:gd name="T39" fmla="*/ 695 h 69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3" h="695">
                <a:moveTo>
                  <a:pt x="881" y="695"/>
                </a:moveTo>
                <a:cubicBezTo>
                  <a:pt x="878" y="674"/>
                  <a:pt x="883" y="649"/>
                  <a:pt x="871" y="631"/>
                </a:cubicBezTo>
                <a:cubicBezTo>
                  <a:pt x="859" y="613"/>
                  <a:pt x="817" y="595"/>
                  <a:pt x="817" y="595"/>
                </a:cubicBezTo>
                <a:cubicBezTo>
                  <a:pt x="796" y="535"/>
                  <a:pt x="833" y="493"/>
                  <a:pt x="798" y="430"/>
                </a:cubicBezTo>
                <a:cubicBezTo>
                  <a:pt x="782" y="400"/>
                  <a:pt x="707" y="384"/>
                  <a:pt x="707" y="384"/>
                </a:cubicBezTo>
                <a:cubicBezTo>
                  <a:pt x="687" y="323"/>
                  <a:pt x="628" y="303"/>
                  <a:pt x="570" y="284"/>
                </a:cubicBezTo>
                <a:cubicBezTo>
                  <a:pt x="489" y="203"/>
                  <a:pt x="581" y="240"/>
                  <a:pt x="359" y="229"/>
                </a:cubicBezTo>
                <a:cubicBezTo>
                  <a:pt x="343" y="218"/>
                  <a:pt x="313" y="180"/>
                  <a:pt x="295" y="174"/>
                </a:cubicBezTo>
                <a:cubicBezTo>
                  <a:pt x="275" y="167"/>
                  <a:pt x="252" y="168"/>
                  <a:pt x="231" y="165"/>
                </a:cubicBezTo>
                <a:cubicBezTo>
                  <a:pt x="206" y="148"/>
                  <a:pt x="189" y="130"/>
                  <a:pt x="167" y="110"/>
                </a:cubicBezTo>
                <a:cubicBezTo>
                  <a:pt x="145" y="43"/>
                  <a:pt x="96" y="16"/>
                  <a:pt x="30" y="0"/>
                </a:cubicBezTo>
                <a:cubicBezTo>
                  <a:pt x="0" y="10"/>
                  <a:pt x="3" y="18"/>
                  <a:pt x="3" y="0"/>
                </a:cubicBezTo>
              </a:path>
            </a:pathLst>
          </a:custGeom>
          <a:noFill/>
          <a:ln w="57150" cap="flat" cmpd="sng">
            <a:solidFill>
              <a:schemeClr val="tx1"/>
            </a:solidFill>
            <a:prstDash val="sysDot"/>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692" name="Freeform 4"/>
          <p:cNvSpPr>
            <a:spLocks/>
          </p:cNvSpPr>
          <p:nvPr/>
        </p:nvSpPr>
        <p:spPr bwMode="auto">
          <a:xfrm>
            <a:off x="2700338" y="3500438"/>
            <a:ext cx="774700" cy="900112"/>
          </a:xfrm>
          <a:custGeom>
            <a:avLst/>
            <a:gdLst>
              <a:gd name="T0" fmla="*/ 0 w 488"/>
              <a:gd name="T1" fmla="*/ 2147483647 h 567"/>
              <a:gd name="T2" fmla="*/ 2147483647 w 488"/>
              <a:gd name="T3" fmla="*/ 2147483647 h 567"/>
              <a:gd name="T4" fmla="*/ 2147483647 w 488"/>
              <a:gd name="T5" fmla="*/ 2147483647 h 567"/>
              <a:gd name="T6" fmla="*/ 2147483647 w 488"/>
              <a:gd name="T7" fmla="*/ 2147483647 h 567"/>
              <a:gd name="T8" fmla="*/ 2147483647 w 488"/>
              <a:gd name="T9" fmla="*/ 2147483647 h 567"/>
              <a:gd name="T10" fmla="*/ 2147483647 w 488"/>
              <a:gd name="T11" fmla="*/ 2147483647 h 567"/>
              <a:gd name="T12" fmla="*/ 2147483647 w 488"/>
              <a:gd name="T13" fmla="*/ 2147483647 h 567"/>
              <a:gd name="T14" fmla="*/ 2147483647 w 488"/>
              <a:gd name="T15" fmla="*/ 0 h 567"/>
              <a:gd name="T16" fmla="*/ 0 60000 65536"/>
              <a:gd name="T17" fmla="*/ 0 60000 65536"/>
              <a:gd name="T18" fmla="*/ 0 60000 65536"/>
              <a:gd name="T19" fmla="*/ 0 60000 65536"/>
              <a:gd name="T20" fmla="*/ 0 60000 65536"/>
              <a:gd name="T21" fmla="*/ 0 60000 65536"/>
              <a:gd name="T22" fmla="*/ 0 60000 65536"/>
              <a:gd name="T23" fmla="*/ 0 60000 65536"/>
              <a:gd name="T24" fmla="*/ 0 w 488"/>
              <a:gd name="T25" fmla="*/ 0 h 567"/>
              <a:gd name="T26" fmla="*/ 488 w 488"/>
              <a:gd name="T27" fmla="*/ 567 h 56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8" h="567">
                <a:moveTo>
                  <a:pt x="0" y="567"/>
                </a:moveTo>
                <a:cubicBezTo>
                  <a:pt x="48" y="521"/>
                  <a:pt x="51" y="525"/>
                  <a:pt x="119" y="512"/>
                </a:cubicBezTo>
                <a:cubicBezTo>
                  <a:pt x="122" y="482"/>
                  <a:pt x="113" y="448"/>
                  <a:pt x="128" y="421"/>
                </a:cubicBezTo>
                <a:cubicBezTo>
                  <a:pt x="136" y="407"/>
                  <a:pt x="162" y="421"/>
                  <a:pt x="174" y="411"/>
                </a:cubicBezTo>
                <a:cubicBezTo>
                  <a:pt x="251" y="347"/>
                  <a:pt x="105" y="394"/>
                  <a:pt x="220" y="366"/>
                </a:cubicBezTo>
                <a:cubicBezTo>
                  <a:pt x="282" y="301"/>
                  <a:pt x="181" y="226"/>
                  <a:pt x="284" y="201"/>
                </a:cubicBezTo>
                <a:cubicBezTo>
                  <a:pt x="321" y="146"/>
                  <a:pt x="395" y="144"/>
                  <a:pt x="457" y="137"/>
                </a:cubicBezTo>
                <a:cubicBezTo>
                  <a:pt x="488" y="53"/>
                  <a:pt x="396" y="60"/>
                  <a:pt x="366" y="0"/>
                </a:cubicBezTo>
              </a:path>
            </a:pathLst>
          </a:custGeom>
          <a:noFill/>
          <a:ln w="28575" cap="flat" cmpd="sng">
            <a:solidFill>
              <a:schemeClr val="tx1"/>
            </a:solidFill>
            <a:prstDash val="solid"/>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693" name="Freeform 5"/>
          <p:cNvSpPr>
            <a:spLocks/>
          </p:cNvSpPr>
          <p:nvPr/>
        </p:nvSpPr>
        <p:spPr bwMode="auto">
          <a:xfrm>
            <a:off x="1901825" y="3005138"/>
            <a:ext cx="508000" cy="1358900"/>
          </a:xfrm>
          <a:custGeom>
            <a:avLst/>
            <a:gdLst>
              <a:gd name="T0" fmla="*/ 2147483647 w 320"/>
              <a:gd name="T1" fmla="*/ 2147483647 h 856"/>
              <a:gd name="T2" fmla="*/ 2147483647 w 320"/>
              <a:gd name="T3" fmla="*/ 2147483647 h 856"/>
              <a:gd name="T4" fmla="*/ 0 w 320"/>
              <a:gd name="T5" fmla="*/ 2147483647 h 856"/>
              <a:gd name="T6" fmla="*/ 2147483647 w 320"/>
              <a:gd name="T7" fmla="*/ 2147483647 h 856"/>
              <a:gd name="T8" fmla="*/ 2147483647 w 320"/>
              <a:gd name="T9" fmla="*/ 2147483647 h 856"/>
              <a:gd name="T10" fmla="*/ 2147483647 w 320"/>
              <a:gd name="T11" fmla="*/ 2147483647 h 856"/>
              <a:gd name="T12" fmla="*/ 2147483647 w 320"/>
              <a:gd name="T13" fmla="*/ 2147483647 h 856"/>
              <a:gd name="T14" fmla="*/ 2147483647 w 320"/>
              <a:gd name="T15" fmla="*/ 2147483647 h 856"/>
              <a:gd name="T16" fmla="*/ 2147483647 w 320"/>
              <a:gd name="T17" fmla="*/ 2147483647 h 856"/>
              <a:gd name="T18" fmla="*/ 2147483647 w 320"/>
              <a:gd name="T19" fmla="*/ 2147483647 h 856"/>
              <a:gd name="T20" fmla="*/ 2147483647 w 320"/>
              <a:gd name="T21" fmla="*/ 2147483647 h 856"/>
              <a:gd name="T22" fmla="*/ 2147483647 w 320"/>
              <a:gd name="T23" fmla="*/ 2147483647 h 856"/>
              <a:gd name="T24" fmla="*/ 2147483647 w 320"/>
              <a:gd name="T25" fmla="*/ 2147483647 h 856"/>
              <a:gd name="T26" fmla="*/ 2147483647 w 320"/>
              <a:gd name="T27" fmla="*/ 0 h 8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0"/>
              <a:gd name="T43" fmla="*/ 0 h 856"/>
              <a:gd name="T44" fmla="*/ 320 w 320"/>
              <a:gd name="T45" fmla="*/ 856 h 85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0" h="856">
                <a:moveTo>
                  <a:pt x="73" y="850"/>
                </a:moveTo>
                <a:cubicBezTo>
                  <a:pt x="53" y="786"/>
                  <a:pt x="81" y="856"/>
                  <a:pt x="36" y="804"/>
                </a:cubicBezTo>
                <a:cubicBezTo>
                  <a:pt x="22" y="788"/>
                  <a:pt x="0" y="749"/>
                  <a:pt x="0" y="749"/>
                </a:cubicBezTo>
                <a:cubicBezTo>
                  <a:pt x="34" y="715"/>
                  <a:pt x="78" y="702"/>
                  <a:pt x="119" y="676"/>
                </a:cubicBezTo>
                <a:cubicBezTo>
                  <a:pt x="104" y="635"/>
                  <a:pt x="84" y="622"/>
                  <a:pt x="45" y="603"/>
                </a:cubicBezTo>
                <a:cubicBezTo>
                  <a:pt x="27" y="549"/>
                  <a:pt x="65" y="488"/>
                  <a:pt x="18" y="438"/>
                </a:cubicBezTo>
                <a:cubicBezTo>
                  <a:pt x="112" y="426"/>
                  <a:pt x="81" y="428"/>
                  <a:pt x="146" y="384"/>
                </a:cubicBezTo>
                <a:cubicBezTo>
                  <a:pt x="143" y="372"/>
                  <a:pt x="144" y="357"/>
                  <a:pt x="137" y="347"/>
                </a:cubicBezTo>
                <a:cubicBezTo>
                  <a:pt x="128" y="335"/>
                  <a:pt x="112" y="330"/>
                  <a:pt x="100" y="320"/>
                </a:cubicBezTo>
                <a:cubicBezTo>
                  <a:pt x="83" y="306"/>
                  <a:pt x="76" y="293"/>
                  <a:pt x="64" y="274"/>
                </a:cubicBezTo>
                <a:cubicBezTo>
                  <a:pt x="67" y="265"/>
                  <a:pt x="67" y="254"/>
                  <a:pt x="73" y="246"/>
                </a:cubicBezTo>
                <a:cubicBezTo>
                  <a:pt x="100" y="211"/>
                  <a:pt x="216" y="179"/>
                  <a:pt x="256" y="173"/>
                </a:cubicBezTo>
                <a:cubicBezTo>
                  <a:pt x="320" y="152"/>
                  <a:pt x="302" y="92"/>
                  <a:pt x="320" y="36"/>
                </a:cubicBezTo>
                <a:cubicBezTo>
                  <a:pt x="310" y="6"/>
                  <a:pt x="311" y="18"/>
                  <a:pt x="311" y="0"/>
                </a:cubicBezTo>
              </a:path>
            </a:pathLst>
          </a:custGeom>
          <a:noFill/>
          <a:ln w="28575" cmpd="sng">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694" name="Rectangle 6"/>
          <p:cNvSpPr>
            <a:spLocks noChangeArrowheads="1"/>
          </p:cNvSpPr>
          <p:nvPr/>
        </p:nvSpPr>
        <p:spPr bwMode="auto">
          <a:xfrm>
            <a:off x="468313" y="5229225"/>
            <a:ext cx="8351837" cy="1295400"/>
          </a:xfrm>
          <a:prstGeom prst="rect">
            <a:avLst/>
          </a:prstGeom>
          <a:solidFill>
            <a:schemeClr val="accent1"/>
          </a:solidFill>
          <a:ln w="9525">
            <a:solidFill>
              <a:schemeClr val="tx1"/>
            </a:solidFill>
            <a:miter lim="800000"/>
            <a:headEnd/>
            <a:tailEnd/>
          </a:ln>
        </p:spPr>
        <p:txBody>
          <a:bodyPr wrap="none" anchor="ctr"/>
          <a:lstStyle/>
          <a:p>
            <a:pPr algn="ct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nvGrpSpPr>
          <p:cNvPr id="2" name="Group 7"/>
          <p:cNvGrpSpPr>
            <a:grpSpLocks/>
          </p:cNvGrpSpPr>
          <p:nvPr/>
        </p:nvGrpSpPr>
        <p:grpSpPr bwMode="auto">
          <a:xfrm>
            <a:off x="2916238" y="4365625"/>
            <a:ext cx="1716087" cy="892175"/>
            <a:chOff x="6877" y="4218"/>
            <a:chExt cx="406" cy="378"/>
          </a:xfrm>
        </p:grpSpPr>
        <p:sp>
          <p:nvSpPr>
            <p:cNvPr id="882806" name="Freeform 8"/>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807" name="Oval 9"/>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grpSp>
        <p:nvGrpSpPr>
          <p:cNvPr id="3" name="Group 10"/>
          <p:cNvGrpSpPr>
            <a:grpSpLocks/>
          </p:cNvGrpSpPr>
          <p:nvPr/>
        </p:nvGrpSpPr>
        <p:grpSpPr bwMode="auto">
          <a:xfrm>
            <a:off x="6804025" y="4365625"/>
            <a:ext cx="1716088" cy="892175"/>
            <a:chOff x="6877" y="4218"/>
            <a:chExt cx="406" cy="378"/>
          </a:xfrm>
        </p:grpSpPr>
        <p:sp>
          <p:nvSpPr>
            <p:cNvPr id="882804" name="Freeform 11"/>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805" name="Oval 12"/>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grpSp>
        <p:nvGrpSpPr>
          <p:cNvPr id="4" name="Group 13"/>
          <p:cNvGrpSpPr>
            <a:grpSpLocks/>
          </p:cNvGrpSpPr>
          <p:nvPr/>
        </p:nvGrpSpPr>
        <p:grpSpPr bwMode="auto">
          <a:xfrm>
            <a:off x="1476375" y="4365625"/>
            <a:ext cx="1711325" cy="892175"/>
            <a:chOff x="6877" y="4218"/>
            <a:chExt cx="406" cy="378"/>
          </a:xfrm>
        </p:grpSpPr>
        <p:sp>
          <p:nvSpPr>
            <p:cNvPr id="882802" name="Freeform 14"/>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803" name="Oval 15"/>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grpSp>
        <p:nvGrpSpPr>
          <p:cNvPr id="5" name="Group 16"/>
          <p:cNvGrpSpPr>
            <a:grpSpLocks/>
          </p:cNvGrpSpPr>
          <p:nvPr/>
        </p:nvGrpSpPr>
        <p:grpSpPr bwMode="auto">
          <a:xfrm>
            <a:off x="250825" y="4292600"/>
            <a:ext cx="1711325" cy="892175"/>
            <a:chOff x="6877" y="4218"/>
            <a:chExt cx="406" cy="378"/>
          </a:xfrm>
        </p:grpSpPr>
        <p:sp>
          <p:nvSpPr>
            <p:cNvPr id="882800" name="Freeform 17"/>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801" name="Oval 18"/>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grpSp>
        <p:nvGrpSpPr>
          <p:cNvPr id="6" name="Group 19"/>
          <p:cNvGrpSpPr>
            <a:grpSpLocks/>
          </p:cNvGrpSpPr>
          <p:nvPr/>
        </p:nvGrpSpPr>
        <p:grpSpPr bwMode="auto">
          <a:xfrm>
            <a:off x="2195513" y="2060575"/>
            <a:ext cx="1655762" cy="1519238"/>
            <a:chOff x="1383" y="1298"/>
            <a:chExt cx="1043" cy="957"/>
          </a:xfrm>
        </p:grpSpPr>
        <p:sp>
          <p:nvSpPr>
            <p:cNvPr id="882798" name="Freeform 20"/>
            <p:cNvSpPr>
              <a:spLocks/>
            </p:cNvSpPr>
            <p:nvPr/>
          </p:nvSpPr>
          <p:spPr bwMode="auto">
            <a:xfrm>
              <a:off x="1383" y="1298"/>
              <a:ext cx="1043" cy="957"/>
            </a:xfrm>
            <a:custGeom>
              <a:avLst/>
              <a:gdLst>
                <a:gd name="T0" fmla="*/ 2 w 1390"/>
                <a:gd name="T1" fmla="*/ 6 h 1208"/>
                <a:gd name="T2" fmla="*/ 0 w 1390"/>
                <a:gd name="T3" fmla="*/ 8 h 1208"/>
                <a:gd name="T4" fmla="*/ 2 w 1390"/>
                <a:gd name="T5" fmla="*/ 10 h 1208"/>
                <a:gd name="T6" fmla="*/ 2 w 1390"/>
                <a:gd name="T7" fmla="*/ 11 h 1208"/>
                <a:gd name="T8" fmla="*/ 2 w 1390"/>
                <a:gd name="T9" fmla="*/ 13 h 1208"/>
                <a:gd name="T10" fmla="*/ 2 w 1390"/>
                <a:gd name="T11" fmla="*/ 13 h 1208"/>
                <a:gd name="T12" fmla="*/ 3 w 1390"/>
                <a:gd name="T13" fmla="*/ 15 h 1208"/>
                <a:gd name="T14" fmla="*/ 4 w 1390"/>
                <a:gd name="T15" fmla="*/ 16 h 1208"/>
                <a:gd name="T16" fmla="*/ 5 w 1390"/>
                <a:gd name="T17" fmla="*/ 16 h 1208"/>
                <a:gd name="T18" fmla="*/ 6 w 1390"/>
                <a:gd name="T19" fmla="*/ 17 h 1208"/>
                <a:gd name="T20" fmla="*/ 8 w 1390"/>
                <a:gd name="T21" fmla="*/ 17 h 1208"/>
                <a:gd name="T22" fmla="*/ 8 w 1390"/>
                <a:gd name="T23" fmla="*/ 14 h 1208"/>
                <a:gd name="T24" fmla="*/ 8 w 1390"/>
                <a:gd name="T25" fmla="*/ 13 h 1208"/>
                <a:gd name="T26" fmla="*/ 8 w 1390"/>
                <a:gd name="T27" fmla="*/ 13 h 1208"/>
                <a:gd name="T28" fmla="*/ 8 w 1390"/>
                <a:gd name="T29" fmla="*/ 8 h 1208"/>
                <a:gd name="T30" fmla="*/ 8 w 1390"/>
                <a:gd name="T31" fmla="*/ 5 h 1208"/>
                <a:gd name="T32" fmla="*/ 6 w 1390"/>
                <a:gd name="T33" fmla="*/ 2 h 1208"/>
                <a:gd name="T34" fmla="*/ 6 w 1390"/>
                <a:gd name="T35" fmla="*/ 2 h 1208"/>
                <a:gd name="T36" fmla="*/ 6 w 1390"/>
                <a:gd name="T37" fmla="*/ 2 h 1208"/>
                <a:gd name="T38" fmla="*/ 5 w 1390"/>
                <a:gd name="T39" fmla="*/ 2 h 1208"/>
                <a:gd name="T40" fmla="*/ 4 w 1390"/>
                <a:gd name="T41" fmla="*/ 2 h 1208"/>
                <a:gd name="T42" fmla="*/ 2 w 1390"/>
                <a:gd name="T43" fmla="*/ 2 h 1208"/>
                <a:gd name="T44" fmla="*/ 2 w 1390"/>
                <a:gd name="T45" fmla="*/ 3 h 1208"/>
                <a:gd name="T46" fmla="*/ 2 w 1390"/>
                <a:gd name="T47" fmla="*/ 4 h 1208"/>
                <a:gd name="T48" fmla="*/ 2 w 1390"/>
                <a:gd name="T49" fmla="*/ 5 h 1208"/>
                <a:gd name="T50" fmla="*/ 2 w 1390"/>
                <a:gd name="T51" fmla="*/ 5 h 1208"/>
                <a:gd name="T52" fmla="*/ 2 w 1390"/>
                <a:gd name="T53" fmla="*/ 6 h 1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90"/>
                <a:gd name="T82" fmla="*/ 0 h 1208"/>
                <a:gd name="T83" fmla="*/ 1390 w 1390"/>
                <a:gd name="T84" fmla="*/ 1208 h 1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90" h="1208">
                  <a:moveTo>
                    <a:pt x="73" y="383"/>
                  </a:moveTo>
                  <a:cubicBezTo>
                    <a:pt x="35" y="440"/>
                    <a:pt x="16" y="508"/>
                    <a:pt x="0" y="575"/>
                  </a:cubicBezTo>
                  <a:cubicBezTo>
                    <a:pt x="52" y="642"/>
                    <a:pt x="129" y="671"/>
                    <a:pt x="211" y="684"/>
                  </a:cubicBezTo>
                  <a:cubicBezTo>
                    <a:pt x="279" y="737"/>
                    <a:pt x="218" y="685"/>
                    <a:pt x="275" y="748"/>
                  </a:cubicBezTo>
                  <a:cubicBezTo>
                    <a:pt x="292" y="767"/>
                    <a:pt x="311" y="785"/>
                    <a:pt x="329" y="803"/>
                  </a:cubicBezTo>
                  <a:cubicBezTo>
                    <a:pt x="335" y="809"/>
                    <a:pt x="348" y="822"/>
                    <a:pt x="348" y="822"/>
                  </a:cubicBezTo>
                  <a:cubicBezTo>
                    <a:pt x="358" y="851"/>
                    <a:pt x="386" y="970"/>
                    <a:pt x="403" y="995"/>
                  </a:cubicBezTo>
                  <a:cubicBezTo>
                    <a:pt x="423" y="1025"/>
                    <a:pt x="479" y="1019"/>
                    <a:pt x="503" y="1023"/>
                  </a:cubicBezTo>
                  <a:cubicBezTo>
                    <a:pt x="567" y="1033"/>
                    <a:pt x="622" y="1059"/>
                    <a:pt x="686" y="1068"/>
                  </a:cubicBezTo>
                  <a:cubicBezTo>
                    <a:pt x="750" y="1111"/>
                    <a:pt x="820" y="1145"/>
                    <a:pt x="896" y="1160"/>
                  </a:cubicBezTo>
                  <a:cubicBezTo>
                    <a:pt x="1104" y="1154"/>
                    <a:pt x="1136" y="1208"/>
                    <a:pt x="1235" y="1114"/>
                  </a:cubicBezTo>
                  <a:cubicBezTo>
                    <a:pt x="1250" y="1068"/>
                    <a:pt x="1265" y="1023"/>
                    <a:pt x="1280" y="977"/>
                  </a:cubicBezTo>
                  <a:cubicBezTo>
                    <a:pt x="1292" y="941"/>
                    <a:pt x="1289" y="905"/>
                    <a:pt x="1317" y="876"/>
                  </a:cubicBezTo>
                  <a:cubicBezTo>
                    <a:pt x="1340" y="853"/>
                    <a:pt x="1367" y="836"/>
                    <a:pt x="1390" y="812"/>
                  </a:cubicBezTo>
                  <a:cubicBezTo>
                    <a:pt x="1297" y="682"/>
                    <a:pt x="1354" y="786"/>
                    <a:pt x="1335" y="520"/>
                  </a:cubicBezTo>
                  <a:cubicBezTo>
                    <a:pt x="1329" y="431"/>
                    <a:pt x="1257" y="368"/>
                    <a:pt x="1198" y="310"/>
                  </a:cubicBezTo>
                  <a:cubicBezTo>
                    <a:pt x="1160" y="272"/>
                    <a:pt x="1146" y="209"/>
                    <a:pt x="1107" y="172"/>
                  </a:cubicBezTo>
                  <a:cubicBezTo>
                    <a:pt x="1058" y="125"/>
                    <a:pt x="1128" y="191"/>
                    <a:pt x="1052" y="127"/>
                  </a:cubicBezTo>
                  <a:cubicBezTo>
                    <a:pt x="1022" y="102"/>
                    <a:pt x="1009" y="91"/>
                    <a:pt x="969" y="81"/>
                  </a:cubicBezTo>
                  <a:cubicBezTo>
                    <a:pt x="902" y="36"/>
                    <a:pt x="810" y="25"/>
                    <a:pt x="732" y="17"/>
                  </a:cubicBezTo>
                  <a:cubicBezTo>
                    <a:pt x="664" y="0"/>
                    <a:pt x="622" y="1"/>
                    <a:pt x="549" y="8"/>
                  </a:cubicBezTo>
                  <a:cubicBezTo>
                    <a:pt x="467" y="34"/>
                    <a:pt x="412" y="109"/>
                    <a:pt x="329" y="136"/>
                  </a:cubicBezTo>
                  <a:cubicBezTo>
                    <a:pt x="299" y="156"/>
                    <a:pt x="282" y="180"/>
                    <a:pt x="247" y="191"/>
                  </a:cubicBezTo>
                  <a:cubicBezTo>
                    <a:pt x="214" y="213"/>
                    <a:pt x="207" y="242"/>
                    <a:pt x="174" y="264"/>
                  </a:cubicBezTo>
                  <a:cubicBezTo>
                    <a:pt x="165" y="277"/>
                    <a:pt x="152" y="301"/>
                    <a:pt x="137" y="310"/>
                  </a:cubicBezTo>
                  <a:cubicBezTo>
                    <a:pt x="120" y="321"/>
                    <a:pt x="95" y="316"/>
                    <a:pt x="83" y="337"/>
                  </a:cubicBezTo>
                  <a:cubicBezTo>
                    <a:pt x="75" y="351"/>
                    <a:pt x="76" y="368"/>
                    <a:pt x="73" y="383"/>
                  </a:cubicBezTo>
                  <a:close/>
                </a:path>
              </a:pathLst>
            </a:custGeom>
            <a:gradFill rotWithShape="1">
              <a:gsLst>
                <a:gs pos="0">
                  <a:srgbClr val="764718">
                    <a:alpha val="75000"/>
                  </a:srgbClr>
                </a:gs>
                <a:gs pos="100000">
                  <a:srgbClr val="FF9933">
                    <a:alpha val="62999"/>
                  </a:srgbClr>
                </a:gs>
              </a:gsLst>
              <a:path path="rect">
                <a:fillToRect l="50000" t="50000" r="50000" b="50000"/>
              </a:path>
            </a:gra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99" name="Oval 21"/>
            <p:cNvSpPr>
              <a:spLocks noChangeArrowheads="1"/>
            </p:cNvSpPr>
            <p:nvPr/>
          </p:nvSpPr>
          <p:spPr bwMode="auto">
            <a:xfrm>
              <a:off x="2018" y="1706"/>
              <a:ext cx="181" cy="91"/>
            </a:xfrm>
            <a:prstGeom prst="ellipse">
              <a:avLst/>
            </a:prstGeom>
            <a:solidFill>
              <a:srgbClr val="000000"/>
            </a:solidFill>
            <a:ln w="9525">
              <a:solidFill>
                <a:schemeClr val="tx1"/>
              </a:solidFill>
              <a:round/>
              <a:headEnd/>
              <a:tailEnd/>
            </a:ln>
          </p:spPr>
          <p:txBody>
            <a:bodyPr wrap="none" anchor="ctr"/>
            <a:lstStyle/>
            <a:p>
              <a:pPr algn="ct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sp>
        <p:nvSpPr>
          <p:cNvPr id="882700" name="Freeform 22"/>
          <p:cNvSpPr>
            <a:spLocks/>
          </p:cNvSpPr>
          <p:nvPr/>
        </p:nvSpPr>
        <p:spPr bwMode="auto">
          <a:xfrm>
            <a:off x="2241550" y="3381375"/>
            <a:ext cx="428625" cy="1046163"/>
          </a:xfrm>
          <a:custGeom>
            <a:avLst/>
            <a:gdLst>
              <a:gd name="T0" fmla="*/ 2147483647 w 270"/>
              <a:gd name="T1" fmla="*/ 2147483647 h 659"/>
              <a:gd name="T2" fmla="*/ 2147483647 w 270"/>
              <a:gd name="T3" fmla="*/ 2147483647 h 659"/>
              <a:gd name="T4" fmla="*/ 2147483647 w 270"/>
              <a:gd name="T5" fmla="*/ 2147483647 h 659"/>
              <a:gd name="T6" fmla="*/ 2147483647 w 270"/>
              <a:gd name="T7" fmla="*/ 2147483647 h 659"/>
              <a:gd name="T8" fmla="*/ 2147483647 w 270"/>
              <a:gd name="T9" fmla="*/ 2147483647 h 659"/>
              <a:gd name="T10" fmla="*/ 2147483647 w 270"/>
              <a:gd name="T11" fmla="*/ 2147483647 h 659"/>
              <a:gd name="T12" fmla="*/ 2147483647 w 270"/>
              <a:gd name="T13" fmla="*/ 2147483647 h 659"/>
              <a:gd name="T14" fmla="*/ 2147483647 w 270"/>
              <a:gd name="T15" fmla="*/ 2147483647 h 659"/>
              <a:gd name="T16" fmla="*/ 2147483647 w 270"/>
              <a:gd name="T17" fmla="*/ 2147483647 h 659"/>
              <a:gd name="T18" fmla="*/ 2147483647 w 270"/>
              <a:gd name="T19" fmla="*/ 2147483647 h 659"/>
              <a:gd name="T20" fmla="*/ 2147483647 w 270"/>
              <a:gd name="T21" fmla="*/ 2147483647 h 659"/>
              <a:gd name="T22" fmla="*/ 2147483647 w 270"/>
              <a:gd name="T23" fmla="*/ 2147483647 h 659"/>
              <a:gd name="T24" fmla="*/ 2147483647 w 270"/>
              <a:gd name="T25" fmla="*/ 2147483647 h 659"/>
              <a:gd name="T26" fmla="*/ 2147483647 w 270"/>
              <a:gd name="T27" fmla="*/ 2147483647 h 659"/>
              <a:gd name="T28" fmla="*/ 2147483647 w 270"/>
              <a:gd name="T29" fmla="*/ 0 h 6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0"/>
              <a:gd name="T46" fmla="*/ 0 h 659"/>
              <a:gd name="T47" fmla="*/ 270 w 270"/>
              <a:gd name="T48" fmla="*/ 659 h 6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0" h="659">
                <a:moveTo>
                  <a:pt x="23" y="659"/>
                </a:moveTo>
                <a:cubicBezTo>
                  <a:pt x="17" y="641"/>
                  <a:pt x="0" y="623"/>
                  <a:pt x="5" y="604"/>
                </a:cubicBezTo>
                <a:cubicBezTo>
                  <a:pt x="15" y="564"/>
                  <a:pt x="29" y="555"/>
                  <a:pt x="51" y="521"/>
                </a:cubicBezTo>
                <a:cubicBezTo>
                  <a:pt x="54" y="509"/>
                  <a:pt x="53" y="495"/>
                  <a:pt x="60" y="485"/>
                </a:cubicBezTo>
                <a:cubicBezTo>
                  <a:pt x="72" y="467"/>
                  <a:pt x="106" y="439"/>
                  <a:pt x="106" y="439"/>
                </a:cubicBezTo>
                <a:cubicBezTo>
                  <a:pt x="116" y="410"/>
                  <a:pt x="132" y="386"/>
                  <a:pt x="142" y="357"/>
                </a:cubicBezTo>
                <a:cubicBezTo>
                  <a:pt x="139" y="342"/>
                  <a:pt x="138" y="326"/>
                  <a:pt x="133" y="311"/>
                </a:cubicBezTo>
                <a:cubicBezTo>
                  <a:pt x="122" y="282"/>
                  <a:pt x="91" y="282"/>
                  <a:pt x="133" y="247"/>
                </a:cubicBezTo>
                <a:cubicBezTo>
                  <a:pt x="143" y="239"/>
                  <a:pt x="158" y="241"/>
                  <a:pt x="170" y="238"/>
                </a:cubicBezTo>
                <a:cubicBezTo>
                  <a:pt x="182" y="232"/>
                  <a:pt x="194" y="225"/>
                  <a:pt x="206" y="220"/>
                </a:cubicBezTo>
                <a:cubicBezTo>
                  <a:pt x="215" y="216"/>
                  <a:pt x="230" y="220"/>
                  <a:pt x="234" y="211"/>
                </a:cubicBezTo>
                <a:cubicBezTo>
                  <a:pt x="240" y="199"/>
                  <a:pt x="210" y="161"/>
                  <a:pt x="206" y="156"/>
                </a:cubicBezTo>
                <a:cubicBezTo>
                  <a:pt x="192" y="111"/>
                  <a:pt x="200" y="106"/>
                  <a:pt x="243" y="92"/>
                </a:cubicBezTo>
                <a:cubicBezTo>
                  <a:pt x="249" y="86"/>
                  <a:pt x="259" y="81"/>
                  <a:pt x="261" y="73"/>
                </a:cubicBezTo>
                <a:cubicBezTo>
                  <a:pt x="268" y="49"/>
                  <a:pt x="270" y="0"/>
                  <a:pt x="270" y="0"/>
                </a:cubicBezTo>
              </a:path>
            </a:pathLst>
          </a:custGeom>
          <a:noFill/>
          <a:ln w="38100" cmpd="sng">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01" name="Text Box 23"/>
          <p:cNvSpPr txBox="1">
            <a:spLocks noChangeArrowheads="1"/>
          </p:cNvSpPr>
          <p:nvPr/>
        </p:nvSpPr>
        <p:spPr bwMode="auto">
          <a:xfrm>
            <a:off x="2555875" y="3500438"/>
            <a:ext cx="603250" cy="276225"/>
          </a:xfrm>
          <a:prstGeom prst="rect">
            <a:avLst/>
          </a:prstGeom>
          <a:no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SDF-1</a:t>
            </a:r>
          </a:p>
        </p:txBody>
      </p:sp>
      <p:sp>
        <p:nvSpPr>
          <p:cNvPr id="882702" name="Text Box 24"/>
          <p:cNvSpPr txBox="1">
            <a:spLocks noChangeArrowheads="1"/>
          </p:cNvSpPr>
          <p:nvPr/>
        </p:nvSpPr>
        <p:spPr bwMode="auto">
          <a:xfrm>
            <a:off x="2484438" y="2997200"/>
            <a:ext cx="703262" cy="276225"/>
          </a:xfrm>
          <a:prstGeom prst="rect">
            <a:avLst/>
          </a:prstGeom>
          <a:no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CXCR4</a:t>
            </a:r>
          </a:p>
        </p:txBody>
      </p:sp>
      <p:sp>
        <p:nvSpPr>
          <p:cNvPr id="882703" name="Text Box 25"/>
          <p:cNvSpPr txBox="1">
            <a:spLocks noChangeArrowheads="1"/>
          </p:cNvSpPr>
          <p:nvPr/>
        </p:nvSpPr>
        <p:spPr bwMode="auto">
          <a:xfrm>
            <a:off x="1692275" y="3141663"/>
            <a:ext cx="506413" cy="274637"/>
          </a:xfrm>
          <a:prstGeom prst="rect">
            <a:avLst/>
          </a:prstGeom>
          <a:solidFill>
            <a:schemeClr val="bg1"/>
          </a:solidFill>
          <a:ln w="9525">
            <a:noFill/>
            <a:miter lim="800000"/>
            <a:headEnd/>
            <a:tailEnd/>
          </a:ln>
        </p:spPr>
        <p:txBody>
          <a:bodyPr>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OPN</a:t>
            </a:r>
          </a:p>
        </p:txBody>
      </p:sp>
      <p:sp>
        <p:nvSpPr>
          <p:cNvPr id="882704" name="Oval 26"/>
          <p:cNvSpPr>
            <a:spLocks noChangeArrowheads="1"/>
          </p:cNvSpPr>
          <p:nvPr/>
        </p:nvSpPr>
        <p:spPr bwMode="auto">
          <a:xfrm>
            <a:off x="2051050" y="3357563"/>
            <a:ext cx="215900" cy="142875"/>
          </a:xfrm>
          <a:prstGeom prst="ellipse">
            <a:avLst/>
          </a:prstGeom>
          <a:solidFill>
            <a:srgbClr val="FF9933"/>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05" name="Text Box 27"/>
          <p:cNvSpPr txBox="1">
            <a:spLocks noChangeArrowheads="1"/>
          </p:cNvSpPr>
          <p:nvPr/>
        </p:nvSpPr>
        <p:spPr bwMode="auto">
          <a:xfrm>
            <a:off x="4067175" y="3284538"/>
            <a:ext cx="762000" cy="276225"/>
          </a:xfrm>
          <a:prstGeom prst="rect">
            <a:avLst/>
          </a:prstGeom>
          <a:solidFill>
            <a:schemeClr val="bg1"/>
          </a:solid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Jagged 1</a:t>
            </a:r>
          </a:p>
        </p:txBody>
      </p:sp>
      <p:sp>
        <p:nvSpPr>
          <p:cNvPr id="882706" name="Oval 28"/>
          <p:cNvSpPr>
            <a:spLocks noChangeArrowheads="1"/>
          </p:cNvSpPr>
          <p:nvPr/>
        </p:nvSpPr>
        <p:spPr bwMode="auto">
          <a:xfrm>
            <a:off x="3851275" y="3573463"/>
            <a:ext cx="217488" cy="215900"/>
          </a:xfrm>
          <a:prstGeom prst="ellipse">
            <a:avLst/>
          </a:prstGeom>
          <a:solidFill>
            <a:schemeClr val="folHlink"/>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07" name="Text Box 29"/>
          <p:cNvSpPr txBox="1">
            <a:spLocks noChangeArrowheads="1"/>
          </p:cNvSpPr>
          <p:nvPr/>
        </p:nvSpPr>
        <p:spPr bwMode="auto">
          <a:xfrm>
            <a:off x="7524750" y="3573463"/>
            <a:ext cx="1243013" cy="276225"/>
          </a:xfrm>
          <a:prstGeom prst="rect">
            <a:avLst/>
          </a:prstGeom>
          <a:no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PTH/PTHrp R1</a:t>
            </a:r>
          </a:p>
        </p:txBody>
      </p:sp>
      <p:grpSp>
        <p:nvGrpSpPr>
          <p:cNvPr id="7" name="Group 30"/>
          <p:cNvGrpSpPr>
            <a:grpSpLocks/>
          </p:cNvGrpSpPr>
          <p:nvPr/>
        </p:nvGrpSpPr>
        <p:grpSpPr bwMode="auto">
          <a:xfrm>
            <a:off x="0" y="2781300"/>
            <a:ext cx="1141413" cy="1327150"/>
            <a:chOff x="55" y="1676"/>
            <a:chExt cx="719" cy="836"/>
          </a:xfrm>
        </p:grpSpPr>
        <p:sp>
          <p:nvSpPr>
            <p:cNvPr id="882793" name="Freeform 31"/>
            <p:cNvSpPr>
              <a:spLocks/>
            </p:cNvSpPr>
            <p:nvPr/>
          </p:nvSpPr>
          <p:spPr bwMode="auto">
            <a:xfrm>
              <a:off x="249" y="2069"/>
              <a:ext cx="253" cy="261"/>
            </a:xfrm>
            <a:custGeom>
              <a:avLst/>
              <a:gdLst>
                <a:gd name="T0" fmla="*/ 141 w 253"/>
                <a:gd name="T1" fmla="*/ 61 h 261"/>
                <a:gd name="T2" fmla="*/ 214 w 253"/>
                <a:gd name="T3" fmla="*/ 24 h 261"/>
                <a:gd name="T4" fmla="*/ 242 w 253"/>
                <a:gd name="T5" fmla="*/ 6 h 261"/>
                <a:gd name="T6" fmla="*/ 187 w 253"/>
                <a:gd name="T7" fmla="*/ 15 h 261"/>
                <a:gd name="T8" fmla="*/ 196 w 253"/>
                <a:gd name="T9" fmla="*/ 52 h 261"/>
                <a:gd name="T10" fmla="*/ 214 w 253"/>
                <a:gd name="T11" fmla="*/ 106 h 261"/>
                <a:gd name="T12" fmla="*/ 168 w 253"/>
                <a:gd name="T13" fmla="*/ 152 h 261"/>
                <a:gd name="T14" fmla="*/ 123 w 253"/>
                <a:gd name="T15" fmla="*/ 143 h 261"/>
                <a:gd name="T16" fmla="*/ 77 w 253"/>
                <a:gd name="T17" fmla="*/ 88 h 261"/>
                <a:gd name="T18" fmla="*/ 168 w 253"/>
                <a:gd name="T19" fmla="*/ 79 h 261"/>
                <a:gd name="T20" fmla="*/ 187 w 253"/>
                <a:gd name="T21" fmla="*/ 61 h 261"/>
                <a:gd name="T22" fmla="*/ 141 w 253"/>
                <a:gd name="T23" fmla="*/ 61 h 2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3"/>
                <a:gd name="T37" fmla="*/ 0 h 261"/>
                <a:gd name="T38" fmla="*/ 253 w 253"/>
                <a:gd name="T39" fmla="*/ 261 h 2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3" h="261">
                  <a:moveTo>
                    <a:pt x="141" y="61"/>
                  </a:moveTo>
                  <a:cubicBezTo>
                    <a:pt x="169" y="52"/>
                    <a:pt x="188" y="37"/>
                    <a:pt x="214" y="24"/>
                  </a:cubicBezTo>
                  <a:cubicBezTo>
                    <a:pt x="224" y="19"/>
                    <a:pt x="253" y="10"/>
                    <a:pt x="242" y="6"/>
                  </a:cubicBezTo>
                  <a:cubicBezTo>
                    <a:pt x="224" y="0"/>
                    <a:pt x="205" y="12"/>
                    <a:pt x="187" y="15"/>
                  </a:cubicBezTo>
                  <a:cubicBezTo>
                    <a:pt x="190" y="27"/>
                    <a:pt x="192" y="40"/>
                    <a:pt x="196" y="52"/>
                  </a:cubicBezTo>
                  <a:cubicBezTo>
                    <a:pt x="201" y="70"/>
                    <a:pt x="214" y="106"/>
                    <a:pt x="214" y="106"/>
                  </a:cubicBezTo>
                  <a:cubicBezTo>
                    <a:pt x="197" y="261"/>
                    <a:pt x="221" y="174"/>
                    <a:pt x="168" y="152"/>
                  </a:cubicBezTo>
                  <a:cubicBezTo>
                    <a:pt x="154" y="146"/>
                    <a:pt x="138" y="146"/>
                    <a:pt x="123" y="143"/>
                  </a:cubicBezTo>
                  <a:cubicBezTo>
                    <a:pt x="109" y="130"/>
                    <a:pt x="0" y="62"/>
                    <a:pt x="77" y="88"/>
                  </a:cubicBezTo>
                  <a:cubicBezTo>
                    <a:pt x="107" y="85"/>
                    <a:pt x="138" y="86"/>
                    <a:pt x="168" y="79"/>
                  </a:cubicBezTo>
                  <a:cubicBezTo>
                    <a:pt x="176" y="77"/>
                    <a:pt x="194" y="66"/>
                    <a:pt x="187" y="61"/>
                  </a:cubicBezTo>
                  <a:cubicBezTo>
                    <a:pt x="174" y="52"/>
                    <a:pt x="156" y="61"/>
                    <a:pt x="141" y="61"/>
                  </a:cubicBezTo>
                  <a:close/>
                </a:path>
              </a:pathLst>
            </a:custGeom>
            <a:solidFill>
              <a:schemeClr val="accent1"/>
            </a:soli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94" name="Freeform 32"/>
            <p:cNvSpPr>
              <a:spLocks/>
            </p:cNvSpPr>
            <p:nvPr/>
          </p:nvSpPr>
          <p:spPr bwMode="auto">
            <a:xfrm>
              <a:off x="521" y="2251"/>
              <a:ext cx="253" cy="261"/>
            </a:xfrm>
            <a:custGeom>
              <a:avLst/>
              <a:gdLst>
                <a:gd name="T0" fmla="*/ 141 w 253"/>
                <a:gd name="T1" fmla="*/ 61 h 261"/>
                <a:gd name="T2" fmla="*/ 214 w 253"/>
                <a:gd name="T3" fmla="*/ 24 h 261"/>
                <a:gd name="T4" fmla="*/ 242 w 253"/>
                <a:gd name="T5" fmla="*/ 6 h 261"/>
                <a:gd name="T6" fmla="*/ 187 w 253"/>
                <a:gd name="T7" fmla="*/ 15 h 261"/>
                <a:gd name="T8" fmla="*/ 196 w 253"/>
                <a:gd name="T9" fmla="*/ 52 h 261"/>
                <a:gd name="T10" fmla="*/ 214 w 253"/>
                <a:gd name="T11" fmla="*/ 106 h 261"/>
                <a:gd name="T12" fmla="*/ 168 w 253"/>
                <a:gd name="T13" fmla="*/ 152 h 261"/>
                <a:gd name="T14" fmla="*/ 123 w 253"/>
                <a:gd name="T15" fmla="*/ 143 h 261"/>
                <a:gd name="T16" fmla="*/ 77 w 253"/>
                <a:gd name="T17" fmla="*/ 88 h 261"/>
                <a:gd name="T18" fmla="*/ 168 w 253"/>
                <a:gd name="T19" fmla="*/ 79 h 261"/>
                <a:gd name="T20" fmla="*/ 187 w 253"/>
                <a:gd name="T21" fmla="*/ 61 h 261"/>
                <a:gd name="T22" fmla="*/ 141 w 253"/>
                <a:gd name="T23" fmla="*/ 61 h 2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3"/>
                <a:gd name="T37" fmla="*/ 0 h 261"/>
                <a:gd name="T38" fmla="*/ 253 w 253"/>
                <a:gd name="T39" fmla="*/ 261 h 2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3" h="261">
                  <a:moveTo>
                    <a:pt x="141" y="61"/>
                  </a:moveTo>
                  <a:cubicBezTo>
                    <a:pt x="169" y="52"/>
                    <a:pt x="188" y="37"/>
                    <a:pt x="214" y="24"/>
                  </a:cubicBezTo>
                  <a:cubicBezTo>
                    <a:pt x="224" y="19"/>
                    <a:pt x="253" y="10"/>
                    <a:pt x="242" y="6"/>
                  </a:cubicBezTo>
                  <a:cubicBezTo>
                    <a:pt x="224" y="0"/>
                    <a:pt x="205" y="12"/>
                    <a:pt x="187" y="15"/>
                  </a:cubicBezTo>
                  <a:cubicBezTo>
                    <a:pt x="190" y="27"/>
                    <a:pt x="192" y="40"/>
                    <a:pt x="196" y="52"/>
                  </a:cubicBezTo>
                  <a:cubicBezTo>
                    <a:pt x="201" y="70"/>
                    <a:pt x="214" y="106"/>
                    <a:pt x="214" y="106"/>
                  </a:cubicBezTo>
                  <a:cubicBezTo>
                    <a:pt x="197" y="261"/>
                    <a:pt x="221" y="174"/>
                    <a:pt x="168" y="152"/>
                  </a:cubicBezTo>
                  <a:cubicBezTo>
                    <a:pt x="154" y="146"/>
                    <a:pt x="138" y="146"/>
                    <a:pt x="123" y="143"/>
                  </a:cubicBezTo>
                  <a:cubicBezTo>
                    <a:pt x="109" y="130"/>
                    <a:pt x="0" y="62"/>
                    <a:pt x="77" y="88"/>
                  </a:cubicBezTo>
                  <a:cubicBezTo>
                    <a:pt x="107" y="85"/>
                    <a:pt x="138" y="86"/>
                    <a:pt x="168" y="79"/>
                  </a:cubicBezTo>
                  <a:cubicBezTo>
                    <a:pt x="176" y="77"/>
                    <a:pt x="194" y="66"/>
                    <a:pt x="187" y="61"/>
                  </a:cubicBezTo>
                  <a:cubicBezTo>
                    <a:pt x="174" y="52"/>
                    <a:pt x="156" y="61"/>
                    <a:pt x="141" y="61"/>
                  </a:cubicBezTo>
                  <a:close/>
                </a:path>
              </a:pathLst>
            </a:custGeom>
            <a:solidFill>
              <a:schemeClr val="accent1"/>
            </a:soli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95" name="Freeform 33"/>
            <p:cNvSpPr>
              <a:spLocks/>
            </p:cNvSpPr>
            <p:nvPr/>
          </p:nvSpPr>
          <p:spPr bwMode="auto">
            <a:xfrm rot="-825770">
              <a:off x="249" y="1888"/>
              <a:ext cx="272" cy="317"/>
            </a:xfrm>
            <a:custGeom>
              <a:avLst/>
              <a:gdLst>
                <a:gd name="T0" fmla="*/ 515 w 253"/>
                <a:gd name="T1" fmla="*/ 2006 h 261"/>
                <a:gd name="T2" fmla="*/ 788 w 253"/>
                <a:gd name="T3" fmla="*/ 797 h 261"/>
                <a:gd name="T4" fmla="*/ 889 w 253"/>
                <a:gd name="T5" fmla="*/ 194 h 261"/>
                <a:gd name="T6" fmla="*/ 688 w 253"/>
                <a:gd name="T7" fmla="*/ 509 h 261"/>
                <a:gd name="T8" fmla="*/ 722 w 253"/>
                <a:gd name="T9" fmla="*/ 1734 h 261"/>
                <a:gd name="T10" fmla="*/ 788 w 253"/>
                <a:gd name="T11" fmla="*/ 3538 h 261"/>
                <a:gd name="T12" fmla="*/ 622 w 253"/>
                <a:gd name="T13" fmla="*/ 5038 h 261"/>
                <a:gd name="T14" fmla="*/ 449 w 253"/>
                <a:gd name="T15" fmla="*/ 4726 h 261"/>
                <a:gd name="T16" fmla="*/ 284 w 253"/>
                <a:gd name="T17" fmla="*/ 2921 h 261"/>
                <a:gd name="T18" fmla="*/ 622 w 253"/>
                <a:gd name="T19" fmla="*/ 2608 h 261"/>
                <a:gd name="T20" fmla="*/ 688 w 253"/>
                <a:gd name="T21" fmla="*/ 2006 h 261"/>
                <a:gd name="T22" fmla="*/ 515 w 253"/>
                <a:gd name="T23" fmla="*/ 2006 h 2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3"/>
                <a:gd name="T37" fmla="*/ 0 h 261"/>
                <a:gd name="T38" fmla="*/ 253 w 253"/>
                <a:gd name="T39" fmla="*/ 261 h 2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3" h="261">
                  <a:moveTo>
                    <a:pt x="141" y="61"/>
                  </a:moveTo>
                  <a:cubicBezTo>
                    <a:pt x="169" y="52"/>
                    <a:pt x="188" y="37"/>
                    <a:pt x="214" y="24"/>
                  </a:cubicBezTo>
                  <a:cubicBezTo>
                    <a:pt x="224" y="19"/>
                    <a:pt x="253" y="10"/>
                    <a:pt x="242" y="6"/>
                  </a:cubicBezTo>
                  <a:cubicBezTo>
                    <a:pt x="224" y="0"/>
                    <a:pt x="205" y="12"/>
                    <a:pt x="187" y="15"/>
                  </a:cubicBezTo>
                  <a:cubicBezTo>
                    <a:pt x="190" y="27"/>
                    <a:pt x="192" y="40"/>
                    <a:pt x="196" y="52"/>
                  </a:cubicBezTo>
                  <a:cubicBezTo>
                    <a:pt x="201" y="70"/>
                    <a:pt x="214" y="106"/>
                    <a:pt x="214" y="106"/>
                  </a:cubicBezTo>
                  <a:cubicBezTo>
                    <a:pt x="197" y="261"/>
                    <a:pt x="221" y="174"/>
                    <a:pt x="168" y="152"/>
                  </a:cubicBezTo>
                  <a:cubicBezTo>
                    <a:pt x="154" y="146"/>
                    <a:pt x="138" y="146"/>
                    <a:pt x="123" y="143"/>
                  </a:cubicBezTo>
                  <a:cubicBezTo>
                    <a:pt x="109" y="130"/>
                    <a:pt x="0" y="62"/>
                    <a:pt x="77" y="88"/>
                  </a:cubicBezTo>
                  <a:cubicBezTo>
                    <a:pt x="107" y="85"/>
                    <a:pt x="138" y="86"/>
                    <a:pt x="168" y="79"/>
                  </a:cubicBezTo>
                  <a:cubicBezTo>
                    <a:pt x="176" y="77"/>
                    <a:pt x="194" y="66"/>
                    <a:pt x="187" y="61"/>
                  </a:cubicBezTo>
                  <a:cubicBezTo>
                    <a:pt x="174" y="52"/>
                    <a:pt x="156" y="61"/>
                    <a:pt x="141" y="61"/>
                  </a:cubicBezTo>
                  <a:close/>
                </a:path>
              </a:pathLst>
            </a:custGeom>
            <a:solidFill>
              <a:schemeClr val="accent1"/>
            </a:soli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96" name="Freeform 34"/>
            <p:cNvSpPr>
              <a:spLocks/>
            </p:cNvSpPr>
            <p:nvPr/>
          </p:nvSpPr>
          <p:spPr bwMode="auto">
            <a:xfrm>
              <a:off x="476" y="1979"/>
              <a:ext cx="253" cy="261"/>
            </a:xfrm>
            <a:custGeom>
              <a:avLst/>
              <a:gdLst>
                <a:gd name="T0" fmla="*/ 141 w 253"/>
                <a:gd name="T1" fmla="*/ 61 h 261"/>
                <a:gd name="T2" fmla="*/ 214 w 253"/>
                <a:gd name="T3" fmla="*/ 24 h 261"/>
                <a:gd name="T4" fmla="*/ 242 w 253"/>
                <a:gd name="T5" fmla="*/ 6 h 261"/>
                <a:gd name="T6" fmla="*/ 187 w 253"/>
                <a:gd name="T7" fmla="*/ 15 h 261"/>
                <a:gd name="T8" fmla="*/ 196 w 253"/>
                <a:gd name="T9" fmla="*/ 52 h 261"/>
                <a:gd name="T10" fmla="*/ 214 w 253"/>
                <a:gd name="T11" fmla="*/ 106 h 261"/>
                <a:gd name="T12" fmla="*/ 168 w 253"/>
                <a:gd name="T13" fmla="*/ 152 h 261"/>
                <a:gd name="T14" fmla="*/ 123 w 253"/>
                <a:gd name="T15" fmla="*/ 143 h 261"/>
                <a:gd name="T16" fmla="*/ 77 w 253"/>
                <a:gd name="T17" fmla="*/ 88 h 261"/>
                <a:gd name="T18" fmla="*/ 168 w 253"/>
                <a:gd name="T19" fmla="*/ 79 h 261"/>
                <a:gd name="T20" fmla="*/ 187 w 253"/>
                <a:gd name="T21" fmla="*/ 61 h 261"/>
                <a:gd name="T22" fmla="*/ 141 w 253"/>
                <a:gd name="T23" fmla="*/ 61 h 2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3"/>
                <a:gd name="T37" fmla="*/ 0 h 261"/>
                <a:gd name="T38" fmla="*/ 253 w 253"/>
                <a:gd name="T39" fmla="*/ 261 h 2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3" h="261">
                  <a:moveTo>
                    <a:pt x="141" y="61"/>
                  </a:moveTo>
                  <a:cubicBezTo>
                    <a:pt x="169" y="52"/>
                    <a:pt x="188" y="37"/>
                    <a:pt x="214" y="24"/>
                  </a:cubicBezTo>
                  <a:cubicBezTo>
                    <a:pt x="224" y="19"/>
                    <a:pt x="253" y="10"/>
                    <a:pt x="242" y="6"/>
                  </a:cubicBezTo>
                  <a:cubicBezTo>
                    <a:pt x="224" y="0"/>
                    <a:pt x="205" y="12"/>
                    <a:pt x="187" y="15"/>
                  </a:cubicBezTo>
                  <a:cubicBezTo>
                    <a:pt x="190" y="27"/>
                    <a:pt x="192" y="40"/>
                    <a:pt x="196" y="52"/>
                  </a:cubicBezTo>
                  <a:cubicBezTo>
                    <a:pt x="201" y="70"/>
                    <a:pt x="214" y="106"/>
                    <a:pt x="214" y="106"/>
                  </a:cubicBezTo>
                  <a:cubicBezTo>
                    <a:pt x="197" y="261"/>
                    <a:pt x="221" y="174"/>
                    <a:pt x="168" y="152"/>
                  </a:cubicBezTo>
                  <a:cubicBezTo>
                    <a:pt x="154" y="146"/>
                    <a:pt x="138" y="146"/>
                    <a:pt x="123" y="143"/>
                  </a:cubicBezTo>
                  <a:cubicBezTo>
                    <a:pt x="109" y="130"/>
                    <a:pt x="0" y="62"/>
                    <a:pt x="77" y="88"/>
                  </a:cubicBezTo>
                  <a:cubicBezTo>
                    <a:pt x="107" y="85"/>
                    <a:pt x="138" y="86"/>
                    <a:pt x="168" y="79"/>
                  </a:cubicBezTo>
                  <a:cubicBezTo>
                    <a:pt x="176" y="77"/>
                    <a:pt x="194" y="66"/>
                    <a:pt x="187" y="61"/>
                  </a:cubicBezTo>
                  <a:cubicBezTo>
                    <a:pt x="174" y="52"/>
                    <a:pt x="156" y="61"/>
                    <a:pt x="141" y="61"/>
                  </a:cubicBezTo>
                  <a:close/>
                </a:path>
              </a:pathLst>
            </a:custGeom>
            <a:solidFill>
              <a:schemeClr val="accent1"/>
            </a:soli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97" name="Text Box 35"/>
            <p:cNvSpPr txBox="1">
              <a:spLocks noChangeArrowheads="1"/>
            </p:cNvSpPr>
            <p:nvPr/>
          </p:nvSpPr>
          <p:spPr bwMode="auto">
            <a:xfrm>
              <a:off x="55" y="1676"/>
              <a:ext cx="640" cy="174"/>
            </a:xfrm>
            <a:prstGeom prst="rect">
              <a:avLst/>
            </a:prstGeom>
            <a:no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PTH/PTHrp</a:t>
              </a:r>
            </a:p>
          </p:txBody>
        </p:sp>
      </p:grpSp>
      <p:sp>
        <p:nvSpPr>
          <p:cNvPr id="882709" name="Oval 39"/>
          <p:cNvSpPr>
            <a:spLocks noChangeArrowheads="1"/>
          </p:cNvSpPr>
          <p:nvPr/>
        </p:nvSpPr>
        <p:spPr bwMode="auto">
          <a:xfrm>
            <a:off x="971550"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10" name="Oval 40"/>
          <p:cNvSpPr>
            <a:spLocks noChangeArrowheads="1"/>
          </p:cNvSpPr>
          <p:nvPr/>
        </p:nvSpPr>
        <p:spPr bwMode="auto">
          <a:xfrm>
            <a:off x="1547813"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11" name="Oval 41"/>
          <p:cNvSpPr>
            <a:spLocks noChangeArrowheads="1"/>
          </p:cNvSpPr>
          <p:nvPr/>
        </p:nvSpPr>
        <p:spPr bwMode="auto">
          <a:xfrm>
            <a:off x="2051050"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12" name="Oval 42"/>
          <p:cNvSpPr>
            <a:spLocks noChangeArrowheads="1"/>
          </p:cNvSpPr>
          <p:nvPr/>
        </p:nvSpPr>
        <p:spPr bwMode="auto">
          <a:xfrm>
            <a:off x="2555875"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13" name="Oval 43"/>
          <p:cNvSpPr>
            <a:spLocks noChangeArrowheads="1"/>
          </p:cNvSpPr>
          <p:nvPr/>
        </p:nvSpPr>
        <p:spPr bwMode="auto">
          <a:xfrm>
            <a:off x="3059113" y="549275"/>
            <a:ext cx="611187"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14" name="Oval 44"/>
          <p:cNvSpPr>
            <a:spLocks noChangeArrowheads="1"/>
          </p:cNvSpPr>
          <p:nvPr/>
        </p:nvSpPr>
        <p:spPr bwMode="auto">
          <a:xfrm>
            <a:off x="468313"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15" name="Freeform 45"/>
          <p:cNvSpPr>
            <a:spLocks/>
          </p:cNvSpPr>
          <p:nvPr/>
        </p:nvSpPr>
        <p:spPr bwMode="auto">
          <a:xfrm>
            <a:off x="611188" y="3933825"/>
            <a:ext cx="280987" cy="392113"/>
          </a:xfrm>
          <a:custGeom>
            <a:avLst/>
            <a:gdLst>
              <a:gd name="T0" fmla="*/ 0 w 177"/>
              <a:gd name="T1" fmla="*/ 2147483647 h 247"/>
              <a:gd name="T2" fmla="*/ 2147483647 w 177"/>
              <a:gd name="T3" fmla="*/ 2147483647 h 247"/>
              <a:gd name="T4" fmla="*/ 2147483647 w 177"/>
              <a:gd name="T5" fmla="*/ 2147483647 h 247"/>
              <a:gd name="T6" fmla="*/ 2147483647 w 177"/>
              <a:gd name="T7" fmla="*/ 2147483647 h 247"/>
              <a:gd name="T8" fmla="*/ 2147483647 w 177"/>
              <a:gd name="T9" fmla="*/ 2147483647 h 247"/>
              <a:gd name="T10" fmla="*/ 2147483647 w 177"/>
              <a:gd name="T11" fmla="*/ 2147483647 h 247"/>
              <a:gd name="T12" fmla="*/ 2147483647 w 177"/>
              <a:gd name="T13" fmla="*/ 2147483647 h 247"/>
              <a:gd name="T14" fmla="*/ 2147483647 w 177"/>
              <a:gd name="T15" fmla="*/ 2147483647 h 247"/>
              <a:gd name="T16" fmla="*/ 2147483647 w 177"/>
              <a:gd name="T17" fmla="*/ 2147483647 h 247"/>
              <a:gd name="T18" fmla="*/ 2147483647 w 177"/>
              <a:gd name="T19" fmla="*/ 2147483647 h 247"/>
              <a:gd name="T20" fmla="*/ 2147483647 w 177"/>
              <a:gd name="T21" fmla="*/ 2147483647 h 247"/>
              <a:gd name="T22" fmla="*/ 2147483647 w 177"/>
              <a:gd name="T23" fmla="*/ 0 h 2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7"/>
              <a:gd name="T37" fmla="*/ 0 h 247"/>
              <a:gd name="T38" fmla="*/ 177 w 177"/>
              <a:gd name="T39" fmla="*/ 247 h 2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7" h="247">
                <a:moveTo>
                  <a:pt x="0" y="46"/>
                </a:moveTo>
                <a:cubicBezTo>
                  <a:pt x="21" y="65"/>
                  <a:pt x="33" y="93"/>
                  <a:pt x="55" y="110"/>
                </a:cubicBezTo>
                <a:cubicBezTo>
                  <a:pt x="73" y="123"/>
                  <a:pt x="110" y="146"/>
                  <a:pt x="110" y="146"/>
                </a:cubicBezTo>
                <a:cubicBezTo>
                  <a:pt x="125" y="143"/>
                  <a:pt x="147" y="150"/>
                  <a:pt x="156" y="137"/>
                </a:cubicBezTo>
                <a:cubicBezTo>
                  <a:pt x="165" y="124"/>
                  <a:pt x="161" y="98"/>
                  <a:pt x="147" y="91"/>
                </a:cubicBezTo>
                <a:cubicBezTo>
                  <a:pt x="135" y="86"/>
                  <a:pt x="142" y="116"/>
                  <a:pt x="137" y="128"/>
                </a:cubicBezTo>
                <a:cubicBezTo>
                  <a:pt x="133" y="138"/>
                  <a:pt x="125" y="146"/>
                  <a:pt x="119" y="155"/>
                </a:cubicBezTo>
                <a:cubicBezTo>
                  <a:pt x="131" y="158"/>
                  <a:pt x="149" y="154"/>
                  <a:pt x="156" y="165"/>
                </a:cubicBezTo>
                <a:cubicBezTo>
                  <a:pt x="167" y="183"/>
                  <a:pt x="177" y="247"/>
                  <a:pt x="165" y="229"/>
                </a:cubicBezTo>
                <a:cubicBezTo>
                  <a:pt x="159" y="220"/>
                  <a:pt x="152" y="211"/>
                  <a:pt x="147" y="201"/>
                </a:cubicBezTo>
                <a:cubicBezTo>
                  <a:pt x="143" y="192"/>
                  <a:pt x="140" y="183"/>
                  <a:pt x="137" y="174"/>
                </a:cubicBezTo>
                <a:cubicBezTo>
                  <a:pt x="144" y="113"/>
                  <a:pt x="156" y="60"/>
                  <a:pt x="156" y="0"/>
                </a:cubicBezTo>
              </a:path>
            </a:pathLst>
          </a:custGeom>
          <a:noFill/>
          <a:ln w="57150" cmpd="sng">
            <a:solidFill>
              <a:srgbClr val="996600"/>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16" name="Freeform 46"/>
          <p:cNvSpPr>
            <a:spLocks/>
          </p:cNvSpPr>
          <p:nvPr/>
        </p:nvSpPr>
        <p:spPr bwMode="auto">
          <a:xfrm>
            <a:off x="7308850" y="4005263"/>
            <a:ext cx="280988" cy="392112"/>
          </a:xfrm>
          <a:custGeom>
            <a:avLst/>
            <a:gdLst>
              <a:gd name="T0" fmla="*/ 0 w 177"/>
              <a:gd name="T1" fmla="*/ 2147483647 h 247"/>
              <a:gd name="T2" fmla="*/ 2147483647 w 177"/>
              <a:gd name="T3" fmla="*/ 2147483647 h 247"/>
              <a:gd name="T4" fmla="*/ 2147483647 w 177"/>
              <a:gd name="T5" fmla="*/ 2147483647 h 247"/>
              <a:gd name="T6" fmla="*/ 2147483647 w 177"/>
              <a:gd name="T7" fmla="*/ 2147483647 h 247"/>
              <a:gd name="T8" fmla="*/ 2147483647 w 177"/>
              <a:gd name="T9" fmla="*/ 2147483647 h 247"/>
              <a:gd name="T10" fmla="*/ 2147483647 w 177"/>
              <a:gd name="T11" fmla="*/ 2147483647 h 247"/>
              <a:gd name="T12" fmla="*/ 2147483647 w 177"/>
              <a:gd name="T13" fmla="*/ 2147483647 h 247"/>
              <a:gd name="T14" fmla="*/ 2147483647 w 177"/>
              <a:gd name="T15" fmla="*/ 2147483647 h 247"/>
              <a:gd name="T16" fmla="*/ 2147483647 w 177"/>
              <a:gd name="T17" fmla="*/ 2147483647 h 247"/>
              <a:gd name="T18" fmla="*/ 2147483647 w 177"/>
              <a:gd name="T19" fmla="*/ 2147483647 h 247"/>
              <a:gd name="T20" fmla="*/ 2147483647 w 177"/>
              <a:gd name="T21" fmla="*/ 2147483647 h 247"/>
              <a:gd name="T22" fmla="*/ 2147483647 w 177"/>
              <a:gd name="T23" fmla="*/ 0 h 2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7"/>
              <a:gd name="T37" fmla="*/ 0 h 247"/>
              <a:gd name="T38" fmla="*/ 177 w 177"/>
              <a:gd name="T39" fmla="*/ 247 h 2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7" h="247">
                <a:moveTo>
                  <a:pt x="0" y="46"/>
                </a:moveTo>
                <a:cubicBezTo>
                  <a:pt x="21" y="65"/>
                  <a:pt x="33" y="93"/>
                  <a:pt x="55" y="110"/>
                </a:cubicBezTo>
                <a:cubicBezTo>
                  <a:pt x="73" y="123"/>
                  <a:pt x="110" y="146"/>
                  <a:pt x="110" y="146"/>
                </a:cubicBezTo>
                <a:cubicBezTo>
                  <a:pt x="125" y="143"/>
                  <a:pt x="147" y="150"/>
                  <a:pt x="156" y="137"/>
                </a:cubicBezTo>
                <a:cubicBezTo>
                  <a:pt x="165" y="124"/>
                  <a:pt x="161" y="98"/>
                  <a:pt x="147" y="91"/>
                </a:cubicBezTo>
                <a:cubicBezTo>
                  <a:pt x="135" y="86"/>
                  <a:pt x="142" y="116"/>
                  <a:pt x="137" y="128"/>
                </a:cubicBezTo>
                <a:cubicBezTo>
                  <a:pt x="133" y="138"/>
                  <a:pt x="125" y="146"/>
                  <a:pt x="119" y="155"/>
                </a:cubicBezTo>
                <a:cubicBezTo>
                  <a:pt x="131" y="158"/>
                  <a:pt x="149" y="154"/>
                  <a:pt x="156" y="165"/>
                </a:cubicBezTo>
                <a:cubicBezTo>
                  <a:pt x="167" y="183"/>
                  <a:pt x="177" y="247"/>
                  <a:pt x="165" y="229"/>
                </a:cubicBezTo>
                <a:cubicBezTo>
                  <a:pt x="159" y="220"/>
                  <a:pt x="152" y="211"/>
                  <a:pt x="147" y="201"/>
                </a:cubicBezTo>
                <a:cubicBezTo>
                  <a:pt x="143" y="192"/>
                  <a:pt x="140" y="183"/>
                  <a:pt x="137" y="174"/>
                </a:cubicBezTo>
                <a:cubicBezTo>
                  <a:pt x="144" y="113"/>
                  <a:pt x="156" y="60"/>
                  <a:pt x="156" y="0"/>
                </a:cubicBezTo>
              </a:path>
            </a:pathLst>
          </a:custGeom>
          <a:noFill/>
          <a:ln w="57150" cmpd="sng">
            <a:solidFill>
              <a:srgbClr val="996600"/>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17" name="Text Box 47"/>
          <p:cNvSpPr txBox="1">
            <a:spLocks noChangeArrowheads="1"/>
          </p:cNvSpPr>
          <p:nvPr/>
        </p:nvSpPr>
        <p:spPr bwMode="auto">
          <a:xfrm>
            <a:off x="3492500" y="6597650"/>
            <a:ext cx="5129213" cy="246063"/>
          </a:xfrm>
          <a:prstGeom prst="rect">
            <a:avLst/>
          </a:prstGeom>
          <a:noFill/>
          <a:ln w="9525">
            <a:noFill/>
            <a:miter lim="800000"/>
            <a:headEnd/>
            <a:tailEnd/>
          </a:ln>
        </p:spPr>
        <p:txBody>
          <a:bodyPr wrap="none">
            <a:spAutoFit/>
          </a:bodyPr>
          <a:lstStyle/>
          <a:p>
            <a:pPr fontAlgn="base">
              <a:spcBef>
                <a:spcPct val="0"/>
              </a:spcBef>
              <a:spcAft>
                <a:spcPct val="0"/>
              </a:spcAft>
            </a:pPr>
            <a:r>
              <a:rPr lang="it-IT" sz="1000" b="1">
                <a:solidFill>
                  <a:srgbClr val="000000"/>
                </a:solidFill>
                <a:latin typeface="Times New Roman" pitchFamily="18" charset="0"/>
                <a:ea typeface="ＭＳ Ｐゴシック" pitchFamily="34" charset="-128"/>
              </a:rPr>
              <a:t>Ratajczak  MZ Leukemia 2010;  Kollet Ot Nature 2006;  Calvi LM Ann NY Acad Sci 2006</a:t>
            </a:r>
          </a:p>
        </p:txBody>
      </p:sp>
      <p:sp>
        <p:nvSpPr>
          <p:cNvPr id="882718" name="Text Box 48"/>
          <p:cNvSpPr txBox="1">
            <a:spLocks noChangeArrowheads="1"/>
          </p:cNvSpPr>
          <p:nvPr/>
        </p:nvSpPr>
        <p:spPr bwMode="auto">
          <a:xfrm>
            <a:off x="2700338" y="3933825"/>
            <a:ext cx="1230312" cy="307975"/>
          </a:xfrm>
          <a:prstGeom prst="rect">
            <a:avLst/>
          </a:prstGeom>
          <a:solidFill>
            <a:schemeClr val="bg1"/>
          </a:solidFill>
          <a:ln w="9525">
            <a:noFill/>
            <a:miter lim="800000"/>
            <a:headEnd/>
            <a:tailEnd/>
          </a:ln>
        </p:spPr>
        <p:txBody>
          <a:bodyPr wrap="none">
            <a:spAutoFit/>
          </a:bodyPr>
          <a:lstStyle/>
          <a:p>
            <a:pPr fontAlgn="base">
              <a:spcBef>
                <a:spcPct val="0"/>
              </a:spcBef>
              <a:spcAft>
                <a:spcPct val="0"/>
              </a:spcAft>
            </a:pPr>
            <a:r>
              <a:rPr lang="it-IT" sz="1400" b="1">
                <a:solidFill>
                  <a:srgbClr val="000000"/>
                </a:solidFill>
                <a:latin typeface="Times New Roman" pitchFamily="18" charset="0"/>
                <a:ea typeface="ＭＳ Ｐゴシック" pitchFamily="34" charset="-128"/>
              </a:rPr>
              <a:t>Wnt/</a:t>
            </a:r>
            <a:r>
              <a:rPr lang="it-IT" sz="1400" b="1">
                <a:solidFill>
                  <a:srgbClr val="000000"/>
                </a:solidFill>
                <a:latin typeface="Symbol" pitchFamily="18" charset="2"/>
                <a:ea typeface="ＭＳ Ｐゴシック" pitchFamily="34" charset="-128"/>
              </a:rPr>
              <a:t>b</a:t>
            </a:r>
            <a:r>
              <a:rPr lang="it-IT" sz="1400" b="1">
                <a:solidFill>
                  <a:srgbClr val="000000"/>
                </a:solidFill>
                <a:latin typeface="Times New Roman" pitchFamily="18" charset="0"/>
                <a:ea typeface="ＭＳ Ｐゴシック" pitchFamily="34" charset="-128"/>
              </a:rPr>
              <a:t>catenin</a:t>
            </a:r>
          </a:p>
        </p:txBody>
      </p:sp>
      <p:sp>
        <p:nvSpPr>
          <p:cNvPr id="882719" name="Oval 49"/>
          <p:cNvSpPr>
            <a:spLocks noChangeArrowheads="1"/>
          </p:cNvSpPr>
          <p:nvPr/>
        </p:nvSpPr>
        <p:spPr bwMode="auto">
          <a:xfrm>
            <a:off x="2987675" y="3716338"/>
            <a:ext cx="287338" cy="215900"/>
          </a:xfrm>
          <a:prstGeom prst="ellipse">
            <a:avLst/>
          </a:prstGeom>
          <a:solidFill>
            <a:srgbClr val="FFFF00"/>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20" name="Freeform 50"/>
          <p:cNvSpPr>
            <a:spLocks/>
          </p:cNvSpPr>
          <p:nvPr/>
        </p:nvSpPr>
        <p:spPr bwMode="auto">
          <a:xfrm>
            <a:off x="1590675" y="2598738"/>
            <a:ext cx="644525" cy="1741487"/>
          </a:xfrm>
          <a:custGeom>
            <a:avLst/>
            <a:gdLst>
              <a:gd name="T0" fmla="*/ 2147483647 w 406"/>
              <a:gd name="T1" fmla="*/ 2147483647 h 1097"/>
              <a:gd name="T2" fmla="*/ 2147483647 w 406"/>
              <a:gd name="T3" fmla="*/ 2147483647 h 1097"/>
              <a:gd name="T4" fmla="*/ 2147483647 w 406"/>
              <a:gd name="T5" fmla="*/ 2147483647 h 1097"/>
              <a:gd name="T6" fmla="*/ 2147483647 w 406"/>
              <a:gd name="T7" fmla="*/ 2147483647 h 1097"/>
              <a:gd name="T8" fmla="*/ 2147483647 w 406"/>
              <a:gd name="T9" fmla="*/ 2147483647 h 1097"/>
              <a:gd name="T10" fmla="*/ 2147483647 w 406"/>
              <a:gd name="T11" fmla="*/ 2147483647 h 1097"/>
              <a:gd name="T12" fmla="*/ 2147483647 w 406"/>
              <a:gd name="T13" fmla="*/ 2147483647 h 1097"/>
              <a:gd name="T14" fmla="*/ 2147483647 w 406"/>
              <a:gd name="T15" fmla="*/ 2147483647 h 1097"/>
              <a:gd name="T16" fmla="*/ 2147483647 w 406"/>
              <a:gd name="T17" fmla="*/ 2147483647 h 1097"/>
              <a:gd name="T18" fmla="*/ 2147483647 w 406"/>
              <a:gd name="T19" fmla="*/ 2147483647 h 1097"/>
              <a:gd name="T20" fmla="*/ 2147483647 w 406"/>
              <a:gd name="T21" fmla="*/ 2147483647 h 1097"/>
              <a:gd name="T22" fmla="*/ 2147483647 w 406"/>
              <a:gd name="T23" fmla="*/ 2147483647 h 1097"/>
              <a:gd name="T24" fmla="*/ 2147483647 w 406"/>
              <a:gd name="T25" fmla="*/ 2147483647 h 1097"/>
              <a:gd name="T26" fmla="*/ 2147483647 w 406"/>
              <a:gd name="T27" fmla="*/ 0 h 10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6"/>
              <a:gd name="T43" fmla="*/ 0 h 1097"/>
              <a:gd name="T44" fmla="*/ 406 w 406"/>
              <a:gd name="T45" fmla="*/ 1097 h 10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6" h="1097">
                <a:moveTo>
                  <a:pt x="86" y="1097"/>
                </a:moveTo>
                <a:cubicBezTo>
                  <a:pt x="94" y="1046"/>
                  <a:pt x="104" y="1015"/>
                  <a:pt x="86" y="960"/>
                </a:cubicBezTo>
                <a:cubicBezTo>
                  <a:pt x="79" y="939"/>
                  <a:pt x="61" y="923"/>
                  <a:pt x="49" y="905"/>
                </a:cubicBezTo>
                <a:cubicBezTo>
                  <a:pt x="43" y="896"/>
                  <a:pt x="31" y="877"/>
                  <a:pt x="31" y="877"/>
                </a:cubicBezTo>
                <a:cubicBezTo>
                  <a:pt x="41" y="838"/>
                  <a:pt x="55" y="828"/>
                  <a:pt x="77" y="795"/>
                </a:cubicBezTo>
                <a:cubicBezTo>
                  <a:pt x="68" y="737"/>
                  <a:pt x="56" y="713"/>
                  <a:pt x="22" y="667"/>
                </a:cubicBezTo>
                <a:cubicBezTo>
                  <a:pt x="8" y="624"/>
                  <a:pt x="0" y="601"/>
                  <a:pt x="49" y="585"/>
                </a:cubicBezTo>
                <a:cubicBezTo>
                  <a:pt x="57" y="432"/>
                  <a:pt x="12" y="412"/>
                  <a:pt x="113" y="374"/>
                </a:cubicBezTo>
                <a:cubicBezTo>
                  <a:pt x="128" y="334"/>
                  <a:pt x="118" y="309"/>
                  <a:pt x="95" y="274"/>
                </a:cubicBezTo>
                <a:cubicBezTo>
                  <a:pt x="113" y="201"/>
                  <a:pt x="156" y="197"/>
                  <a:pt x="223" y="182"/>
                </a:cubicBezTo>
                <a:cubicBezTo>
                  <a:pt x="236" y="162"/>
                  <a:pt x="246" y="152"/>
                  <a:pt x="251" y="128"/>
                </a:cubicBezTo>
                <a:cubicBezTo>
                  <a:pt x="262" y="73"/>
                  <a:pt x="245" y="72"/>
                  <a:pt x="278" y="45"/>
                </a:cubicBezTo>
                <a:cubicBezTo>
                  <a:pt x="304" y="23"/>
                  <a:pt x="337" y="18"/>
                  <a:pt x="369" y="9"/>
                </a:cubicBezTo>
                <a:cubicBezTo>
                  <a:pt x="381" y="6"/>
                  <a:pt x="406" y="0"/>
                  <a:pt x="406" y="0"/>
                </a:cubicBezTo>
              </a:path>
            </a:pathLst>
          </a:custGeom>
          <a:noFill/>
          <a:ln w="28575" cmpd="sng">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21" name="Text Box 51"/>
          <p:cNvSpPr txBox="1">
            <a:spLocks noChangeArrowheads="1"/>
          </p:cNvSpPr>
          <p:nvPr/>
        </p:nvSpPr>
        <p:spPr bwMode="auto">
          <a:xfrm>
            <a:off x="1331913" y="2349500"/>
            <a:ext cx="915987" cy="276225"/>
          </a:xfrm>
          <a:prstGeom prst="rect">
            <a:avLst/>
          </a:prstGeom>
          <a:solidFill>
            <a:schemeClr val="bg1"/>
          </a:solid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N cadherin</a:t>
            </a:r>
          </a:p>
        </p:txBody>
      </p:sp>
      <p:sp>
        <p:nvSpPr>
          <p:cNvPr id="882722" name="Text Box 52"/>
          <p:cNvSpPr txBox="1">
            <a:spLocks noChangeArrowheads="1"/>
          </p:cNvSpPr>
          <p:nvPr/>
        </p:nvSpPr>
        <p:spPr bwMode="auto">
          <a:xfrm>
            <a:off x="2195513" y="2565400"/>
            <a:ext cx="908050" cy="276225"/>
          </a:xfrm>
          <a:prstGeom prst="rect">
            <a:avLst/>
          </a:prstGeom>
          <a:no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Symbol" pitchFamily="18" charset="2"/>
                <a:ea typeface="ＭＳ Ｐゴシック" pitchFamily="34" charset="-128"/>
              </a:rPr>
              <a:t>b</a:t>
            </a:r>
            <a:r>
              <a:rPr lang="it-IT" sz="1200" b="1">
                <a:solidFill>
                  <a:srgbClr val="000000"/>
                </a:solidFill>
                <a:latin typeface="Times New Roman" pitchFamily="18" charset="0"/>
                <a:ea typeface="ＭＳ Ｐゴシック" pitchFamily="34" charset="-128"/>
              </a:rPr>
              <a:t>1 integrin</a:t>
            </a:r>
          </a:p>
        </p:txBody>
      </p:sp>
      <p:sp>
        <p:nvSpPr>
          <p:cNvPr id="882723" name="Oval 53"/>
          <p:cNvSpPr>
            <a:spLocks noChangeArrowheads="1"/>
          </p:cNvSpPr>
          <p:nvPr/>
        </p:nvSpPr>
        <p:spPr bwMode="auto">
          <a:xfrm>
            <a:off x="1835150" y="2636838"/>
            <a:ext cx="215900" cy="215900"/>
          </a:xfrm>
          <a:prstGeom prst="ellipse">
            <a:avLst/>
          </a:prstGeom>
          <a:solidFill>
            <a:srgbClr val="CC66FF"/>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24" name="Rectangle 54"/>
          <p:cNvSpPr>
            <a:spLocks noChangeArrowheads="1"/>
          </p:cNvSpPr>
          <p:nvPr/>
        </p:nvSpPr>
        <p:spPr bwMode="auto">
          <a:xfrm>
            <a:off x="3203575" y="2997200"/>
            <a:ext cx="654050" cy="246063"/>
          </a:xfrm>
          <a:prstGeom prst="rect">
            <a:avLst/>
          </a:prstGeom>
          <a:noFill/>
          <a:ln w="9525">
            <a:noFill/>
            <a:miter lim="800000"/>
            <a:headEnd/>
            <a:tailEnd/>
          </a:ln>
        </p:spPr>
        <p:txBody>
          <a:bodyPr wrap="none">
            <a:spAutoFit/>
          </a:bodyPr>
          <a:lstStyle/>
          <a:p>
            <a:pPr fontAlgn="base">
              <a:spcBef>
                <a:spcPct val="0"/>
              </a:spcBef>
              <a:spcAft>
                <a:spcPct val="0"/>
              </a:spcAft>
            </a:pPr>
            <a:r>
              <a:rPr lang="it-IT" sz="1000" b="1">
                <a:solidFill>
                  <a:srgbClr val="000000"/>
                </a:solidFill>
                <a:latin typeface="Times New Roman" pitchFamily="18" charset="0"/>
                <a:ea typeface="ＭＳ Ｐゴシック" pitchFamily="34" charset="-128"/>
              </a:rPr>
              <a:t>NOTCH</a:t>
            </a:r>
          </a:p>
        </p:txBody>
      </p:sp>
      <p:sp>
        <p:nvSpPr>
          <p:cNvPr id="882725" name="Freeform 55"/>
          <p:cNvSpPr>
            <a:spLocks/>
          </p:cNvSpPr>
          <p:nvPr/>
        </p:nvSpPr>
        <p:spPr bwMode="auto">
          <a:xfrm>
            <a:off x="971550" y="3933825"/>
            <a:ext cx="280988" cy="392113"/>
          </a:xfrm>
          <a:custGeom>
            <a:avLst/>
            <a:gdLst>
              <a:gd name="T0" fmla="*/ 0 w 177"/>
              <a:gd name="T1" fmla="*/ 2147483647 h 247"/>
              <a:gd name="T2" fmla="*/ 2147483647 w 177"/>
              <a:gd name="T3" fmla="*/ 2147483647 h 247"/>
              <a:gd name="T4" fmla="*/ 2147483647 w 177"/>
              <a:gd name="T5" fmla="*/ 2147483647 h 247"/>
              <a:gd name="T6" fmla="*/ 2147483647 w 177"/>
              <a:gd name="T7" fmla="*/ 2147483647 h 247"/>
              <a:gd name="T8" fmla="*/ 2147483647 w 177"/>
              <a:gd name="T9" fmla="*/ 2147483647 h 247"/>
              <a:gd name="T10" fmla="*/ 2147483647 w 177"/>
              <a:gd name="T11" fmla="*/ 2147483647 h 247"/>
              <a:gd name="T12" fmla="*/ 2147483647 w 177"/>
              <a:gd name="T13" fmla="*/ 2147483647 h 247"/>
              <a:gd name="T14" fmla="*/ 2147483647 w 177"/>
              <a:gd name="T15" fmla="*/ 2147483647 h 247"/>
              <a:gd name="T16" fmla="*/ 2147483647 w 177"/>
              <a:gd name="T17" fmla="*/ 2147483647 h 247"/>
              <a:gd name="T18" fmla="*/ 2147483647 w 177"/>
              <a:gd name="T19" fmla="*/ 2147483647 h 247"/>
              <a:gd name="T20" fmla="*/ 2147483647 w 177"/>
              <a:gd name="T21" fmla="*/ 2147483647 h 247"/>
              <a:gd name="T22" fmla="*/ 2147483647 w 177"/>
              <a:gd name="T23" fmla="*/ 0 h 2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7"/>
              <a:gd name="T37" fmla="*/ 0 h 247"/>
              <a:gd name="T38" fmla="*/ 177 w 177"/>
              <a:gd name="T39" fmla="*/ 247 h 2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7" h="247">
                <a:moveTo>
                  <a:pt x="0" y="46"/>
                </a:moveTo>
                <a:cubicBezTo>
                  <a:pt x="21" y="65"/>
                  <a:pt x="33" y="93"/>
                  <a:pt x="55" y="110"/>
                </a:cubicBezTo>
                <a:cubicBezTo>
                  <a:pt x="73" y="123"/>
                  <a:pt x="110" y="146"/>
                  <a:pt x="110" y="146"/>
                </a:cubicBezTo>
                <a:cubicBezTo>
                  <a:pt x="125" y="143"/>
                  <a:pt x="147" y="150"/>
                  <a:pt x="156" y="137"/>
                </a:cubicBezTo>
                <a:cubicBezTo>
                  <a:pt x="165" y="124"/>
                  <a:pt x="161" y="98"/>
                  <a:pt x="147" y="91"/>
                </a:cubicBezTo>
                <a:cubicBezTo>
                  <a:pt x="135" y="86"/>
                  <a:pt x="142" y="116"/>
                  <a:pt x="137" y="128"/>
                </a:cubicBezTo>
                <a:cubicBezTo>
                  <a:pt x="133" y="138"/>
                  <a:pt x="125" y="146"/>
                  <a:pt x="119" y="155"/>
                </a:cubicBezTo>
                <a:cubicBezTo>
                  <a:pt x="131" y="158"/>
                  <a:pt x="149" y="154"/>
                  <a:pt x="156" y="165"/>
                </a:cubicBezTo>
                <a:cubicBezTo>
                  <a:pt x="167" y="183"/>
                  <a:pt x="177" y="247"/>
                  <a:pt x="165" y="229"/>
                </a:cubicBezTo>
                <a:cubicBezTo>
                  <a:pt x="159" y="220"/>
                  <a:pt x="152" y="211"/>
                  <a:pt x="147" y="201"/>
                </a:cubicBezTo>
                <a:cubicBezTo>
                  <a:pt x="143" y="192"/>
                  <a:pt x="140" y="183"/>
                  <a:pt x="137" y="174"/>
                </a:cubicBezTo>
                <a:cubicBezTo>
                  <a:pt x="144" y="113"/>
                  <a:pt x="156" y="60"/>
                  <a:pt x="156" y="0"/>
                </a:cubicBezTo>
              </a:path>
            </a:pathLst>
          </a:custGeom>
          <a:noFill/>
          <a:ln w="57150" cmpd="sng">
            <a:solidFill>
              <a:srgbClr val="996600"/>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nvGrpSpPr>
          <p:cNvPr id="8" name="Group 56"/>
          <p:cNvGrpSpPr>
            <a:grpSpLocks/>
          </p:cNvGrpSpPr>
          <p:nvPr/>
        </p:nvGrpSpPr>
        <p:grpSpPr bwMode="auto">
          <a:xfrm>
            <a:off x="2916238" y="4941888"/>
            <a:ext cx="1716087" cy="892175"/>
            <a:chOff x="6877" y="4218"/>
            <a:chExt cx="406" cy="378"/>
          </a:xfrm>
        </p:grpSpPr>
        <p:sp>
          <p:nvSpPr>
            <p:cNvPr id="882791" name="Freeform 57"/>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92" name="Oval 58"/>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sp>
        <p:nvSpPr>
          <p:cNvPr id="1058875" name="Freeform 59"/>
          <p:cNvSpPr>
            <a:spLocks/>
          </p:cNvSpPr>
          <p:nvPr/>
        </p:nvSpPr>
        <p:spPr bwMode="auto">
          <a:xfrm>
            <a:off x="1547813" y="4797425"/>
            <a:ext cx="1716087" cy="892175"/>
          </a:xfrm>
          <a:custGeom>
            <a:avLst/>
            <a:gdLst>
              <a:gd name="T0" fmla="*/ 2147483647 w 406"/>
              <a:gd name="T1" fmla="*/ 2147483647 h 378"/>
              <a:gd name="T2" fmla="*/ 2147483647 w 406"/>
              <a:gd name="T3" fmla="*/ 0 h 378"/>
              <a:gd name="T4" fmla="*/ 2147483647 w 406"/>
              <a:gd name="T5" fmla="*/ 2147483647 h 378"/>
              <a:gd name="T6" fmla="*/ 2147483647 w 406"/>
              <a:gd name="T7" fmla="*/ 2147483647 h 378"/>
              <a:gd name="T8" fmla="*/ 2147483647 w 406"/>
              <a:gd name="T9" fmla="*/ 2147483647 h 378"/>
              <a:gd name="T10" fmla="*/ 2147483647 w 406"/>
              <a:gd name="T11" fmla="*/ 2147483647 h 378"/>
              <a:gd name="T12" fmla="*/ 2147483647 w 406"/>
              <a:gd name="T13" fmla="*/ 2147483647 h 378"/>
              <a:gd name="T14" fmla="*/ 2147483647 w 406"/>
              <a:gd name="T15" fmla="*/ 2147483647 h 378"/>
              <a:gd name="T16" fmla="*/ 2147483647 w 406"/>
              <a:gd name="T17" fmla="*/ 2147483647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28" name="Oval 60"/>
          <p:cNvSpPr>
            <a:spLocks noChangeArrowheads="1"/>
          </p:cNvSpPr>
          <p:nvPr/>
        </p:nvSpPr>
        <p:spPr bwMode="auto">
          <a:xfrm>
            <a:off x="2411413" y="5084763"/>
            <a:ext cx="201612" cy="112712"/>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nvGrpSpPr>
          <p:cNvPr id="9" name="Group 61"/>
          <p:cNvGrpSpPr>
            <a:grpSpLocks/>
          </p:cNvGrpSpPr>
          <p:nvPr/>
        </p:nvGrpSpPr>
        <p:grpSpPr bwMode="auto">
          <a:xfrm>
            <a:off x="393700" y="4724400"/>
            <a:ext cx="1717675" cy="892175"/>
            <a:chOff x="6877" y="4218"/>
            <a:chExt cx="406" cy="378"/>
          </a:xfrm>
        </p:grpSpPr>
        <p:sp>
          <p:nvSpPr>
            <p:cNvPr id="882789" name="Freeform 62"/>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90" name="Oval 63"/>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grpSp>
        <p:nvGrpSpPr>
          <p:cNvPr id="10" name="Group 64"/>
          <p:cNvGrpSpPr>
            <a:grpSpLocks/>
          </p:cNvGrpSpPr>
          <p:nvPr/>
        </p:nvGrpSpPr>
        <p:grpSpPr bwMode="auto">
          <a:xfrm>
            <a:off x="611188" y="1916113"/>
            <a:ext cx="1655762" cy="1519237"/>
            <a:chOff x="1383" y="1298"/>
            <a:chExt cx="1043" cy="957"/>
          </a:xfrm>
        </p:grpSpPr>
        <p:sp>
          <p:nvSpPr>
            <p:cNvPr id="882787" name="Freeform 65"/>
            <p:cNvSpPr>
              <a:spLocks/>
            </p:cNvSpPr>
            <p:nvPr/>
          </p:nvSpPr>
          <p:spPr bwMode="auto">
            <a:xfrm>
              <a:off x="1383" y="1298"/>
              <a:ext cx="1043" cy="957"/>
            </a:xfrm>
            <a:custGeom>
              <a:avLst/>
              <a:gdLst>
                <a:gd name="T0" fmla="*/ 2 w 1390"/>
                <a:gd name="T1" fmla="*/ 6 h 1208"/>
                <a:gd name="T2" fmla="*/ 0 w 1390"/>
                <a:gd name="T3" fmla="*/ 8 h 1208"/>
                <a:gd name="T4" fmla="*/ 2 w 1390"/>
                <a:gd name="T5" fmla="*/ 10 h 1208"/>
                <a:gd name="T6" fmla="*/ 2 w 1390"/>
                <a:gd name="T7" fmla="*/ 11 h 1208"/>
                <a:gd name="T8" fmla="*/ 2 w 1390"/>
                <a:gd name="T9" fmla="*/ 13 h 1208"/>
                <a:gd name="T10" fmla="*/ 2 w 1390"/>
                <a:gd name="T11" fmla="*/ 13 h 1208"/>
                <a:gd name="T12" fmla="*/ 3 w 1390"/>
                <a:gd name="T13" fmla="*/ 15 h 1208"/>
                <a:gd name="T14" fmla="*/ 4 w 1390"/>
                <a:gd name="T15" fmla="*/ 16 h 1208"/>
                <a:gd name="T16" fmla="*/ 5 w 1390"/>
                <a:gd name="T17" fmla="*/ 16 h 1208"/>
                <a:gd name="T18" fmla="*/ 6 w 1390"/>
                <a:gd name="T19" fmla="*/ 17 h 1208"/>
                <a:gd name="T20" fmla="*/ 8 w 1390"/>
                <a:gd name="T21" fmla="*/ 17 h 1208"/>
                <a:gd name="T22" fmla="*/ 8 w 1390"/>
                <a:gd name="T23" fmla="*/ 14 h 1208"/>
                <a:gd name="T24" fmla="*/ 8 w 1390"/>
                <a:gd name="T25" fmla="*/ 13 h 1208"/>
                <a:gd name="T26" fmla="*/ 8 w 1390"/>
                <a:gd name="T27" fmla="*/ 13 h 1208"/>
                <a:gd name="T28" fmla="*/ 8 w 1390"/>
                <a:gd name="T29" fmla="*/ 8 h 1208"/>
                <a:gd name="T30" fmla="*/ 8 w 1390"/>
                <a:gd name="T31" fmla="*/ 5 h 1208"/>
                <a:gd name="T32" fmla="*/ 6 w 1390"/>
                <a:gd name="T33" fmla="*/ 2 h 1208"/>
                <a:gd name="T34" fmla="*/ 6 w 1390"/>
                <a:gd name="T35" fmla="*/ 2 h 1208"/>
                <a:gd name="T36" fmla="*/ 6 w 1390"/>
                <a:gd name="T37" fmla="*/ 2 h 1208"/>
                <a:gd name="T38" fmla="*/ 5 w 1390"/>
                <a:gd name="T39" fmla="*/ 2 h 1208"/>
                <a:gd name="T40" fmla="*/ 4 w 1390"/>
                <a:gd name="T41" fmla="*/ 2 h 1208"/>
                <a:gd name="T42" fmla="*/ 2 w 1390"/>
                <a:gd name="T43" fmla="*/ 2 h 1208"/>
                <a:gd name="T44" fmla="*/ 2 w 1390"/>
                <a:gd name="T45" fmla="*/ 3 h 1208"/>
                <a:gd name="T46" fmla="*/ 2 w 1390"/>
                <a:gd name="T47" fmla="*/ 4 h 1208"/>
                <a:gd name="T48" fmla="*/ 2 w 1390"/>
                <a:gd name="T49" fmla="*/ 5 h 1208"/>
                <a:gd name="T50" fmla="*/ 2 w 1390"/>
                <a:gd name="T51" fmla="*/ 5 h 1208"/>
                <a:gd name="T52" fmla="*/ 2 w 1390"/>
                <a:gd name="T53" fmla="*/ 6 h 1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90"/>
                <a:gd name="T82" fmla="*/ 0 h 1208"/>
                <a:gd name="T83" fmla="*/ 1390 w 1390"/>
                <a:gd name="T84" fmla="*/ 1208 h 1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90" h="1208">
                  <a:moveTo>
                    <a:pt x="73" y="383"/>
                  </a:moveTo>
                  <a:cubicBezTo>
                    <a:pt x="35" y="440"/>
                    <a:pt x="16" y="508"/>
                    <a:pt x="0" y="575"/>
                  </a:cubicBezTo>
                  <a:cubicBezTo>
                    <a:pt x="52" y="642"/>
                    <a:pt x="129" y="671"/>
                    <a:pt x="211" y="684"/>
                  </a:cubicBezTo>
                  <a:cubicBezTo>
                    <a:pt x="279" y="737"/>
                    <a:pt x="218" y="685"/>
                    <a:pt x="275" y="748"/>
                  </a:cubicBezTo>
                  <a:cubicBezTo>
                    <a:pt x="292" y="767"/>
                    <a:pt x="311" y="785"/>
                    <a:pt x="329" y="803"/>
                  </a:cubicBezTo>
                  <a:cubicBezTo>
                    <a:pt x="335" y="809"/>
                    <a:pt x="348" y="822"/>
                    <a:pt x="348" y="822"/>
                  </a:cubicBezTo>
                  <a:cubicBezTo>
                    <a:pt x="358" y="851"/>
                    <a:pt x="386" y="970"/>
                    <a:pt x="403" y="995"/>
                  </a:cubicBezTo>
                  <a:cubicBezTo>
                    <a:pt x="423" y="1025"/>
                    <a:pt x="479" y="1019"/>
                    <a:pt x="503" y="1023"/>
                  </a:cubicBezTo>
                  <a:cubicBezTo>
                    <a:pt x="567" y="1033"/>
                    <a:pt x="622" y="1059"/>
                    <a:pt x="686" y="1068"/>
                  </a:cubicBezTo>
                  <a:cubicBezTo>
                    <a:pt x="750" y="1111"/>
                    <a:pt x="820" y="1145"/>
                    <a:pt x="896" y="1160"/>
                  </a:cubicBezTo>
                  <a:cubicBezTo>
                    <a:pt x="1104" y="1154"/>
                    <a:pt x="1136" y="1208"/>
                    <a:pt x="1235" y="1114"/>
                  </a:cubicBezTo>
                  <a:cubicBezTo>
                    <a:pt x="1250" y="1068"/>
                    <a:pt x="1265" y="1023"/>
                    <a:pt x="1280" y="977"/>
                  </a:cubicBezTo>
                  <a:cubicBezTo>
                    <a:pt x="1292" y="941"/>
                    <a:pt x="1289" y="905"/>
                    <a:pt x="1317" y="876"/>
                  </a:cubicBezTo>
                  <a:cubicBezTo>
                    <a:pt x="1340" y="853"/>
                    <a:pt x="1367" y="836"/>
                    <a:pt x="1390" y="812"/>
                  </a:cubicBezTo>
                  <a:cubicBezTo>
                    <a:pt x="1297" y="682"/>
                    <a:pt x="1354" y="786"/>
                    <a:pt x="1335" y="520"/>
                  </a:cubicBezTo>
                  <a:cubicBezTo>
                    <a:pt x="1329" y="431"/>
                    <a:pt x="1257" y="368"/>
                    <a:pt x="1198" y="310"/>
                  </a:cubicBezTo>
                  <a:cubicBezTo>
                    <a:pt x="1160" y="272"/>
                    <a:pt x="1146" y="209"/>
                    <a:pt x="1107" y="172"/>
                  </a:cubicBezTo>
                  <a:cubicBezTo>
                    <a:pt x="1058" y="125"/>
                    <a:pt x="1128" y="191"/>
                    <a:pt x="1052" y="127"/>
                  </a:cubicBezTo>
                  <a:cubicBezTo>
                    <a:pt x="1022" y="102"/>
                    <a:pt x="1009" y="91"/>
                    <a:pt x="969" y="81"/>
                  </a:cubicBezTo>
                  <a:cubicBezTo>
                    <a:pt x="902" y="36"/>
                    <a:pt x="810" y="25"/>
                    <a:pt x="732" y="17"/>
                  </a:cubicBezTo>
                  <a:cubicBezTo>
                    <a:pt x="664" y="0"/>
                    <a:pt x="622" y="1"/>
                    <a:pt x="549" y="8"/>
                  </a:cubicBezTo>
                  <a:cubicBezTo>
                    <a:pt x="467" y="34"/>
                    <a:pt x="412" y="109"/>
                    <a:pt x="329" y="136"/>
                  </a:cubicBezTo>
                  <a:cubicBezTo>
                    <a:pt x="299" y="156"/>
                    <a:pt x="282" y="180"/>
                    <a:pt x="247" y="191"/>
                  </a:cubicBezTo>
                  <a:cubicBezTo>
                    <a:pt x="214" y="213"/>
                    <a:pt x="207" y="242"/>
                    <a:pt x="174" y="264"/>
                  </a:cubicBezTo>
                  <a:cubicBezTo>
                    <a:pt x="165" y="277"/>
                    <a:pt x="152" y="301"/>
                    <a:pt x="137" y="310"/>
                  </a:cubicBezTo>
                  <a:cubicBezTo>
                    <a:pt x="120" y="321"/>
                    <a:pt x="95" y="316"/>
                    <a:pt x="83" y="337"/>
                  </a:cubicBezTo>
                  <a:cubicBezTo>
                    <a:pt x="75" y="351"/>
                    <a:pt x="76" y="368"/>
                    <a:pt x="73" y="383"/>
                  </a:cubicBezTo>
                  <a:close/>
                </a:path>
              </a:pathLst>
            </a:custGeom>
            <a:gradFill rotWithShape="1">
              <a:gsLst>
                <a:gs pos="0">
                  <a:srgbClr val="764718">
                    <a:alpha val="75000"/>
                  </a:srgbClr>
                </a:gs>
                <a:gs pos="100000">
                  <a:srgbClr val="FF9933">
                    <a:alpha val="62999"/>
                  </a:srgbClr>
                </a:gs>
              </a:gsLst>
              <a:path path="rect">
                <a:fillToRect l="50000" t="50000" r="50000" b="50000"/>
              </a:path>
            </a:gra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88" name="Oval 66"/>
            <p:cNvSpPr>
              <a:spLocks noChangeArrowheads="1"/>
            </p:cNvSpPr>
            <p:nvPr/>
          </p:nvSpPr>
          <p:spPr bwMode="auto">
            <a:xfrm>
              <a:off x="2018" y="1706"/>
              <a:ext cx="181" cy="91"/>
            </a:xfrm>
            <a:prstGeom prst="ellipse">
              <a:avLst/>
            </a:prstGeom>
            <a:solidFill>
              <a:srgbClr val="000000"/>
            </a:solidFill>
            <a:ln w="9525">
              <a:solidFill>
                <a:schemeClr val="tx1"/>
              </a:solidFill>
              <a:round/>
              <a:headEnd/>
              <a:tailEnd/>
            </a:ln>
          </p:spPr>
          <p:txBody>
            <a:bodyPr wrap="none" anchor="ctr"/>
            <a:lstStyle/>
            <a:p>
              <a:pPr algn="ct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grpSp>
        <p:nvGrpSpPr>
          <p:cNvPr id="11" name="Group 67"/>
          <p:cNvGrpSpPr>
            <a:grpSpLocks/>
          </p:cNvGrpSpPr>
          <p:nvPr/>
        </p:nvGrpSpPr>
        <p:grpSpPr bwMode="auto">
          <a:xfrm>
            <a:off x="0" y="2349500"/>
            <a:ext cx="1655763" cy="1519238"/>
            <a:chOff x="1383" y="1298"/>
            <a:chExt cx="1043" cy="957"/>
          </a:xfrm>
        </p:grpSpPr>
        <p:sp>
          <p:nvSpPr>
            <p:cNvPr id="882785" name="Freeform 68"/>
            <p:cNvSpPr>
              <a:spLocks/>
            </p:cNvSpPr>
            <p:nvPr/>
          </p:nvSpPr>
          <p:spPr bwMode="auto">
            <a:xfrm>
              <a:off x="1383" y="1298"/>
              <a:ext cx="1043" cy="957"/>
            </a:xfrm>
            <a:custGeom>
              <a:avLst/>
              <a:gdLst>
                <a:gd name="T0" fmla="*/ 2 w 1390"/>
                <a:gd name="T1" fmla="*/ 6 h 1208"/>
                <a:gd name="T2" fmla="*/ 0 w 1390"/>
                <a:gd name="T3" fmla="*/ 8 h 1208"/>
                <a:gd name="T4" fmla="*/ 2 w 1390"/>
                <a:gd name="T5" fmla="*/ 10 h 1208"/>
                <a:gd name="T6" fmla="*/ 2 w 1390"/>
                <a:gd name="T7" fmla="*/ 11 h 1208"/>
                <a:gd name="T8" fmla="*/ 2 w 1390"/>
                <a:gd name="T9" fmla="*/ 13 h 1208"/>
                <a:gd name="T10" fmla="*/ 2 w 1390"/>
                <a:gd name="T11" fmla="*/ 13 h 1208"/>
                <a:gd name="T12" fmla="*/ 3 w 1390"/>
                <a:gd name="T13" fmla="*/ 15 h 1208"/>
                <a:gd name="T14" fmla="*/ 4 w 1390"/>
                <a:gd name="T15" fmla="*/ 16 h 1208"/>
                <a:gd name="T16" fmla="*/ 5 w 1390"/>
                <a:gd name="T17" fmla="*/ 16 h 1208"/>
                <a:gd name="T18" fmla="*/ 6 w 1390"/>
                <a:gd name="T19" fmla="*/ 17 h 1208"/>
                <a:gd name="T20" fmla="*/ 8 w 1390"/>
                <a:gd name="T21" fmla="*/ 17 h 1208"/>
                <a:gd name="T22" fmla="*/ 8 w 1390"/>
                <a:gd name="T23" fmla="*/ 14 h 1208"/>
                <a:gd name="T24" fmla="*/ 8 w 1390"/>
                <a:gd name="T25" fmla="*/ 13 h 1208"/>
                <a:gd name="T26" fmla="*/ 8 w 1390"/>
                <a:gd name="T27" fmla="*/ 13 h 1208"/>
                <a:gd name="T28" fmla="*/ 8 w 1390"/>
                <a:gd name="T29" fmla="*/ 8 h 1208"/>
                <a:gd name="T30" fmla="*/ 8 w 1390"/>
                <a:gd name="T31" fmla="*/ 5 h 1208"/>
                <a:gd name="T32" fmla="*/ 6 w 1390"/>
                <a:gd name="T33" fmla="*/ 2 h 1208"/>
                <a:gd name="T34" fmla="*/ 6 w 1390"/>
                <a:gd name="T35" fmla="*/ 2 h 1208"/>
                <a:gd name="T36" fmla="*/ 6 w 1390"/>
                <a:gd name="T37" fmla="*/ 2 h 1208"/>
                <a:gd name="T38" fmla="*/ 5 w 1390"/>
                <a:gd name="T39" fmla="*/ 2 h 1208"/>
                <a:gd name="T40" fmla="*/ 4 w 1390"/>
                <a:gd name="T41" fmla="*/ 2 h 1208"/>
                <a:gd name="T42" fmla="*/ 2 w 1390"/>
                <a:gd name="T43" fmla="*/ 2 h 1208"/>
                <a:gd name="T44" fmla="*/ 2 w 1390"/>
                <a:gd name="T45" fmla="*/ 3 h 1208"/>
                <a:gd name="T46" fmla="*/ 2 w 1390"/>
                <a:gd name="T47" fmla="*/ 4 h 1208"/>
                <a:gd name="T48" fmla="*/ 2 w 1390"/>
                <a:gd name="T49" fmla="*/ 5 h 1208"/>
                <a:gd name="T50" fmla="*/ 2 w 1390"/>
                <a:gd name="T51" fmla="*/ 5 h 1208"/>
                <a:gd name="T52" fmla="*/ 2 w 1390"/>
                <a:gd name="T53" fmla="*/ 6 h 1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90"/>
                <a:gd name="T82" fmla="*/ 0 h 1208"/>
                <a:gd name="T83" fmla="*/ 1390 w 1390"/>
                <a:gd name="T84" fmla="*/ 1208 h 1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90" h="1208">
                  <a:moveTo>
                    <a:pt x="73" y="383"/>
                  </a:moveTo>
                  <a:cubicBezTo>
                    <a:pt x="35" y="440"/>
                    <a:pt x="16" y="508"/>
                    <a:pt x="0" y="575"/>
                  </a:cubicBezTo>
                  <a:cubicBezTo>
                    <a:pt x="52" y="642"/>
                    <a:pt x="129" y="671"/>
                    <a:pt x="211" y="684"/>
                  </a:cubicBezTo>
                  <a:cubicBezTo>
                    <a:pt x="279" y="737"/>
                    <a:pt x="218" y="685"/>
                    <a:pt x="275" y="748"/>
                  </a:cubicBezTo>
                  <a:cubicBezTo>
                    <a:pt x="292" y="767"/>
                    <a:pt x="311" y="785"/>
                    <a:pt x="329" y="803"/>
                  </a:cubicBezTo>
                  <a:cubicBezTo>
                    <a:pt x="335" y="809"/>
                    <a:pt x="348" y="822"/>
                    <a:pt x="348" y="822"/>
                  </a:cubicBezTo>
                  <a:cubicBezTo>
                    <a:pt x="358" y="851"/>
                    <a:pt x="386" y="970"/>
                    <a:pt x="403" y="995"/>
                  </a:cubicBezTo>
                  <a:cubicBezTo>
                    <a:pt x="423" y="1025"/>
                    <a:pt x="479" y="1019"/>
                    <a:pt x="503" y="1023"/>
                  </a:cubicBezTo>
                  <a:cubicBezTo>
                    <a:pt x="567" y="1033"/>
                    <a:pt x="622" y="1059"/>
                    <a:pt x="686" y="1068"/>
                  </a:cubicBezTo>
                  <a:cubicBezTo>
                    <a:pt x="750" y="1111"/>
                    <a:pt x="820" y="1145"/>
                    <a:pt x="896" y="1160"/>
                  </a:cubicBezTo>
                  <a:cubicBezTo>
                    <a:pt x="1104" y="1154"/>
                    <a:pt x="1136" y="1208"/>
                    <a:pt x="1235" y="1114"/>
                  </a:cubicBezTo>
                  <a:cubicBezTo>
                    <a:pt x="1250" y="1068"/>
                    <a:pt x="1265" y="1023"/>
                    <a:pt x="1280" y="977"/>
                  </a:cubicBezTo>
                  <a:cubicBezTo>
                    <a:pt x="1292" y="941"/>
                    <a:pt x="1289" y="905"/>
                    <a:pt x="1317" y="876"/>
                  </a:cubicBezTo>
                  <a:cubicBezTo>
                    <a:pt x="1340" y="853"/>
                    <a:pt x="1367" y="836"/>
                    <a:pt x="1390" y="812"/>
                  </a:cubicBezTo>
                  <a:cubicBezTo>
                    <a:pt x="1297" y="682"/>
                    <a:pt x="1354" y="786"/>
                    <a:pt x="1335" y="520"/>
                  </a:cubicBezTo>
                  <a:cubicBezTo>
                    <a:pt x="1329" y="431"/>
                    <a:pt x="1257" y="368"/>
                    <a:pt x="1198" y="310"/>
                  </a:cubicBezTo>
                  <a:cubicBezTo>
                    <a:pt x="1160" y="272"/>
                    <a:pt x="1146" y="209"/>
                    <a:pt x="1107" y="172"/>
                  </a:cubicBezTo>
                  <a:cubicBezTo>
                    <a:pt x="1058" y="125"/>
                    <a:pt x="1128" y="191"/>
                    <a:pt x="1052" y="127"/>
                  </a:cubicBezTo>
                  <a:cubicBezTo>
                    <a:pt x="1022" y="102"/>
                    <a:pt x="1009" y="91"/>
                    <a:pt x="969" y="81"/>
                  </a:cubicBezTo>
                  <a:cubicBezTo>
                    <a:pt x="902" y="36"/>
                    <a:pt x="810" y="25"/>
                    <a:pt x="732" y="17"/>
                  </a:cubicBezTo>
                  <a:cubicBezTo>
                    <a:pt x="664" y="0"/>
                    <a:pt x="622" y="1"/>
                    <a:pt x="549" y="8"/>
                  </a:cubicBezTo>
                  <a:cubicBezTo>
                    <a:pt x="467" y="34"/>
                    <a:pt x="412" y="109"/>
                    <a:pt x="329" y="136"/>
                  </a:cubicBezTo>
                  <a:cubicBezTo>
                    <a:pt x="299" y="156"/>
                    <a:pt x="282" y="180"/>
                    <a:pt x="247" y="191"/>
                  </a:cubicBezTo>
                  <a:cubicBezTo>
                    <a:pt x="214" y="213"/>
                    <a:pt x="207" y="242"/>
                    <a:pt x="174" y="264"/>
                  </a:cubicBezTo>
                  <a:cubicBezTo>
                    <a:pt x="165" y="277"/>
                    <a:pt x="152" y="301"/>
                    <a:pt x="137" y="310"/>
                  </a:cubicBezTo>
                  <a:cubicBezTo>
                    <a:pt x="120" y="321"/>
                    <a:pt x="95" y="316"/>
                    <a:pt x="83" y="337"/>
                  </a:cubicBezTo>
                  <a:cubicBezTo>
                    <a:pt x="75" y="351"/>
                    <a:pt x="76" y="368"/>
                    <a:pt x="73" y="383"/>
                  </a:cubicBezTo>
                  <a:close/>
                </a:path>
              </a:pathLst>
            </a:custGeom>
            <a:gradFill rotWithShape="1">
              <a:gsLst>
                <a:gs pos="0">
                  <a:srgbClr val="764718">
                    <a:alpha val="75000"/>
                  </a:srgbClr>
                </a:gs>
                <a:gs pos="100000">
                  <a:srgbClr val="FF9933">
                    <a:alpha val="62999"/>
                  </a:srgbClr>
                </a:gs>
              </a:gsLst>
              <a:path path="rect">
                <a:fillToRect l="50000" t="50000" r="50000" b="50000"/>
              </a:path>
            </a:gra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86" name="Oval 69"/>
            <p:cNvSpPr>
              <a:spLocks noChangeArrowheads="1"/>
            </p:cNvSpPr>
            <p:nvPr/>
          </p:nvSpPr>
          <p:spPr bwMode="auto">
            <a:xfrm>
              <a:off x="2018" y="1706"/>
              <a:ext cx="181" cy="91"/>
            </a:xfrm>
            <a:prstGeom prst="ellipse">
              <a:avLst/>
            </a:prstGeom>
            <a:solidFill>
              <a:srgbClr val="000000"/>
            </a:solidFill>
            <a:ln w="9525">
              <a:solidFill>
                <a:schemeClr val="tx1"/>
              </a:solidFill>
              <a:round/>
              <a:headEnd/>
              <a:tailEnd/>
            </a:ln>
          </p:spPr>
          <p:txBody>
            <a:bodyPr wrap="none" anchor="ctr"/>
            <a:lstStyle/>
            <a:p>
              <a:pPr algn="ct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sp>
        <p:nvSpPr>
          <p:cNvPr id="882732" name="Oval 70"/>
          <p:cNvSpPr>
            <a:spLocks noChangeArrowheads="1"/>
          </p:cNvSpPr>
          <p:nvPr/>
        </p:nvSpPr>
        <p:spPr bwMode="auto">
          <a:xfrm>
            <a:off x="2339975" y="3716338"/>
            <a:ext cx="288925" cy="2159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nvGrpSpPr>
          <p:cNvPr id="12" name="Group 71"/>
          <p:cNvGrpSpPr>
            <a:grpSpLocks/>
          </p:cNvGrpSpPr>
          <p:nvPr/>
        </p:nvGrpSpPr>
        <p:grpSpPr bwMode="auto">
          <a:xfrm>
            <a:off x="6443663" y="2781300"/>
            <a:ext cx="1141412" cy="1327150"/>
            <a:chOff x="55" y="1676"/>
            <a:chExt cx="719" cy="836"/>
          </a:xfrm>
        </p:grpSpPr>
        <p:sp>
          <p:nvSpPr>
            <p:cNvPr id="882780" name="Freeform 72"/>
            <p:cNvSpPr>
              <a:spLocks/>
            </p:cNvSpPr>
            <p:nvPr/>
          </p:nvSpPr>
          <p:spPr bwMode="auto">
            <a:xfrm>
              <a:off x="249" y="2069"/>
              <a:ext cx="253" cy="261"/>
            </a:xfrm>
            <a:custGeom>
              <a:avLst/>
              <a:gdLst>
                <a:gd name="T0" fmla="*/ 141 w 253"/>
                <a:gd name="T1" fmla="*/ 61 h 261"/>
                <a:gd name="T2" fmla="*/ 214 w 253"/>
                <a:gd name="T3" fmla="*/ 24 h 261"/>
                <a:gd name="T4" fmla="*/ 242 w 253"/>
                <a:gd name="T5" fmla="*/ 6 h 261"/>
                <a:gd name="T6" fmla="*/ 187 w 253"/>
                <a:gd name="T7" fmla="*/ 15 h 261"/>
                <a:gd name="T8" fmla="*/ 196 w 253"/>
                <a:gd name="T9" fmla="*/ 52 h 261"/>
                <a:gd name="T10" fmla="*/ 214 w 253"/>
                <a:gd name="T11" fmla="*/ 106 h 261"/>
                <a:gd name="T12" fmla="*/ 168 w 253"/>
                <a:gd name="T13" fmla="*/ 152 h 261"/>
                <a:gd name="T14" fmla="*/ 123 w 253"/>
                <a:gd name="T15" fmla="*/ 143 h 261"/>
                <a:gd name="T16" fmla="*/ 77 w 253"/>
                <a:gd name="T17" fmla="*/ 88 h 261"/>
                <a:gd name="T18" fmla="*/ 168 w 253"/>
                <a:gd name="T19" fmla="*/ 79 h 261"/>
                <a:gd name="T20" fmla="*/ 187 w 253"/>
                <a:gd name="T21" fmla="*/ 61 h 261"/>
                <a:gd name="T22" fmla="*/ 141 w 253"/>
                <a:gd name="T23" fmla="*/ 61 h 2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3"/>
                <a:gd name="T37" fmla="*/ 0 h 261"/>
                <a:gd name="T38" fmla="*/ 253 w 253"/>
                <a:gd name="T39" fmla="*/ 261 h 2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3" h="261">
                  <a:moveTo>
                    <a:pt x="141" y="61"/>
                  </a:moveTo>
                  <a:cubicBezTo>
                    <a:pt x="169" y="52"/>
                    <a:pt x="188" y="37"/>
                    <a:pt x="214" y="24"/>
                  </a:cubicBezTo>
                  <a:cubicBezTo>
                    <a:pt x="224" y="19"/>
                    <a:pt x="253" y="10"/>
                    <a:pt x="242" y="6"/>
                  </a:cubicBezTo>
                  <a:cubicBezTo>
                    <a:pt x="224" y="0"/>
                    <a:pt x="205" y="12"/>
                    <a:pt x="187" y="15"/>
                  </a:cubicBezTo>
                  <a:cubicBezTo>
                    <a:pt x="190" y="27"/>
                    <a:pt x="192" y="40"/>
                    <a:pt x="196" y="52"/>
                  </a:cubicBezTo>
                  <a:cubicBezTo>
                    <a:pt x="201" y="70"/>
                    <a:pt x="214" y="106"/>
                    <a:pt x="214" y="106"/>
                  </a:cubicBezTo>
                  <a:cubicBezTo>
                    <a:pt x="197" y="261"/>
                    <a:pt x="221" y="174"/>
                    <a:pt x="168" y="152"/>
                  </a:cubicBezTo>
                  <a:cubicBezTo>
                    <a:pt x="154" y="146"/>
                    <a:pt x="138" y="146"/>
                    <a:pt x="123" y="143"/>
                  </a:cubicBezTo>
                  <a:cubicBezTo>
                    <a:pt x="109" y="130"/>
                    <a:pt x="0" y="62"/>
                    <a:pt x="77" y="88"/>
                  </a:cubicBezTo>
                  <a:cubicBezTo>
                    <a:pt x="107" y="85"/>
                    <a:pt x="138" y="86"/>
                    <a:pt x="168" y="79"/>
                  </a:cubicBezTo>
                  <a:cubicBezTo>
                    <a:pt x="176" y="77"/>
                    <a:pt x="194" y="66"/>
                    <a:pt x="187" y="61"/>
                  </a:cubicBezTo>
                  <a:cubicBezTo>
                    <a:pt x="174" y="52"/>
                    <a:pt x="156" y="61"/>
                    <a:pt x="141" y="61"/>
                  </a:cubicBezTo>
                  <a:close/>
                </a:path>
              </a:pathLst>
            </a:custGeom>
            <a:solidFill>
              <a:schemeClr val="accent1"/>
            </a:soli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81" name="Freeform 73"/>
            <p:cNvSpPr>
              <a:spLocks/>
            </p:cNvSpPr>
            <p:nvPr/>
          </p:nvSpPr>
          <p:spPr bwMode="auto">
            <a:xfrm>
              <a:off x="521" y="2251"/>
              <a:ext cx="253" cy="261"/>
            </a:xfrm>
            <a:custGeom>
              <a:avLst/>
              <a:gdLst>
                <a:gd name="T0" fmla="*/ 141 w 253"/>
                <a:gd name="T1" fmla="*/ 61 h 261"/>
                <a:gd name="T2" fmla="*/ 214 w 253"/>
                <a:gd name="T3" fmla="*/ 24 h 261"/>
                <a:gd name="T4" fmla="*/ 242 w 253"/>
                <a:gd name="T5" fmla="*/ 6 h 261"/>
                <a:gd name="T6" fmla="*/ 187 w 253"/>
                <a:gd name="T7" fmla="*/ 15 h 261"/>
                <a:gd name="T8" fmla="*/ 196 w 253"/>
                <a:gd name="T9" fmla="*/ 52 h 261"/>
                <a:gd name="T10" fmla="*/ 214 w 253"/>
                <a:gd name="T11" fmla="*/ 106 h 261"/>
                <a:gd name="T12" fmla="*/ 168 w 253"/>
                <a:gd name="T13" fmla="*/ 152 h 261"/>
                <a:gd name="T14" fmla="*/ 123 w 253"/>
                <a:gd name="T15" fmla="*/ 143 h 261"/>
                <a:gd name="T16" fmla="*/ 77 w 253"/>
                <a:gd name="T17" fmla="*/ 88 h 261"/>
                <a:gd name="T18" fmla="*/ 168 w 253"/>
                <a:gd name="T19" fmla="*/ 79 h 261"/>
                <a:gd name="T20" fmla="*/ 187 w 253"/>
                <a:gd name="T21" fmla="*/ 61 h 261"/>
                <a:gd name="T22" fmla="*/ 141 w 253"/>
                <a:gd name="T23" fmla="*/ 61 h 2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3"/>
                <a:gd name="T37" fmla="*/ 0 h 261"/>
                <a:gd name="T38" fmla="*/ 253 w 253"/>
                <a:gd name="T39" fmla="*/ 261 h 2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3" h="261">
                  <a:moveTo>
                    <a:pt x="141" y="61"/>
                  </a:moveTo>
                  <a:cubicBezTo>
                    <a:pt x="169" y="52"/>
                    <a:pt x="188" y="37"/>
                    <a:pt x="214" y="24"/>
                  </a:cubicBezTo>
                  <a:cubicBezTo>
                    <a:pt x="224" y="19"/>
                    <a:pt x="253" y="10"/>
                    <a:pt x="242" y="6"/>
                  </a:cubicBezTo>
                  <a:cubicBezTo>
                    <a:pt x="224" y="0"/>
                    <a:pt x="205" y="12"/>
                    <a:pt x="187" y="15"/>
                  </a:cubicBezTo>
                  <a:cubicBezTo>
                    <a:pt x="190" y="27"/>
                    <a:pt x="192" y="40"/>
                    <a:pt x="196" y="52"/>
                  </a:cubicBezTo>
                  <a:cubicBezTo>
                    <a:pt x="201" y="70"/>
                    <a:pt x="214" y="106"/>
                    <a:pt x="214" y="106"/>
                  </a:cubicBezTo>
                  <a:cubicBezTo>
                    <a:pt x="197" y="261"/>
                    <a:pt x="221" y="174"/>
                    <a:pt x="168" y="152"/>
                  </a:cubicBezTo>
                  <a:cubicBezTo>
                    <a:pt x="154" y="146"/>
                    <a:pt x="138" y="146"/>
                    <a:pt x="123" y="143"/>
                  </a:cubicBezTo>
                  <a:cubicBezTo>
                    <a:pt x="109" y="130"/>
                    <a:pt x="0" y="62"/>
                    <a:pt x="77" y="88"/>
                  </a:cubicBezTo>
                  <a:cubicBezTo>
                    <a:pt x="107" y="85"/>
                    <a:pt x="138" y="86"/>
                    <a:pt x="168" y="79"/>
                  </a:cubicBezTo>
                  <a:cubicBezTo>
                    <a:pt x="176" y="77"/>
                    <a:pt x="194" y="66"/>
                    <a:pt x="187" y="61"/>
                  </a:cubicBezTo>
                  <a:cubicBezTo>
                    <a:pt x="174" y="52"/>
                    <a:pt x="156" y="61"/>
                    <a:pt x="141" y="61"/>
                  </a:cubicBezTo>
                  <a:close/>
                </a:path>
              </a:pathLst>
            </a:custGeom>
            <a:solidFill>
              <a:schemeClr val="accent1"/>
            </a:soli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82" name="Freeform 74"/>
            <p:cNvSpPr>
              <a:spLocks/>
            </p:cNvSpPr>
            <p:nvPr/>
          </p:nvSpPr>
          <p:spPr bwMode="auto">
            <a:xfrm rot="-825770">
              <a:off x="249" y="1888"/>
              <a:ext cx="272" cy="317"/>
            </a:xfrm>
            <a:custGeom>
              <a:avLst/>
              <a:gdLst>
                <a:gd name="T0" fmla="*/ 515 w 253"/>
                <a:gd name="T1" fmla="*/ 2006 h 261"/>
                <a:gd name="T2" fmla="*/ 788 w 253"/>
                <a:gd name="T3" fmla="*/ 797 h 261"/>
                <a:gd name="T4" fmla="*/ 889 w 253"/>
                <a:gd name="T5" fmla="*/ 194 h 261"/>
                <a:gd name="T6" fmla="*/ 688 w 253"/>
                <a:gd name="T7" fmla="*/ 509 h 261"/>
                <a:gd name="T8" fmla="*/ 722 w 253"/>
                <a:gd name="T9" fmla="*/ 1734 h 261"/>
                <a:gd name="T10" fmla="*/ 788 w 253"/>
                <a:gd name="T11" fmla="*/ 3538 h 261"/>
                <a:gd name="T12" fmla="*/ 622 w 253"/>
                <a:gd name="T13" fmla="*/ 5038 h 261"/>
                <a:gd name="T14" fmla="*/ 449 w 253"/>
                <a:gd name="T15" fmla="*/ 4726 h 261"/>
                <a:gd name="T16" fmla="*/ 284 w 253"/>
                <a:gd name="T17" fmla="*/ 2921 h 261"/>
                <a:gd name="T18" fmla="*/ 622 w 253"/>
                <a:gd name="T19" fmla="*/ 2608 h 261"/>
                <a:gd name="T20" fmla="*/ 688 w 253"/>
                <a:gd name="T21" fmla="*/ 2006 h 261"/>
                <a:gd name="T22" fmla="*/ 515 w 253"/>
                <a:gd name="T23" fmla="*/ 2006 h 2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3"/>
                <a:gd name="T37" fmla="*/ 0 h 261"/>
                <a:gd name="T38" fmla="*/ 253 w 253"/>
                <a:gd name="T39" fmla="*/ 261 h 2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3" h="261">
                  <a:moveTo>
                    <a:pt x="141" y="61"/>
                  </a:moveTo>
                  <a:cubicBezTo>
                    <a:pt x="169" y="52"/>
                    <a:pt x="188" y="37"/>
                    <a:pt x="214" y="24"/>
                  </a:cubicBezTo>
                  <a:cubicBezTo>
                    <a:pt x="224" y="19"/>
                    <a:pt x="253" y="10"/>
                    <a:pt x="242" y="6"/>
                  </a:cubicBezTo>
                  <a:cubicBezTo>
                    <a:pt x="224" y="0"/>
                    <a:pt x="205" y="12"/>
                    <a:pt x="187" y="15"/>
                  </a:cubicBezTo>
                  <a:cubicBezTo>
                    <a:pt x="190" y="27"/>
                    <a:pt x="192" y="40"/>
                    <a:pt x="196" y="52"/>
                  </a:cubicBezTo>
                  <a:cubicBezTo>
                    <a:pt x="201" y="70"/>
                    <a:pt x="214" y="106"/>
                    <a:pt x="214" y="106"/>
                  </a:cubicBezTo>
                  <a:cubicBezTo>
                    <a:pt x="197" y="261"/>
                    <a:pt x="221" y="174"/>
                    <a:pt x="168" y="152"/>
                  </a:cubicBezTo>
                  <a:cubicBezTo>
                    <a:pt x="154" y="146"/>
                    <a:pt x="138" y="146"/>
                    <a:pt x="123" y="143"/>
                  </a:cubicBezTo>
                  <a:cubicBezTo>
                    <a:pt x="109" y="130"/>
                    <a:pt x="0" y="62"/>
                    <a:pt x="77" y="88"/>
                  </a:cubicBezTo>
                  <a:cubicBezTo>
                    <a:pt x="107" y="85"/>
                    <a:pt x="138" y="86"/>
                    <a:pt x="168" y="79"/>
                  </a:cubicBezTo>
                  <a:cubicBezTo>
                    <a:pt x="176" y="77"/>
                    <a:pt x="194" y="66"/>
                    <a:pt x="187" y="61"/>
                  </a:cubicBezTo>
                  <a:cubicBezTo>
                    <a:pt x="174" y="52"/>
                    <a:pt x="156" y="61"/>
                    <a:pt x="141" y="61"/>
                  </a:cubicBezTo>
                  <a:close/>
                </a:path>
              </a:pathLst>
            </a:custGeom>
            <a:solidFill>
              <a:schemeClr val="accent1"/>
            </a:soli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83" name="Freeform 75"/>
            <p:cNvSpPr>
              <a:spLocks/>
            </p:cNvSpPr>
            <p:nvPr/>
          </p:nvSpPr>
          <p:spPr bwMode="auto">
            <a:xfrm>
              <a:off x="476" y="1979"/>
              <a:ext cx="253" cy="261"/>
            </a:xfrm>
            <a:custGeom>
              <a:avLst/>
              <a:gdLst>
                <a:gd name="T0" fmla="*/ 141 w 253"/>
                <a:gd name="T1" fmla="*/ 61 h 261"/>
                <a:gd name="T2" fmla="*/ 214 w 253"/>
                <a:gd name="T3" fmla="*/ 24 h 261"/>
                <a:gd name="T4" fmla="*/ 242 w 253"/>
                <a:gd name="T5" fmla="*/ 6 h 261"/>
                <a:gd name="T6" fmla="*/ 187 w 253"/>
                <a:gd name="T7" fmla="*/ 15 h 261"/>
                <a:gd name="T8" fmla="*/ 196 w 253"/>
                <a:gd name="T9" fmla="*/ 52 h 261"/>
                <a:gd name="T10" fmla="*/ 214 w 253"/>
                <a:gd name="T11" fmla="*/ 106 h 261"/>
                <a:gd name="T12" fmla="*/ 168 w 253"/>
                <a:gd name="T13" fmla="*/ 152 h 261"/>
                <a:gd name="T14" fmla="*/ 123 w 253"/>
                <a:gd name="T15" fmla="*/ 143 h 261"/>
                <a:gd name="T16" fmla="*/ 77 w 253"/>
                <a:gd name="T17" fmla="*/ 88 h 261"/>
                <a:gd name="T18" fmla="*/ 168 w 253"/>
                <a:gd name="T19" fmla="*/ 79 h 261"/>
                <a:gd name="T20" fmla="*/ 187 w 253"/>
                <a:gd name="T21" fmla="*/ 61 h 261"/>
                <a:gd name="T22" fmla="*/ 141 w 253"/>
                <a:gd name="T23" fmla="*/ 61 h 26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3"/>
                <a:gd name="T37" fmla="*/ 0 h 261"/>
                <a:gd name="T38" fmla="*/ 253 w 253"/>
                <a:gd name="T39" fmla="*/ 261 h 26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3" h="261">
                  <a:moveTo>
                    <a:pt x="141" y="61"/>
                  </a:moveTo>
                  <a:cubicBezTo>
                    <a:pt x="169" y="52"/>
                    <a:pt x="188" y="37"/>
                    <a:pt x="214" y="24"/>
                  </a:cubicBezTo>
                  <a:cubicBezTo>
                    <a:pt x="224" y="19"/>
                    <a:pt x="253" y="10"/>
                    <a:pt x="242" y="6"/>
                  </a:cubicBezTo>
                  <a:cubicBezTo>
                    <a:pt x="224" y="0"/>
                    <a:pt x="205" y="12"/>
                    <a:pt x="187" y="15"/>
                  </a:cubicBezTo>
                  <a:cubicBezTo>
                    <a:pt x="190" y="27"/>
                    <a:pt x="192" y="40"/>
                    <a:pt x="196" y="52"/>
                  </a:cubicBezTo>
                  <a:cubicBezTo>
                    <a:pt x="201" y="70"/>
                    <a:pt x="214" y="106"/>
                    <a:pt x="214" y="106"/>
                  </a:cubicBezTo>
                  <a:cubicBezTo>
                    <a:pt x="197" y="261"/>
                    <a:pt x="221" y="174"/>
                    <a:pt x="168" y="152"/>
                  </a:cubicBezTo>
                  <a:cubicBezTo>
                    <a:pt x="154" y="146"/>
                    <a:pt x="138" y="146"/>
                    <a:pt x="123" y="143"/>
                  </a:cubicBezTo>
                  <a:cubicBezTo>
                    <a:pt x="109" y="130"/>
                    <a:pt x="0" y="62"/>
                    <a:pt x="77" y="88"/>
                  </a:cubicBezTo>
                  <a:cubicBezTo>
                    <a:pt x="107" y="85"/>
                    <a:pt x="138" y="86"/>
                    <a:pt x="168" y="79"/>
                  </a:cubicBezTo>
                  <a:cubicBezTo>
                    <a:pt x="176" y="77"/>
                    <a:pt x="194" y="66"/>
                    <a:pt x="187" y="61"/>
                  </a:cubicBezTo>
                  <a:cubicBezTo>
                    <a:pt x="174" y="52"/>
                    <a:pt x="156" y="61"/>
                    <a:pt x="141" y="61"/>
                  </a:cubicBezTo>
                  <a:close/>
                </a:path>
              </a:pathLst>
            </a:custGeom>
            <a:solidFill>
              <a:schemeClr val="accent1"/>
            </a:solid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84" name="Text Box 76"/>
            <p:cNvSpPr txBox="1">
              <a:spLocks noChangeArrowheads="1"/>
            </p:cNvSpPr>
            <p:nvPr/>
          </p:nvSpPr>
          <p:spPr bwMode="auto">
            <a:xfrm>
              <a:off x="55" y="1676"/>
              <a:ext cx="640" cy="174"/>
            </a:xfrm>
            <a:prstGeom prst="rect">
              <a:avLst/>
            </a:prstGeom>
            <a:no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PTH/PTHrp</a:t>
              </a:r>
            </a:p>
          </p:txBody>
        </p:sp>
      </p:grpSp>
      <p:grpSp>
        <p:nvGrpSpPr>
          <p:cNvPr id="13" name="Group 77"/>
          <p:cNvGrpSpPr>
            <a:grpSpLocks/>
          </p:cNvGrpSpPr>
          <p:nvPr/>
        </p:nvGrpSpPr>
        <p:grpSpPr bwMode="auto">
          <a:xfrm>
            <a:off x="6156325" y="3789363"/>
            <a:ext cx="1081088" cy="1227137"/>
            <a:chOff x="3878" y="2371"/>
            <a:chExt cx="681" cy="773"/>
          </a:xfrm>
        </p:grpSpPr>
        <p:sp>
          <p:nvSpPr>
            <p:cNvPr id="882776" name="AutoShape 78"/>
            <p:cNvSpPr>
              <a:spLocks noChangeArrowheads="1"/>
            </p:cNvSpPr>
            <p:nvPr/>
          </p:nvSpPr>
          <p:spPr bwMode="auto">
            <a:xfrm>
              <a:off x="4195" y="2614"/>
              <a:ext cx="182" cy="213"/>
            </a:xfrm>
            <a:prstGeom prst="irregularSeal2">
              <a:avLst/>
            </a:prstGeom>
            <a:solidFill>
              <a:srgbClr val="FC1010"/>
            </a:solidFill>
            <a:ln w="9525">
              <a:solidFill>
                <a:schemeClr val="tx1"/>
              </a:solidFill>
              <a:miter lim="800000"/>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77" name="AutoShape 79"/>
            <p:cNvSpPr>
              <a:spLocks noChangeArrowheads="1"/>
            </p:cNvSpPr>
            <p:nvPr/>
          </p:nvSpPr>
          <p:spPr bwMode="auto">
            <a:xfrm>
              <a:off x="4377" y="2750"/>
              <a:ext cx="182" cy="213"/>
            </a:xfrm>
            <a:prstGeom prst="irregularSeal2">
              <a:avLst/>
            </a:prstGeom>
            <a:solidFill>
              <a:srgbClr val="FC1010"/>
            </a:solidFill>
            <a:ln w="9525">
              <a:solidFill>
                <a:schemeClr val="tx1"/>
              </a:solidFill>
              <a:miter lim="800000"/>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78" name="AutoShape 80"/>
            <p:cNvSpPr>
              <a:spLocks noChangeArrowheads="1"/>
            </p:cNvSpPr>
            <p:nvPr/>
          </p:nvSpPr>
          <p:spPr bwMode="auto">
            <a:xfrm>
              <a:off x="4105" y="2931"/>
              <a:ext cx="182" cy="213"/>
            </a:xfrm>
            <a:prstGeom prst="irregularSeal2">
              <a:avLst/>
            </a:prstGeom>
            <a:solidFill>
              <a:srgbClr val="FC1010"/>
            </a:solidFill>
            <a:ln w="9525">
              <a:solidFill>
                <a:schemeClr val="tx1"/>
              </a:solidFill>
              <a:miter lim="800000"/>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79" name="Text Box 81"/>
            <p:cNvSpPr txBox="1">
              <a:spLocks noChangeArrowheads="1"/>
            </p:cNvSpPr>
            <p:nvPr/>
          </p:nvSpPr>
          <p:spPr bwMode="auto">
            <a:xfrm>
              <a:off x="3878" y="2371"/>
              <a:ext cx="607" cy="194"/>
            </a:xfrm>
            <a:prstGeom prst="rect">
              <a:avLst/>
            </a:prstGeom>
            <a:noFill/>
            <a:ln w="9525">
              <a:noFill/>
              <a:miter lim="800000"/>
              <a:headEnd/>
              <a:tailEnd/>
            </a:ln>
          </p:spPr>
          <p:txBody>
            <a:bodyPr wrap="none">
              <a:spAutoFit/>
            </a:bodyPr>
            <a:lstStyle/>
            <a:p>
              <a:pPr fontAlgn="base">
                <a:spcBef>
                  <a:spcPct val="0"/>
                </a:spcBef>
                <a:spcAft>
                  <a:spcPct val="0"/>
                </a:spcAft>
              </a:pPr>
              <a:r>
                <a:rPr lang="it-IT" sz="1400" b="1">
                  <a:solidFill>
                    <a:srgbClr val="000000"/>
                  </a:solidFill>
                  <a:latin typeface="Times New Roman" pitchFamily="18" charset="0"/>
                  <a:ea typeface="ＭＳ Ｐゴシック" pitchFamily="34" charset="-128"/>
                </a:rPr>
                <a:t>RANNKL</a:t>
              </a:r>
            </a:p>
          </p:txBody>
        </p:sp>
      </p:grpSp>
      <p:grpSp>
        <p:nvGrpSpPr>
          <p:cNvPr id="14" name="Group 82"/>
          <p:cNvGrpSpPr>
            <a:grpSpLocks/>
          </p:cNvGrpSpPr>
          <p:nvPr/>
        </p:nvGrpSpPr>
        <p:grpSpPr bwMode="auto">
          <a:xfrm>
            <a:off x="5148263" y="4221163"/>
            <a:ext cx="1296987" cy="936625"/>
            <a:chOff x="3243" y="2659"/>
            <a:chExt cx="817" cy="590"/>
          </a:xfrm>
        </p:grpSpPr>
        <p:grpSp>
          <p:nvGrpSpPr>
            <p:cNvPr id="15" name="Group 6"/>
            <p:cNvGrpSpPr>
              <a:grpSpLocks/>
            </p:cNvGrpSpPr>
            <p:nvPr/>
          </p:nvGrpSpPr>
          <p:grpSpPr bwMode="auto">
            <a:xfrm>
              <a:off x="3243" y="2659"/>
              <a:ext cx="817" cy="590"/>
              <a:chOff x="868" y="1240"/>
              <a:chExt cx="713" cy="869"/>
            </a:xfrm>
          </p:grpSpPr>
          <p:sp>
            <p:nvSpPr>
              <p:cNvPr id="882772" name="Freeform 7"/>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rgbClr val="FFFFFF"/>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73" name="Freeform 8"/>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rgbClr val="FFFFFF"/>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74" name="Freeform 9"/>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rgbClr val="FFFFFF"/>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75" name="Freeform 10"/>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rgbClr val="FFFFFF"/>
                </a:solidFill>
                <a:round/>
                <a:headEnd/>
                <a:tailEnd/>
              </a:ln>
            </p:spPr>
            <p:txBody>
              <a:bodyPr wrap="none" anchor="ct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sp>
          <p:nvSpPr>
            <p:cNvPr id="882771" name="Text Box 88"/>
            <p:cNvSpPr txBox="1">
              <a:spLocks noChangeArrowheads="1"/>
            </p:cNvSpPr>
            <p:nvPr/>
          </p:nvSpPr>
          <p:spPr bwMode="auto">
            <a:xfrm>
              <a:off x="3470" y="2659"/>
              <a:ext cx="401" cy="174"/>
            </a:xfrm>
            <a:prstGeom prst="rect">
              <a:avLst/>
            </a:prstGeom>
            <a:no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RANK</a:t>
              </a:r>
            </a:p>
          </p:txBody>
        </p:sp>
      </p:grpSp>
      <p:sp>
        <p:nvSpPr>
          <p:cNvPr id="1058905" name="Freeform 89"/>
          <p:cNvSpPr>
            <a:spLocks/>
          </p:cNvSpPr>
          <p:nvPr/>
        </p:nvSpPr>
        <p:spPr bwMode="auto">
          <a:xfrm>
            <a:off x="4932363" y="5157788"/>
            <a:ext cx="1727200" cy="565150"/>
          </a:xfrm>
          <a:custGeom>
            <a:avLst/>
            <a:gdLst>
              <a:gd name="T0" fmla="*/ 0 w 1088"/>
              <a:gd name="T1" fmla="*/ 2147483647 h 356"/>
              <a:gd name="T2" fmla="*/ 2147483647 w 1088"/>
              <a:gd name="T3" fmla="*/ 2147483647 h 356"/>
              <a:gd name="T4" fmla="*/ 2147483647 w 1088"/>
              <a:gd name="T5" fmla="*/ 2147483647 h 356"/>
              <a:gd name="T6" fmla="*/ 2147483647 w 1088"/>
              <a:gd name="T7" fmla="*/ 2147483647 h 356"/>
              <a:gd name="T8" fmla="*/ 2147483647 w 1088"/>
              <a:gd name="T9" fmla="*/ 2147483647 h 356"/>
              <a:gd name="T10" fmla="*/ 2147483647 w 1088"/>
              <a:gd name="T11" fmla="*/ 2147483647 h 356"/>
              <a:gd name="T12" fmla="*/ 2147483647 w 1088"/>
              <a:gd name="T13" fmla="*/ 2147483647 h 356"/>
              <a:gd name="T14" fmla="*/ 2147483647 w 1088"/>
              <a:gd name="T15" fmla="*/ 2147483647 h 356"/>
              <a:gd name="T16" fmla="*/ 2147483647 w 1088"/>
              <a:gd name="T17" fmla="*/ 2147483647 h 356"/>
              <a:gd name="T18" fmla="*/ 2147483647 w 1088"/>
              <a:gd name="T19" fmla="*/ 2147483647 h 356"/>
              <a:gd name="T20" fmla="*/ 2147483647 w 1088"/>
              <a:gd name="T21" fmla="*/ 2147483647 h 356"/>
              <a:gd name="T22" fmla="*/ 2147483647 w 1088"/>
              <a:gd name="T23" fmla="*/ 0 h 356"/>
              <a:gd name="T24" fmla="*/ 0 w 1088"/>
              <a:gd name="T25" fmla="*/ 2147483647 h 3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88"/>
              <a:gd name="T40" fmla="*/ 0 h 356"/>
              <a:gd name="T41" fmla="*/ 1088 w 1088"/>
              <a:gd name="T42" fmla="*/ 356 h 35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88" h="356">
                <a:moveTo>
                  <a:pt x="0" y="10"/>
                </a:moveTo>
                <a:cubicBezTo>
                  <a:pt x="24" y="46"/>
                  <a:pt x="52" y="62"/>
                  <a:pt x="82" y="92"/>
                </a:cubicBezTo>
                <a:cubicBezTo>
                  <a:pt x="108" y="118"/>
                  <a:pt x="123" y="144"/>
                  <a:pt x="155" y="165"/>
                </a:cubicBezTo>
                <a:cubicBezTo>
                  <a:pt x="178" y="199"/>
                  <a:pt x="203" y="233"/>
                  <a:pt x="237" y="256"/>
                </a:cubicBezTo>
                <a:cubicBezTo>
                  <a:pt x="258" y="297"/>
                  <a:pt x="268" y="306"/>
                  <a:pt x="311" y="320"/>
                </a:cubicBezTo>
                <a:cubicBezTo>
                  <a:pt x="345" y="356"/>
                  <a:pt x="729" y="322"/>
                  <a:pt x="786" y="320"/>
                </a:cubicBezTo>
                <a:cubicBezTo>
                  <a:pt x="798" y="317"/>
                  <a:pt x="836" y="309"/>
                  <a:pt x="850" y="302"/>
                </a:cubicBezTo>
                <a:cubicBezTo>
                  <a:pt x="867" y="293"/>
                  <a:pt x="877" y="272"/>
                  <a:pt x="896" y="266"/>
                </a:cubicBezTo>
                <a:cubicBezTo>
                  <a:pt x="919" y="259"/>
                  <a:pt x="945" y="259"/>
                  <a:pt x="969" y="256"/>
                </a:cubicBezTo>
                <a:cubicBezTo>
                  <a:pt x="1004" y="244"/>
                  <a:pt x="1034" y="219"/>
                  <a:pt x="1060" y="192"/>
                </a:cubicBezTo>
                <a:cubicBezTo>
                  <a:pt x="1082" y="129"/>
                  <a:pt x="1073" y="156"/>
                  <a:pt x="1088" y="110"/>
                </a:cubicBezTo>
                <a:cubicBezTo>
                  <a:pt x="1080" y="62"/>
                  <a:pt x="1076" y="39"/>
                  <a:pt x="1051" y="0"/>
                </a:cubicBezTo>
                <a:cubicBezTo>
                  <a:pt x="701" y="3"/>
                  <a:pt x="350" y="10"/>
                  <a:pt x="0" y="10"/>
                </a:cubicBezTo>
                <a:close/>
              </a:path>
            </a:pathLst>
          </a:custGeom>
          <a:solidFill>
            <a:schemeClr val="bg1"/>
          </a:solidFill>
          <a:ln w="9525">
            <a:solidFill>
              <a:schemeClr val="bg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1058906" name="Text Box 90"/>
          <p:cNvSpPr txBox="1">
            <a:spLocks noChangeArrowheads="1"/>
          </p:cNvSpPr>
          <p:nvPr/>
        </p:nvSpPr>
        <p:spPr bwMode="auto">
          <a:xfrm>
            <a:off x="5003800" y="5229225"/>
            <a:ext cx="1228725" cy="461963"/>
          </a:xfrm>
          <a:prstGeom prst="rect">
            <a:avLst/>
          </a:prstGeom>
          <a:no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MMP9</a:t>
            </a:r>
          </a:p>
          <a:p>
            <a:pPr fontAlgn="base">
              <a:spcBef>
                <a:spcPct val="0"/>
              </a:spcBef>
              <a:spcAft>
                <a:spcPct val="0"/>
              </a:spcAft>
            </a:pPr>
            <a:r>
              <a:rPr lang="it-IT" sz="1200" b="1">
                <a:solidFill>
                  <a:srgbClr val="000000"/>
                </a:solidFill>
                <a:latin typeface="Times New Roman" pitchFamily="18" charset="0"/>
                <a:ea typeface="ＭＳ Ｐゴシック" pitchFamily="34" charset="-128"/>
              </a:rPr>
              <a:t>CATHEPSIN K</a:t>
            </a:r>
          </a:p>
        </p:txBody>
      </p:sp>
      <p:sp>
        <p:nvSpPr>
          <p:cNvPr id="882738" name="Oval 91"/>
          <p:cNvSpPr>
            <a:spLocks noChangeArrowheads="1"/>
          </p:cNvSpPr>
          <p:nvPr/>
        </p:nvSpPr>
        <p:spPr bwMode="auto">
          <a:xfrm>
            <a:off x="5003800" y="5013325"/>
            <a:ext cx="71438" cy="71438"/>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1058908" name="Oval 92"/>
          <p:cNvSpPr>
            <a:spLocks noChangeArrowheads="1"/>
          </p:cNvSpPr>
          <p:nvPr/>
        </p:nvSpPr>
        <p:spPr bwMode="auto">
          <a:xfrm>
            <a:off x="5724525" y="5157788"/>
            <a:ext cx="71438" cy="71437"/>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1058909" name="Oval 93"/>
          <p:cNvSpPr>
            <a:spLocks noChangeArrowheads="1"/>
          </p:cNvSpPr>
          <p:nvPr/>
        </p:nvSpPr>
        <p:spPr bwMode="auto">
          <a:xfrm>
            <a:off x="4932363" y="4868863"/>
            <a:ext cx="71437" cy="71437"/>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1058910" name="Oval 94"/>
          <p:cNvSpPr>
            <a:spLocks noChangeArrowheads="1"/>
          </p:cNvSpPr>
          <p:nvPr/>
        </p:nvSpPr>
        <p:spPr bwMode="auto">
          <a:xfrm>
            <a:off x="5867400" y="5229225"/>
            <a:ext cx="71438" cy="71438"/>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1058911" name="Oval 95"/>
          <p:cNvSpPr>
            <a:spLocks noChangeArrowheads="1"/>
          </p:cNvSpPr>
          <p:nvPr/>
        </p:nvSpPr>
        <p:spPr bwMode="auto">
          <a:xfrm>
            <a:off x="5076825" y="4797425"/>
            <a:ext cx="71438" cy="71438"/>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1058912" name="Oval 96"/>
          <p:cNvSpPr>
            <a:spLocks noChangeArrowheads="1"/>
          </p:cNvSpPr>
          <p:nvPr/>
        </p:nvSpPr>
        <p:spPr bwMode="auto">
          <a:xfrm>
            <a:off x="5076825" y="5013325"/>
            <a:ext cx="71438" cy="71438"/>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44" name="Oval 97"/>
          <p:cNvSpPr>
            <a:spLocks noChangeArrowheads="1"/>
          </p:cNvSpPr>
          <p:nvPr/>
        </p:nvSpPr>
        <p:spPr bwMode="auto">
          <a:xfrm>
            <a:off x="5940425" y="5445125"/>
            <a:ext cx="71438" cy="71438"/>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1058914" name="Oval 98"/>
          <p:cNvSpPr>
            <a:spLocks noChangeArrowheads="1"/>
          </p:cNvSpPr>
          <p:nvPr/>
        </p:nvSpPr>
        <p:spPr bwMode="auto">
          <a:xfrm>
            <a:off x="6083300" y="5229225"/>
            <a:ext cx="71438" cy="71438"/>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1058915" name="Rectangle 99"/>
          <p:cNvSpPr>
            <a:spLocks noChangeArrowheads="1"/>
          </p:cNvSpPr>
          <p:nvPr/>
        </p:nvSpPr>
        <p:spPr bwMode="auto">
          <a:xfrm>
            <a:off x="2124075" y="4005263"/>
            <a:ext cx="576263" cy="215900"/>
          </a:xfrm>
          <a:prstGeom prst="rect">
            <a:avLst/>
          </a:prstGeom>
          <a:solidFill>
            <a:schemeClr val="bg1"/>
          </a:solidFill>
          <a:ln w="9525">
            <a:solidFill>
              <a:schemeClr val="bg1"/>
            </a:solidFill>
            <a:miter lim="800000"/>
            <a:headEnd/>
            <a:tailEnd/>
          </a:ln>
        </p:spPr>
        <p:txBody>
          <a:bodyPr wrap="none" anchor="ctr"/>
          <a:lstStyle/>
          <a:p>
            <a:pPr algn="ctr" fontAlgn="base">
              <a:spcBef>
                <a:spcPct val="0"/>
              </a:spcBef>
              <a:spcAft>
                <a:spcPct val="0"/>
              </a:spcAft>
            </a:pPr>
            <a:endParaRPr lang="it-IT" b="1">
              <a:solidFill>
                <a:srgbClr val="000000"/>
              </a:solidFill>
              <a:latin typeface="Times New Roman" pitchFamily="18" charset="0"/>
              <a:ea typeface="ＭＳ Ｐゴシック" pitchFamily="34" charset="-128"/>
            </a:endParaRPr>
          </a:p>
        </p:txBody>
      </p:sp>
      <p:sp>
        <p:nvSpPr>
          <p:cNvPr id="1058916" name="Rectangle 100"/>
          <p:cNvSpPr>
            <a:spLocks noChangeArrowheads="1"/>
          </p:cNvSpPr>
          <p:nvPr/>
        </p:nvSpPr>
        <p:spPr bwMode="auto">
          <a:xfrm>
            <a:off x="1763713" y="3789363"/>
            <a:ext cx="576262" cy="215900"/>
          </a:xfrm>
          <a:prstGeom prst="rect">
            <a:avLst/>
          </a:prstGeom>
          <a:solidFill>
            <a:schemeClr val="bg1"/>
          </a:solidFill>
          <a:ln w="9525">
            <a:solidFill>
              <a:schemeClr val="bg1"/>
            </a:solidFill>
            <a:miter lim="800000"/>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1058917" name="Rectangle 101"/>
          <p:cNvSpPr>
            <a:spLocks noChangeArrowheads="1"/>
          </p:cNvSpPr>
          <p:nvPr/>
        </p:nvSpPr>
        <p:spPr bwMode="auto">
          <a:xfrm>
            <a:off x="1476375" y="3860800"/>
            <a:ext cx="358775" cy="215900"/>
          </a:xfrm>
          <a:prstGeom prst="rect">
            <a:avLst/>
          </a:prstGeom>
          <a:solidFill>
            <a:schemeClr val="bg1"/>
          </a:solidFill>
          <a:ln w="9525">
            <a:solidFill>
              <a:schemeClr val="bg1"/>
            </a:solidFill>
            <a:miter lim="800000"/>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grpSp>
        <p:nvGrpSpPr>
          <p:cNvPr id="16" name="Group 102"/>
          <p:cNvGrpSpPr>
            <a:grpSpLocks/>
          </p:cNvGrpSpPr>
          <p:nvPr/>
        </p:nvGrpSpPr>
        <p:grpSpPr bwMode="auto">
          <a:xfrm>
            <a:off x="3563938" y="476250"/>
            <a:ext cx="2881312" cy="2016125"/>
            <a:chOff x="2245" y="300"/>
            <a:chExt cx="1815" cy="1270"/>
          </a:xfrm>
        </p:grpSpPr>
        <p:sp>
          <p:nvSpPr>
            <p:cNvPr id="882762" name="Oval 103"/>
            <p:cNvSpPr>
              <a:spLocks noChangeArrowheads="1"/>
            </p:cNvSpPr>
            <p:nvPr/>
          </p:nvSpPr>
          <p:spPr bwMode="auto">
            <a:xfrm>
              <a:off x="3379" y="1071"/>
              <a:ext cx="681" cy="499"/>
            </a:xfrm>
            <a:prstGeom prst="ellipse">
              <a:avLst/>
            </a:prstGeom>
            <a:gradFill rotWithShape="1">
              <a:gsLst>
                <a:gs pos="0">
                  <a:srgbClr val="FF9933"/>
                </a:gs>
                <a:gs pos="100000">
                  <a:srgbClr val="764718"/>
                </a:gs>
              </a:gsLst>
              <a:path path="shape">
                <a:fillToRect l="50000" t="50000" r="50000" b="50000"/>
              </a:path>
            </a:gra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63" name="Oval 104"/>
            <p:cNvSpPr>
              <a:spLocks noChangeArrowheads="1"/>
            </p:cNvSpPr>
            <p:nvPr/>
          </p:nvSpPr>
          <p:spPr bwMode="auto">
            <a:xfrm>
              <a:off x="3198" y="527"/>
              <a:ext cx="681" cy="499"/>
            </a:xfrm>
            <a:prstGeom prst="ellipse">
              <a:avLst/>
            </a:prstGeom>
            <a:gradFill rotWithShape="1">
              <a:gsLst>
                <a:gs pos="0">
                  <a:srgbClr val="FF9933"/>
                </a:gs>
                <a:gs pos="100000">
                  <a:srgbClr val="764718"/>
                </a:gs>
              </a:gsLst>
              <a:path path="shape">
                <a:fillToRect l="50000" t="50000" r="50000" b="50000"/>
              </a:path>
            </a:gra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64" name="Oval 105"/>
            <p:cNvSpPr>
              <a:spLocks noChangeArrowheads="1"/>
            </p:cNvSpPr>
            <p:nvPr/>
          </p:nvSpPr>
          <p:spPr bwMode="auto">
            <a:xfrm>
              <a:off x="2472" y="300"/>
              <a:ext cx="681" cy="499"/>
            </a:xfrm>
            <a:prstGeom prst="ellipse">
              <a:avLst/>
            </a:prstGeom>
            <a:gradFill rotWithShape="1">
              <a:gsLst>
                <a:gs pos="0">
                  <a:srgbClr val="FF9933"/>
                </a:gs>
                <a:gs pos="100000">
                  <a:srgbClr val="764718"/>
                </a:gs>
              </a:gsLst>
              <a:path path="shape">
                <a:fillToRect l="50000" t="50000" r="50000" b="50000"/>
              </a:path>
            </a:gra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65" name="Oval 106"/>
            <p:cNvSpPr>
              <a:spLocks noChangeArrowheads="1"/>
            </p:cNvSpPr>
            <p:nvPr/>
          </p:nvSpPr>
          <p:spPr bwMode="auto">
            <a:xfrm>
              <a:off x="2290" y="890"/>
              <a:ext cx="681" cy="499"/>
            </a:xfrm>
            <a:prstGeom prst="ellipse">
              <a:avLst/>
            </a:prstGeom>
            <a:gradFill rotWithShape="1">
              <a:gsLst>
                <a:gs pos="0">
                  <a:srgbClr val="FF9933"/>
                </a:gs>
                <a:gs pos="100000">
                  <a:srgbClr val="764718"/>
                </a:gs>
              </a:gsLst>
              <a:path path="shape">
                <a:fillToRect l="50000" t="50000" r="50000" b="50000"/>
              </a:path>
            </a:gra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66" name="Line 107"/>
            <p:cNvSpPr>
              <a:spLocks noChangeShapeType="1"/>
            </p:cNvSpPr>
            <p:nvPr/>
          </p:nvSpPr>
          <p:spPr bwMode="auto">
            <a:xfrm flipV="1">
              <a:off x="2245" y="1344"/>
              <a:ext cx="181" cy="45"/>
            </a:xfrm>
            <a:prstGeom prst="line">
              <a:avLst/>
            </a:prstGeom>
            <a:noFill/>
            <a:ln w="9525">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67" name="Line 108"/>
            <p:cNvSpPr>
              <a:spLocks noChangeShapeType="1"/>
            </p:cNvSpPr>
            <p:nvPr/>
          </p:nvSpPr>
          <p:spPr bwMode="auto">
            <a:xfrm flipV="1">
              <a:off x="2517" y="754"/>
              <a:ext cx="0" cy="91"/>
            </a:xfrm>
            <a:prstGeom prst="line">
              <a:avLst/>
            </a:prstGeom>
            <a:noFill/>
            <a:ln w="9525">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68" name="Line 109"/>
            <p:cNvSpPr>
              <a:spLocks noChangeShapeType="1"/>
            </p:cNvSpPr>
            <p:nvPr/>
          </p:nvSpPr>
          <p:spPr bwMode="auto">
            <a:xfrm flipV="1">
              <a:off x="2880" y="845"/>
              <a:ext cx="272" cy="90"/>
            </a:xfrm>
            <a:prstGeom prst="line">
              <a:avLst/>
            </a:prstGeom>
            <a:noFill/>
            <a:ln w="9525">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69" name="Line 110"/>
            <p:cNvSpPr>
              <a:spLocks noChangeShapeType="1"/>
            </p:cNvSpPr>
            <p:nvPr/>
          </p:nvSpPr>
          <p:spPr bwMode="auto">
            <a:xfrm>
              <a:off x="3016" y="1162"/>
              <a:ext cx="363" cy="0"/>
            </a:xfrm>
            <a:prstGeom prst="line">
              <a:avLst/>
            </a:prstGeom>
            <a:noFill/>
            <a:ln w="9525">
              <a:solidFill>
                <a:schemeClr val="tx1"/>
              </a:solidFill>
              <a:round/>
              <a:headEnd/>
              <a:tailEnd type="triangle" w="med" len="me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grpSp>
      <p:sp>
        <p:nvSpPr>
          <p:cNvPr id="882750" name="Oval 111"/>
          <p:cNvSpPr>
            <a:spLocks noChangeArrowheads="1"/>
          </p:cNvSpPr>
          <p:nvPr/>
        </p:nvSpPr>
        <p:spPr bwMode="auto">
          <a:xfrm>
            <a:off x="3419475"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51" name="Oval 112"/>
          <p:cNvSpPr>
            <a:spLocks noChangeArrowheads="1"/>
          </p:cNvSpPr>
          <p:nvPr/>
        </p:nvSpPr>
        <p:spPr bwMode="auto">
          <a:xfrm>
            <a:off x="4932363"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52" name="Oval 113"/>
          <p:cNvSpPr>
            <a:spLocks noChangeArrowheads="1"/>
          </p:cNvSpPr>
          <p:nvPr/>
        </p:nvSpPr>
        <p:spPr bwMode="auto">
          <a:xfrm>
            <a:off x="5508625"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53" name="Oval 114"/>
          <p:cNvSpPr>
            <a:spLocks noChangeArrowheads="1"/>
          </p:cNvSpPr>
          <p:nvPr/>
        </p:nvSpPr>
        <p:spPr bwMode="auto">
          <a:xfrm>
            <a:off x="6156325"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54" name="Oval 115"/>
          <p:cNvSpPr>
            <a:spLocks noChangeArrowheads="1"/>
          </p:cNvSpPr>
          <p:nvPr/>
        </p:nvSpPr>
        <p:spPr bwMode="auto">
          <a:xfrm>
            <a:off x="6877050"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55" name="Oval 116"/>
          <p:cNvSpPr>
            <a:spLocks noChangeArrowheads="1"/>
          </p:cNvSpPr>
          <p:nvPr/>
        </p:nvSpPr>
        <p:spPr bwMode="auto">
          <a:xfrm>
            <a:off x="7524750" y="549275"/>
            <a:ext cx="609600" cy="76200"/>
          </a:xfrm>
          <a:prstGeom prst="ellipse">
            <a:avLst/>
          </a:prstGeom>
          <a:solidFill>
            <a:schemeClr val="accent1"/>
          </a:solidFill>
          <a:ln w="9525">
            <a:solidFill>
              <a:schemeClr val="tx1"/>
            </a:solidFill>
            <a:round/>
            <a:headEnd/>
            <a:tailEnd/>
          </a:ln>
        </p:spPr>
        <p:txBody>
          <a:bodyPr wrap="none" anchor="ctr"/>
          <a:lstStyle/>
          <a:p>
            <a:pPr fontAlgn="base">
              <a:spcBef>
                <a:spcPct val="0"/>
              </a:spcBef>
              <a:spcAft>
                <a:spcPct val="0"/>
              </a:spcAft>
            </a:pPr>
            <a:endParaRPr lang="it-IT" sz="1200" b="1">
              <a:solidFill>
                <a:srgbClr val="000000"/>
              </a:solidFill>
              <a:latin typeface="Times New Roman" pitchFamily="18" charset="0"/>
              <a:ea typeface="ＭＳ Ｐゴシック" pitchFamily="34" charset="-128"/>
            </a:endParaRPr>
          </a:p>
        </p:txBody>
      </p:sp>
      <p:sp>
        <p:nvSpPr>
          <p:cNvPr id="882756" name="Text Box 117"/>
          <p:cNvSpPr txBox="1">
            <a:spLocks noChangeArrowheads="1"/>
          </p:cNvSpPr>
          <p:nvPr/>
        </p:nvSpPr>
        <p:spPr bwMode="auto">
          <a:xfrm rot="5400000">
            <a:off x="7841456" y="1834357"/>
            <a:ext cx="2238375" cy="369888"/>
          </a:xfrm>
          <a:prstGeom prst="rect">
            <a:avLst/>
          </a:prstGeom>
          <a:noFill/>
          <a:ln w="9525">
            <a:noFill/>
            <a:miter lim="800000"/>
            <a:headEnd/>
            <a:tailEnd/>
          </a:ln>
        </p:spPr>
        <p:txBody>
          <a:bodyPr wrap="none">
            <a:spAutoFit/>
          </a:bodyPr>
          <a:lstStyle/>
          <a:p>
            <a:pPr fontAlgn="base">
              <a:spcBef>
                <a:spcPct val="0"/>
              </a:spcBef>
              <a:spcAft>
                <a:spcPct val="0"/>
              </a:spcAft>
            </a:pPr>
            <a:r>
              <a:rPr lang="it-IT" b="1">
                <a:solidFill>
                  <a:srgbClr val="000000"/>
                </a:solidFill>
                <a:latin typeface="Times New Roman" pitchFamily="18" charset="0"/>
                <a:ea typeface="ＭＳ Ｐゴシック" pitchFamily="34" charset="-128"/>
              </a:rPr>
              <a:t>Bone Marrow  Niche</a:t>
            </a:r>
          </a:p>
        </p:txBody>
      </p:sp>
      <p:sp>
        <p:nvSpPr>
          <p:cNvPr id="882757" name="Text Box 118"/>
          <p:cNvSpPr txBox="1">
            <a:spLocks noChangeArrowheads="1"/>
          </p:cNvSpPr>
          <p:nvPr/>
        </p:nvSpPr>
        <p:spPr bwMode="auto">
          <a:xfrm rot="5400000">
            <a:off x="7750175" y="5464175"/>
            <a:ext cx="2420938" cy="369888"/>
          </a:xfrm>
          <a:prstGeom prst="rect">
            <a:avLst/>
          </a:prstGeom>
          <a:noFill/>
          <a:ln w="9525">
            <a:noFill/>
            <a:miter lim="800000"/>
            <a:headEnd/>
            <a:tailEnd/>
          </a:ln>
        </p:spPr>
        <p:txBody>
          <a:bodyPr>
            <a:spAutoFit/>
          </a:bodyPr>
          <a:lstStyle/>
          <a:p>
            <a:pPr fontAlgn="base">
              <a:spcBef>
                <a:spcPct val="0"/>
              </a:spcBef>
              <a:spcAft>
                <a:spcPct val="0"/>
              </a:spcAft>
            </a:pPr>
            <a:r>
              <a:rPr lang="it-IT" b="1">
                <a:solidFill>
                  <a:srgbClr val="000000"/>
                </a:solidFill>
                <a:latin typeface="Times New Roman" pitchFamily="18" charset="0"/>
                <a:ea typeface="ＭＳ Ｐゴシック" pitchFamily="34" charset="-128"/>
              </a:rPr>
              <a:t>Endosteal niche</a:t>
            </a:r>
          </a:p>
        </p:txBody>
      </p:sp>
      <p:sp>
        <p:nvSpPr>
          <p:cNvPr id="882759" name="Freeform 120"/>
          <p:cNvSpPr>
            <a:spLocks/>
          </p:cNvSpPr>
          <p:nvPr/>
        </p:nvSpPr>
        <p:spPr bwMode="auto">
          <a:xfrm>
            <a:off x="3708400" y="3284538"/>
            <a:ext cx="431800" cy="1223962"/>
          </a:xfrm>
          <a:custGeom>
            <a:avLst/>
            <a:gdLst>
              <a:gd name="T0" fmla="*/ 2147483647 w 883"/>
              <a:gd name="T1" fmla="*/ 2147483647 h 695"/>
              <a:gd name="T2" fmla="*/ 2147483647 w 883"/>
              <a:gd name="T3" fmla="*/ 2147483647 h 695"/>
              <a:gd name="T4" fmla="*/ 2147483647 w 883"/>
              <a:gd name="T5" fmla="*/ 2147483647 h 695"/>
              <a:gd name="T6" fmla="*/ 2147483647 w 883"/>
              <a:gd name="T7" fmla="*/ 2147483647 h 695"/>
              <a:gd name="T8" fmla="*/ 2147483647 w 883"/>
              <a:gd name="T9" fmla="*/ 2147483647 h 695"/>
              <a:gd name="T10" fmla="*/ 2147483647 w 883"/>
              <a:gd name="T11" fmla="*/ 2147483647 h 695"/>
              <a:gd name="T12" fmla="*/ 2147483647 w 883"/>
              <a:gd name="T13" fmla="*/ 2147483647 h 695"/>
              <a:gd name="T14" fmla="*/ 2147483647 w 883"/>
              <a:gd name="T15" fmla="*/ 2147483647 h 695"/>
              <a:gd name="T16" fmla="*/ 2147483647 w 883"/>
              <a:gd name="T17" fmla="*/ 2147483647 h 695"/>
              <a:gd name="T18" fmla="*/ 2147483647 w 883"/>
              <a:gd name="T19" fmla="*/ 2147483647 h 695"/>
              <a:gd name="T20" fmla="*/ 2147483647 w 883"/>
              <a:gd name="T21" fmla="*/ 0 h 695"/>
              <a:gd name="T22" fmla="*/ 2147483647 w 883"/>
              <a:gd name="T23" fmla="*/ 0 h 6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3"/>
              <a:gd name="T37" fmla="*/ 0 h 695"/>
              <a:gd name="T38" fmla="*/ 883 w 883"/>
              <a:gd name="T39" fmla="*/ 695 h 69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3" h="695">
                <a:moveTo>
                  <a:pt x="881" y="695"/>
                </a:moveTo>
                <a:cubicBezTo>
                  <a:pt x="878" y="674"/>
                  <a:pt x="883" y="649"/>
                  <a:pt x="871" y="631"/>
                </a:cubicBezTo>
                <a:cubicBezTo>
                  <a:pt x="859" y="613"/>
                  <a:pt x="817" y="595"/>
                  <a:pt x="817" y="595"/>
                </a:cubicBezTo>
                <a:cubicBezTo>
                  <a:pt x="796" y="535"/>
                  <a:pt x="833" y="493"/>
                  <a:pt x="798" y="430"/>
                </a:cubicBezTo>
                <a:cubicBezTo>
                  <a:pt x="782" y="400"/>
                  <a:pt x="707" y="384"/>
                  <a:pt x="707" y="384"/>
                </a:cubicBezTo>
                <a:cubicBezTo>
                  <a:pt x="687" y="323"/>
                  <a:pt x="628" y="303"/>
                  <a:pt x="570" y="284"/>
                </a:cubicBezTo>
                <a:cubicBezTo>
                  <a:pt x="489" y="203"/>
                  <a:pt x="581" y="240"/>
                  <a:pt x="359" y="229"/>
                </a:cubicBezTo>
                <a:cubicBezTo>
                  <a:pt x="343" y="218"/>
                  <a:pt x="313" y="180"/>
                  <a:pt x="295" y="174"/>
                </a:cubicBezTo>
                <a:cubicBezTo>
                  <a:pt x="275" y="167"/>
                  <a:pt x="252" y="168"/>
                  <a:pt x="231" y="165"/>
                </a:cubicBezTo>
                <a:cubicBezTo>
                  <a:pt x="206" y="148"/>
                  <a:pt x="189" y="130"/>
                  <a:pt x="167" y="110"/>
                </a:cubicBezTo>
                <a:cubicBezTo>
                  <a:pt x="145" y="43"/>
                  <a:pt x="96" y="16"/>
                  <a:pt x="30" y="0"/>
                </a:cubicBezTo>
                <a:cubicBezTo>
                  <a:pt x="0" y="10"/>
                  <a:pt x="3" y="18"/>
                  <a:pt x="3" y="0"/>
                </a:cubicBezTo>
              </a:path>
            </a:pathLst>
          </a:custGeom>
          <a:noFill/>
          <a:ln w="12700" cap="flat" cmpd="sng">
            <a:solidFill>
              <a:schemeClr val="tx1"/>
            </a:solidFill>
            <a:prstDash val="sysDot"/>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1058937" name="Freeform 121"/>
          <p:cNvSpPr>
            <a:spLocks/>
          </p:cNvSpPr>
          <p:nvPr/>
        </p:nvSpPr>
        <p:spPr bwMode="auto">
          <a:xfrm>
            <a:off x="2916238" y="3429000"/>
            <a:ext cx="563562" cy="522288"/>
          </a:xfrm>
          <a:custGeom>
            <a:avLst/>
            <a:gdLst>
              <a:gd name="T0" fmla="*/ 2147483647 w 355"/>
              <a:gd name="T1" fmla="*/ 2147483647 h 329"/>
              <a:gd name="T2" fmla="*/ 2147483647 w 355"/>
              <a:gd name="T3" fmla="*/ 2147483647 h 329"/>
              <a:gd name="T4" fmla="*/ 2147483647 w 355"/>
              <a:gd name="T5" fmla="*/ 2147483647 h 329"/>
              <a:gd name="T6" fmla="*/ 2147483647 w 355"/>
              <a:gd name="T7" fmla="*/ 2147483647 h 329"/>
              <a:gd name="T8" fmla="*/ 2147483647 w 355"/>
              <a:gd name="T9" fmla="*/ 2147483647 h 329"/>
              <a:gd name="T10" fmla="*/ 2147483647 w 355"/>
              <a:gd name="T11" fmla="*/ 2147483647 h 329"/>
              <a:gd name="T12" fmla="*/ 2147483647 w 355"/>
              <a:gd name="T13" fmla="*/ 2147483647 h 329"/>
              <a:gd name="T14" fmla="*/ 2147483647 w 355"/>
              <a:gd name="T15" fmla="*/ 2147483647 h 329"/>
              <a:gd name="T16" fmla="*/ 2147483647 w 355"/>
              <a:gd name="T17" fmla="*/ 2147483647 h 3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5"/>
              <a:gd name="T28" fmla="*/ 0 h 329"/>
              <a:gd name="T29" fmla="*/ 355 w 355"/>
              <a:gd name="T30" fmla="*/ 329 h 3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5" h="329">
                <a:moveTo>
                  <a:pt x="145" y="28"/>
                </a:moveTo>
                <a:cubicBezTo>
                  <a:pt x="264" y="35"/>
                  <a:pt x="287" y="20"/>
                  <a:pt x="355" y="92"/>
                </a:cubicBezTo>
                <a:cubicBezTo>
                  <a:pt x="344" y="161"/>
                  <a:pt x="341" y="219"/>
                  <a:pt x="264" y="238"/>
                </a:cubicBezTo>
                <a:cubicBezTo>
                  <a:pt x="247" y="290"/>
                  <a:pt x="201" y="293"/>
                  <a:pt x="163" y="329"/>
                </a:cubicBezTo>
                <a:cubicBezTo>
                  <a:pt x="123" y="326"/>
                  <a:pt x="83" y="327"/>
                  <a:pt x="44" y="320"/>
                </a:cubicBezTo>
                <a:cubicBezTo>
                  <a:pt x="33" y="318"/>
                  <a:pt x="20" y="313"/>
                  <a:pt x="17" y="302"/>
                </a:cubicBezTo>
                <a:cubicBezTo>
                  <a:pt x="0" y="235"/>
                  <a:pt x="69" y="186"/>
                  <a:pt x="108" y="147"/>
                </a:cubicBezTo>
                <a:cubicBezTo>
                  <a:pt x="130" y="125"/>
                  <a:pt x="163" y="73"/>
                  <a:pt x="163" y="73"/>
                </a:cubicBezTo>
                <a:cubicBezTo>
                  <a:pt x="144" y="16"/>
                  <a:pt x="145" y="0"/>
                  <a:pt x="145" y="28"/>
                </a:cubicBezTo>
                <a:close/>
              </a:path>
            </a:pathLst>
          </a:custGeom>
          <a:solidFill>
            <a:schemeClr val="bg1"/>
          </a:solidFill>
          <a:ln w="9525">
            <a:solidFill>
              <a:schemeClr val="bg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82761" name="Text Box 122"/>
          <p:cNvSpPr txBox="1">
            <a:spLocks noChangeArrowheads="1"/>
          </p:cNvSpPr>
          <p:nvPr/>
        </p:nvSpPr>
        <p:spPr bwMode="auto">
          <a:xfrm>
            <a:off x="447675" y="6261100"/>
            <a:ext cx="620713" cy="276225"/>
          </a:xfrm>
          <a:prstGeom prst="rect">
            <a:avLst/>
          </a:prstGeom>
          <a:noFill/>
          <a:ln w="9525">
            <a:noFill/>
            <a:miter lim="800000"/>
            <a:headEnd/>
            <a:tailEnd/>
          </a:ln>
        </p:spPr>
        <p:txBody>
          <a:bodyPr wrap="none">
            <a:spAutoFit/>
          </a:bodyPr>
          <a:lstStyle/>
          <a:p>
            <a:pPr fontAlgn="base">
              <a:spcBef>
                <a:spcPct val="0"/>
              </a:spcBef>
              <a:spcAft>
                <a:spcPct val="0"/>
              </a:spcAft>
            </a:pPr>
            <a:r>
              <a:rPr lang="it-IT" sz="1200" b="1">
                <a:solidFill>
                  <a:srgbClr val="000000"/>
                </a:solidFill>
                <a:latin typeface="Times New Roman" pitchFamily="18" charset="0"/>
                <a:ea typeface="ＭＳ Ｐゴシック" pitchFamily="34" charset="-128"/>
              </a:rPr>
              <a:t>BONE</a:t>
            </a:r>
          </a:p>
        </p:txBody>
      </p:sp>
      <p:grpSp>
        <p:nvGrpSpPr>
          <p:cNvPr id="120" name="Gruppo 119"/>
          <p:cNvGrpSpPr/>
          <p:nvPr/>
        </p:nvGrpSpPr>
        <p:grpSpPr>
          <a:xfrm>
            <a:off x="683568" y="5301208"/>
            <a:ext cx="4228568" cy="909682"/>
            <a:chOff x="610791" y="4941168"/>
            <a:chExt cx="4228568" cy="909682"/>
          </a:xfrm>
        </p:grpSpPr>
        <p:grpSp>
          <p:nvGrpSpPr>
            <p:cNvPr id="121" name="Gruppo 64"/>
            <p:cNvGrpSpPr/>
            <p:nvPr/>
          </p:nvGrpSpPr>
          <p:grpSpPr>
            <a:xfrm>
              <a:off x="3779143" y="5085184"/>
              <a:ext cx="614289" cy="437338"/>
              <a:chOff x="3779912" y="5085184"/>
              <a:chExt cx="614289" cy="437338"/>
            </a:xfrm>
          </p:grpSpPr>
          <p:sp>
            <p:nvSpPr>
              <p:cNvPr id="147" name="Ovale 146"/>
              <p:cNvSpPr/>
              <p:nvPr/>
            </p:nvSpPr>
            <p:spPr>
              <a:xfrm>
                <a:off x="3995936" y="530120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8" name="Gruppo 63"/>
              <p:cNvGrpSpPr/>
              <p:nvPr/>
            </p:nvGrpSpPr>
            <p:grpSpPr>
              <a:xfrm>
                <a:off x="3779912" y="5085184"/>
                <a:ext cx="614289" cy="437338"/>
                <a:chOff x="5364480" y="5852160"/>
                <a:chExt cx="614289" cy="437338"/>
              </a:xfrm>
            </p:grpSpPr>
            <p:sp>
              <p:nvSpPr>
                <p:cNvPr id="149" name="Figura a mano libera 148"/>
                <p:cNvSpPr/>
                <p:nvPr/>
              </p:nvSpPr>
              <p:spPr>
                <a:xfrm>
                  <a:off x="5364480" y="5852160"/>
                  <a:ext cx="614289" cy="437338"/>
                </a:xfrm>
                <a:custGeom>
                  <a:avLst/>
                  <a:gdLst>
                    <a:gd name="connsiteX0" fmla="*/ 37514 w 614289"/>
                    <a:gd name="connsiteY0" fmla="*/ 239151 h 437338"/>
                    <a:gd name="connsiteX1" fmla="*/ 79717 w 614289"/>
                    <a:gd name="connsiteY1" fmla="*/ 225083 h 437338"/>
                    <a:gd name="connsiteX2" fmla="*/ 135988 w 614289"/>
                    <a:gd name="connsiteY2" fmla="*/ 84406 h 437338"/>
                    <a:gd name="connsiteX3" fmla="*/ 150055 w 614289"/>
                    <a:gd name="connsiteY3" fmla="*/ 42203 h 437338"/>
                    <a:gd name="connsiteX4" fmla="*/ 220394 w 614289"/>
                    <a:gd name="connsiteY4" fmla="*/ 0 h 437338"/>
                    <a:gd name="connsiteX5" fmla="*/ 304800 w 614289"/>
                    <a:gd name="connsiteY5" fmla="*/ 14068 h 437338"/>
                    <a:gd name="connsiteX6" fmla="*/ 347003 w 614289"/>
                    <a:gd name="connsiteY6" fmla="*/ 42203 h 437338"/>
                    <a:gd name="connsiteX7" fmla="*/ 501748 w 614289"/>
                    <a:gd name="connsiteY7" fmla="*/ 56271 h 437338"/>
                    <a:gd name="connsiteX8" fmla="*/ 586154 w 614289"/>
                    <a:gd name="connsiteY8" fmla="*/ 98474 h 437338"/>
                    <a:gd name="connsiteX9" fmla="*/ 600222 w 614289"/>
                    <a:gd name="connsiteY9" fmla="*/ 140677 h 437338"/>
                    <a:gd name="connsiteX10" fmla="*/ 586154 w 614289"/>
                    <a:gd name="connsiteY10" fmla="*/ 239151 h 437338"/>
                    <a:gd name="connsiteX11" fmla="*/ 614289 w 614289"/>
                    <a:gd name="connsiteY11" fmla="*/ 379828 h 437338"/>
                    <a:gd name="connsiteX12" fmla="*/ 375138 w 614289"/>
                    <a:gd name="connsiteY12" fmla="*/ 393895 h 437338"/>
                    <a:gd name="connsiteX13" fmla="*/ 332935 w 614289"/>
                    <a:gd name="connsiteY13" fmla="*/ 309489 h 437338"/>
                    <a:gd name="connsiteX14" fmla="*/ 290732 w 614289"/>
                    <a:gd name="connsiteY14" fmla="*/ 309489 h 437338"/>
                    <a:gd name="connsiteX15" fmla="*/ 248529 w 614289"/>
                    <a:gd name="connsiteY15" fmla="*/ 295422 h 437338"/>
                    <a:gd name="connsiteX16" fmla="*/ 135988 w 614289"/>
                    <a:gd name="connsiteY16" fmla="*/ 393895 h 437338"/>
                    <a:gd name="connsiteX17" fmla="*/ 65649 w 614289"/>
                    <a:gd name="connsiteY17" fmla="*/ 379828 h 437338"/>
                    <a:gd name="connsiteX18" fmla="*/ 51582 w 614289"/>
                    <a:gd name="connsiteY18" fmla="*/ 281354 h 437338"/>
                    <a:gd name="connsiteX19" fmla="*/ 37514 w 614289"/>
                    <a:gd name="connsiteY19" fmla="*/ 239151 h 437338"/>
                    <a:gd name="connsiteX20" fmla="*/ 9378 w 614289"/>
                    <a:gd name="connsiteY20" fmla="*/ 196948 h 437338"/>
                    <a:gd name="connsiteX21" fmla="*/ 65649 w 614289"/>
                    <a:gd name="connsiteY21" fmla="*/ 196948 h 43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4289" h="437338">
                      <a:moveTo>
                        <a:pt x="37514" y="239151"/>
                      </a:moveTo>
                      <a:cubicBezTo>
                        <a:pt x="51582" y="234462"/>
                        <a:pt x="69232" y="235569"/>
                        <a:pt x="79717" y="225083"/>
                      </a:cubicBezTo>
                      <a:cubicBezTo>
                        <a:pt x="100415" y="204385"/>
                        <a:pt x="130495" y="100885"/>
                        <a:pt x="135988" y="84406"/>
                      </a:cubicBezTo>
                      <a:cubicBezTo>
                        <a:pt x="140677" y="70338"/>
                        <a:pt x="139569" y="52688"/>
                        <a:pt x="150055" y="42203"/>
                      </a:cubicBezTo>
                      <a:cubicBezTo>
                        <a:pt x="188677" y="3583"/>
                        <a:pt x="165608" y="18262"/>
                        <a:pt x="220394" y="0"/>
                      </a:cubicBezTo>
                      <a:cubicBezTo>
                        <a:pt x="248529" y="4689"/>
                        <a:pt x="277740" y="5048"/>
                        <a:pt x="304800" y="14068"/>
                      </a:cubicBezTo>
                      <a:cubicBezTo>
                        <a:pt x="320840" y="19415"/>
                        <a:pt x="330471" y="38660"/>
                        <a:pt x="347003" y="42203"/>
                      </a:cubicBezTo>
                      <a:cubicBezTo>
                        <a:pt x="397648" y="53055"/>
                        <a:pt x="450166" y="51582"/>
                        <a:pt x="501748" y="56271"/>
                      </a:cubicBezTo>
                      <a:cubicBezTo>
                        <a:pt x="529552" y="65538"/>
                        <a:pt x="566319" y="73681"/>
                        <a:pt x="586154" y="98474"/>
                      </a:cubicBezTo>
                      <a:cubicBezTo>
                        <a:pt x="595417" y="110053"/>
                        <a:pt x="595533" y="126609"/>
                        <a:pt x="600222" y="140677"/>
                      </a:cubicBezTo>
                      <a:cubicBezTo>
                        <a:pt x="595533" y="173502"/>
                        <a:pt x="586154" y="205993"/>
                        <a:pt x="586154" y="239151"/>
                      </a:cubicBezTo>
                      <a:cubicBezTo>
                        <a:pt x="586154" y="303807"/>
                        <a:pt x="596966" y="327857"/>
                        <a:pt x="614289" y="379828"/>
                      </a:cubicBezTo>
                      <a:cubicBezTo>
                        <a:pt x="528023" y="437338"/>
                        <a:pt x="547298" y="436935"/>
                        <a:pt x="375138" y="393895"/>
                      </a:cubicBezTo>
                      <a:cubicBezTo>
                        <a:pt x="355306" y="388937"/>
                        <a:pt x="337853" y="324244"/>
                        <a:pt x="332935" y="309489"/>
                      </a:cubicBezTo>
                      <a:cubicBezTo>
                        <a:pt x="278866" y="390593"/>
                        <a:pt x="325678" y="344434"/>
                        <a:pt x="290732" y="309489"/>
                      </a:cubicBezTo>
                      <a:cubicBezTo>
                        <a:pt x="280247" y="299004"/>
                        <a:pt x="262597" y="300111"/>
                        <a:pt x="248529" y="295422"/>
                      </a:cubicBezTo>
                      <a:cubicBezTo>
                        <a:pt x="150055" y="361070"/>
                        <a:pt x="182880" y="323557"/>
                        <a:pt x="135988" y="393895"/>
                      </a:cubicBezTo>
                      <a:cubicBezTo>
                        <a:pt x="112542" y="389206"/>
                        <a:pt x="79995" y="398956"/>
                        <a:pt x="65649" y="379828"/>
                      </a:cubicBezTo>
                      <a:cubicBezTo>
                        <a:pt x="45754" y="353302"/>
                        <a:pt x="58085" y="313868"/>
                        <a:pt x="51582" y="281354"/>
                      </a:cubicBezTo>
                      <a:cubicBezTo>
                        <a:pt x="48674" y="266813"/>
                        <a:pt x="44146" y="252414"/>
                        <a:pt x="37514" y="239151"/>
                      </a:cubicBezTo>
                      <a:cubicBezTo>
                        <a:pt x="29953" y="224029"/>
                        <a:pt x="0" y="211016"/>
                        <a:pt x="9378" y="196948"/>
                      </a:cubicBezTo>
                      <a:cubicBezTo>
                        <a:pt x="19782" y="181341"/>
                        <a:pt x="46892" y="196948"/>
                        <a:pt x="65649" y="196948"/>
                      </a:cubicBezTo>
                    </a:path>
                  </a:pathLst>
                </a:custGeom>
                <a:solidFill>
                  <a:srgbClr val="FF00FF"/>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50" name="Ovale 149"/>
                <p:cNvSpPr/>
                <p:nvPr/>
              </p:nvSpPr>
              <p:spPr>
                <a:xfrm>
                  <a:off x="5580112" y="5949280"/>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1" name="Ovale 150"/>
                <p:cNvSpPr/>
                <p:nvPr/>
              </p:nvSpPr>
              <p:spPr>
                <a:xfrm>
                  <a:off x="5724128" y="602128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grpSp>
          <p:nvGrpSpPr>
            <p:cNvPr id="122" name="Gruppo 65"/>
            <p:cNvGrpSpPr/>
            <p:nvPr/>
          </p:nvGrpSpPr>
          <p:grpSpPr>
            <a:xfrm>
              <a:off x="2771031" y="5085184"/>
              <a:ext cx="614289" cy="437338"/>
              <a:chOff x="3779912" y="5085184"/>
              <a:chExt cx="614289" cy="437338"/>
            </a:xfrm>
          </p:grpSpPr>
          <p:sp>
            <p:nvSpPr>
              <p:cNvPr id="142" name="Ovale 141"/>
              <p:cNvSpPr/>
              <p:nvPr/>
            </p:nvSpPr>
            <p:spPr>
              <a:xfrm>
                <a:off x="3995936" y="530120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3" name="Gruppo 63"/>
              <p:cNvGrpSpPr/>
              <p:nvPr/>
            </p:nvGrpSpPr>
            <p:grpSpPr>
              <a:xfrm>
                <a:off x="3779912" y="5085184"/>
                <a:ext cx="614289" cy="437338"/>
                <a:chOff x="5364480" y="5852160"/>
                <a:chExt cx="614289" cy="437338"/>
              </a:xfrm>
            </p:grpSpPr>
            <p:sp>
              <p:nvSpPr>
                <p:cNvPr id="144" name="Figura a mano libera 143"/>
                <p:cNvSpPr/>
                <p:nvPr/>
              </p:nvSpPr>
              <p:spPr>
                <a:xfrm>
                  <a:off x="5364480" y="5852160"/>
                  <a:ext cx="614289" cy="437338"/>
                </a:xfrm>
                <a:custGeom>
                  <a:avLst/>
                  <a:gdLst>
                    <a:gd name="connsiteX0" fmla="*/ 37514 w 614289"/>
                    <a:gd name="connsiteY0" fmla="*/ 239151 h 437338"/>
                    <a:gd name="connsiteX1" fmla="*/ 79717 w 614289"/>
                    <a:gd name="connsiteY1" fmla="*/ 225083 h 437338"/>
                    <a:gd name="connsiteX2" fmla="*/ 135988 w 614289"/>
                    <a:gd name="connsiteY2" fmla="*/ 84406 h 437338"/>
                    <a:gd name="connsiteX3" fmla="*/ 150055 w 614289"/>
                    <a:gd name="connsiteY3" fmla="*/ 42203 h 437338"/>
                    <a:gd name="connsiteX4" fmla="*/ 220394 w 614289"/>
                    <a:gd name="connsiteY4" fmla="*/ 0 h 437338"/>
                    <a:gd name="connsiteX5" fmla="*/ 304800 w 614289"/>
                    <a:gd name="connsiteY5" fmla="*/ 14068 h 437338"/>
                    <a:gd name="connsiteX6" fmla="*/ 347003 w 614289"/>
                    <a:gd name="connsiteY6" fmla="*/ 42203 h 437338"/>
                    <a:gd name="connsiteX7" fmla="*/ 501748 w 614289"/>
                    <a:gd name="connsiteY7" fmla="*/ 56271 h 437338"/>
                    <a:gd name="connsiteX8" fmla="*/ 586154 w 614289"/>
                    <a:gd name="connsiteY8" fmla="*/ 98474 h 437338"/>
                    <a:gd name="connsiteX9" fmla="*/ 600222 w 614289"/>
                    <a:gd name="connsiteY9" fmla="*/ 140677 h 437338"/>
                    <a:gd name="connsiteX10" fmla="*/ 586154 w 614289"/>
                    <a:gd name="connsiteY10" fmla="*/ 239151 h 437338"/>
                    <a:gd name="connsiteX11" fmla="*/ 614289 w 614289"/>
                    <a:gd name="connsiteY11" fmla="*/ 379828 h 437338"/>
                    <a:gd name="connsiteX12" fmla="*/ 375138 w 614289"/>
                    <a:gd name="connsiteY12" fmla="*/ 393895 h 437338"/>
                    <a:gd name="connsiteX13" fmla="*/ 332935 w 614289"/>
                    <a:gd name="connsiteY13" fmla="*/ 309489 h 437338"/>
                    <a:gd name="connsiteX14" fmla="*/ 290732 w 614289"/>
                    <a:gd name="connsiteY14" fmla="*/ 309489 h 437338"/>
                    <a:gd name="connsiteX15" fmla="*/ 248529 w 614289"/>
                    <a:gd name="connsiteY15" fmla="*/ 295422 h 437338"/>
                    <a:gd name="connsiteX16" fmla="*/ 135988 w 614289"/>
                    <a:gd name="connsiteY16" fmla="*/ 393895 h 437338"/>
                    <a:gd name="connsiteX17" fmla="*/ 65649 w 614289"/>
                    <a:gd name="connsiteY17" fmla="*/ 379828 h 437338"/>
                    <a:gd name="connsiteX18" fmla="*/ 51582 w 614289"/>
                    <a:gd name="connsiteY18" fmla="*/ 281354 h 437338"/>
                    <a:gd name="connsiteX19" fmla="*/ 37514 w 614289"/>
                    <a:gd name="connsiteY19" fmla="*/ 239151 h 437338"/>
                    <a:gd name="connsiteX20" fmla="*/ 9378 w 614289"/>
                    <a:gd name="connsiteY20" fmla="*/ 196948 h 437338"/>
                    <a:gd name="connsiteX21" fmla="*/ 65649 w 614289"/>
                    <a:gd name="connsiteY21" fmla="*/ 196948 h 43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4289" h="437338">
                      <a:moveTo>
                        <a:pt x="37514" y="239151"/>
                      </a:moveTo>
                      <a:cubicBezTo>
                        <a:pt x="51582" y="234462"/>
                        <a:pt x="69232" y="235569"/>
                        <a:pt x="79717" y="225083"/>
                      </a:cubicBezTo>
                      <a:cubicBezTo>
                        <a:pt x="100415" y="204385"/>
                        <a:pt x="130495" y="100885"/>
                        <a:pt x="135988" y="84406"/>
                      </a:cubicBezTo>
                      <a:cubicBezTo>
                        <a:pt x="140677" y="70338"/>
                        <a:pt x="139569" y="52688"/>
                        <a:pt x="150055" y="42203"/>
                      </a:cubicBezTo>
                      <a:cubicBezTo>
                        <a:pt x="188677" y="3583"/>
                        <a:pt x="165608" y="18262"/>
                        <a:pt x="220394" y="0"/>
                      </a:cubicBezTo>
                      <a:cubicBezTo>
                        <a:pt x="248529" y="4689"/>
                        <a:pt x="277740" y="5048"/>
                        <a:pt x="304800" y="14068"/>
                      </a:cubicBezTo>
                      <a:cubicBezTo>
                        <a:pt x="320840" y="19415"/>
                        <a:pt x="330471" y="38660"/>
                        <a:pt x="347003" y="42203"/>
                      </a:cubicBezTo>
                      <a:cubicBezTo>
                        <a:pt x="397648" y="53055"/>
                        <a:pt x="450166" y="51582"/>
                        <a:pt x="501748" y="56271"/>
                      </a:cubicBezTo>
                      <a:cubicBezTo>
                        <a:pt x="529552" y="65538"/>
                        <a:pt x="566319" y="73681"/>
                        <a:pt x="586154" y="98474"/>
                      </a:cubicBezTo>
                      <a:cubicBezTo>
                        <a:pt x="595417" y="110053"/>
                        <a:pt x="595533" y="126609"/>
                        <a:pt x="600222" y="140677"/>
                      </a:cubicBezTo>
                      <a:cubicBezTo>
                        <a:pt x="595533" y="173502"/>
                        <a:pt x="586154" y="205993"/>
                        <a:pt x="586154" y="239151"/>
                      </a:cubicBezTo>
                      <a:cubicBezTo>
                        <a:pt x="586154" y="303807"/>
                        <a:pt x="596966" y="327857"/>
                        <a:pt x="614289" y="379828"/>
                      </a:cubicBezTo>
                      <a:cubicBezTo>
                        <a:pt x="528023" y="437338"/>
                        <a:pt x="547298" y="436935"/>
                        <a:pt x="375138" y="393895"/>
                      </a:cubicBezTo>
                      <a:cubicBezTo>
                        <a:pt x="355306" y="388937"/>
                        <a:pt x="337853" y="324244"/>
                        <a:pt x="332935" y="309489"/>
                      </a:cubicBezTo>
                      <a:cubicBezTo>
                        <a:pt x="278866" y="390593"/>
                        <a:pt x="325678" y="344434"/>
                        <a:pt x="290732" y="309489"/>
                      </a:cubicBezTo>
                      <a:cubicBezTo>
                        <a:pt x="280247" y="299004"/>
                        <a:pt x="262597" y="300111"/>
                        <a:pt x="248529" y="295422"/>
                      </a:cubicBezTo>
                      <a:cubicBezTo>
                        <a:pt x="150055" y="361070"/>
                        <a:pt x="182880" y="323557"/>
                        <a:pt x="135988" y="393895"/>
                      </a:cubicBezTo>
                      <a:cubicBezTo>
                        <a:pt x="112542" y="389206"/>
                        <a:pt x="79995" y="398956"/>
                        <a:pt x="65649" y="379828"/>
                      </a:cubicBezTo>
                      <a:cubicBezTo>
                        <a:pt x="45754" y="353302"/>
                        <a:pt x="58085" y="313868"/>
                        <a:pt x="51582" y="281354"/>
                      </a:cubicBezTo>
                      <a:cubicBezTo>
                        <a:pt x="48674" y="266813"/>
                        <a:pt x="44146" y="252414"/>
                        <a:pt x="37514" y="239151"/>
                      </a:cubicBezTo>
                      <a:cubicBezTo>
                        <a:pt x="29953" y="224029"/>
                        <a:pt x="0" y="211016"/>
                        <a:pt x="9378" y="196948"/>
                      </a:cubicBezTo>
                      <a:cubicBezTo>
                        <a:pt x="19782" y="181341"/>
                        <a:pt x="46892" y="196948"/>
                        <a:pt x="65649" y="196948"/>
                      </a:cubicBezTo>
                    </a:path>
                  </a:pathLst>
                </a:custGeom>
                <a:solidFill>
                  <a:srgbClr val="FF00FF"/>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45" name="Ovale 144"/>
                <p:cNvSpPr/>
                <p:nvPr/>
              </p:nvSpPr>
              <p:spPr>
                <a:xfrm>
                  <a:off x="5580112" y="5949280"/>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6" name="Ovale 145"/>
                <p:cNvSpPr/>
                <p:nvPr/>
              </p:nvSpPr>
              <p:spPr>
                <a:xfrm>
                  <a:off x="5724128" y="602128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grpSp>
          <p:nvGrpSpPr>
            <p:cNvPr id="123" name="Gruppo 71"/>
            <p:cNvGrpSpPr/>
            <p:nvPr/>
          </p:nvGrpSpPr>
          <p:grpSpPr>
            <a:xfrm>
              <a:off x="1762919" y="4941168"/>
              <a:ext cx="614289" cy="437338"/>
              <a:chOff x="3779912" y="5085184"/>
              <a:chExt cx="614289" cy="437338"/>
            </a:xfrm>
          </p:grpSpPr>
          <p:sp>
            <p:nvSpPr>
              <p:cNvPr id="137" name="Ovale 136"/>
              <p:cNvSpPr/>
              <p:nvPr/>
            </p:nvSpPr>
            <p:spPr>
              <a:xfrm>
                <a:off x="3995936" y="530120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38" name="Gruppo 63"/>
              <p:cNvGrpSpPr/>
              <p:nvPr/>
            </p:nvGrpSpPr>
            <p:grpSpPr>
              <a:xfrm>
                <a:off x="3779912" y="5085184"/>
                <a:ext cx="614289" cy="437338"/>
                <a:chOff x="5364480" y="5852160"/>
                <a:chExt cx="614289" cy="437338"/>
              </a:xfrm>
            </p:grpSpPr>
            <p:sp>
              <p:nvSpPr>
                <p:cNvPr id="139" name="Figura a mano libera 138"/>
                <p:cNvSpPr/>
                <p:nvPr/>
              </p:nvSpPr>
              <p:spPr>
                <a:xfrm>
                  <a:off x="5364480" y="5852160"/>
                  <a:ext cx="614289" cy="437338"/>
                </a:xfrm>
                <a:custGeom>
                  <a:avLst/>
                  <a:gdLst>
                    <a:gd name="connsiteX0" fmla="*/ 37514 w 614289"/>
                    <a:gd name="connsiteY0" fmla="*/ 239151 h 437338"/>
                    <a:gd name="connsiteX1" fmla="*/ 79717 w 614289"/>
                    <a:gd name="connsiteY1" fmla="*/ 225083 h 437338"/>
                    <a:gd name="connsiteX2" fmla="*/ 135988 w 614289"/>
                    <a:gd name="connsiteY2" fmla="*/ 84406 h 437338"/>
                    <a:gd name="connsiteX3" fmla="*/ 150055 w 614289"/>
                    <a:gd name="connsiteY3" fmla="*/ 42203 h 437338"/>
                    <a:gd name="connsiteX4" fmla="*/ 220394 w 614289"/>
                    <a:gd name="connsiteY4" fmla="*/ 0 h 437338"/>
                    <a:gd name="connsiteX5" fmla="*/ 304800 w 614289"/>
                    <a:gd name="connsiteY5" fmla="*/ 14068 h 437338"/>
                    <a:gd name="connsiteX6" fmla="*/ 347003 w 614289"/>
                    <a:gd name="connsiteY6" fmla="*/ 42203 h 437338"/>
                    <a:gd name="connsiteX7" fmla="*/ 501748 w 614289"/>
                    <a:gd name="connsiteY7" fmla="*/ 56271 h 437338"/>
                    <a:gd name="connsiteX8" fmla="*/ 586154 w 614289"/>
                    <a:gd name="connsiteY8" fmla="*/ 98474 h 437338"/>
                    <a:gd name="connsiteX9" fmla="*/ 600222 w 614289"/>
                    <a:gd name="connsiteY9" fmla="*/ 140677 h 437338"/>
                    <a:gd name="connsiteX10" fmla="*/ 586154 w 614289"/>
                    <a:gd name="connsiteY10" fmla="*/ 239151 h 437338"/>
                    <a:gd name="connsiteX11" fmla="*/ 614289 w 614289"/>
                    <a:gd name="connsiteY11" fmla="*/ 379828 h 437338"/>
                    <a:gd name="connsiteX12" fmla="*/ 375138 w 614289"/>
                    <a:gd name="connsiteY12" fmla="*/ 393895 h 437338"/>
                    <a:gd name="connsiteX13" fmla="*/ 332935 w 614289"/>
                    <a:gd name="connsiteY13" fmla="*/ 309489 h 437338"/>
                    <a:gd name="connsiteX14" fmla="*/ 290732 w 614289"/>
                    <a:gd name="connsiteY14" fmla="*/ 309489 h 437338"/>
                    <a:gd name="connsiteX15" fmla="*/ 248529 w 614289"/>
                    <a:gd name="connsiteY15" fmla="*/ 295422 h 437338"/>
                    <a:gd name="connsiteX16" fmla="*/ 135988 w 614289"/>
                    <a:gd name="connsiteY16" fmla="*/ 393895 h 437338"/>
                    <a:gd name="connsiteX17" fmla="*/ 65649 w 614289"/>
                    <a:gd name="connsiteY17" fmla="*/ 379828 h 437338"/>
                    <a:gd name="connsiteX18" fmla="*/ 51582 w 614289"/>
                    <a:gd name="connsiteY18" fmla="*/ 281354 h 437338"/>
                    <a:gd name="connsiteX19" fmla="*/ 37514 w 614289"/>
                    <a:gd name="connsiteY19" fmla="*/ 239151 h 437338"/>
                    <a:gd name="connsiteX20" fmla="*/ 9378 w 614289"/>
                    <a:gd name="connsiteY20" fmla="*/ 196948 h 437338"/>
                    <a:gd name="connsiteX21" fmla="*/ 65649 w 614289"/>
                    <a:gd name="connsiteY21" fmla="*/ 196948 h 43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4289" h="437338">
                      <a:moveTo>
                        <a:pt x="37514" y="239151"/>
                      </a:moveTo>
                      <a:cubicBezTo>
                        <a:pt x="51582" y="234462"/>
                        <a:pt x="69232" y="235569"/>
                        <a:pt x="79717" y="225083"/>
                      </a:cubicBezTo>
                      <a:cubicBezTo>
                        <a:pt x="100415" y="204385"/>
                        <a:pt x="130495" y="100885"/>
                        <a:pt x="135988" y="84406"/>
                      </a:cubicBezTo>
                      <a:cubicBezTo>
                        <a:pt x="140677" y="70338"/>
                        <a:pt x="139569" y="52688"/>
                        <a:pt x="150055" y="42203"/>
                      </a:cubicBezTo>
                      <a:cubicBezTo>
                        <a:pt x="188677" y="3583"/>
                        <a:pt x="165608" y="18262"/>
                        <a:pt x="220394" y="0"/>
                      </a:cubicBezTo>
                      <a:cubicBezTo>
                        <a:pt x="248529" y="4689"/>
                        <a:pt x="277740" y="5048"/>
                        <a:pt x="304800" y="14068"/>
                      </a:cubicBezTo>
                      <a:cubicBezTo>
                        <a:pt x="320840" y="19415"/>
                        <a:pt x="330471" y="38660"/>
                        <a:pt x="347003" y="42203"/>
                      </a:cubicBezTo>
                      <a:cubicBezTo>
                        <a:pt x="397648" y="53055"/>
                        <a:pt x="450166" y="51582"/>
                        <a:pt x="501748" y="56271"/>
                      </a:cubicBezTo>
                      <a:cubicBezTo>
                        <a:pt x="529552" y="65538"/>
                        <a:pt x="566319" y="73681"/>
                        <a:pt x="586154" y="98474"/>
                      </a:cubicBezTo>
                      <a:cubicBezTo>
                        <a:pt x="595417" y="110053"/>
                        <a:pt x="595533" y="126609"/>
                        <a:pt x="600222" y="140677"/>
                      </a:cubicBezTo>
                      <a:cubicBezTo>
                        <a:pt x="595533" y="173502"/>
                        <a:pt x="586154" y="205993"/>
                        <a:pt x="586154" y="239151"/>
                      </a:cubicBezTo>
                      <a:cubicBezTo>
                        <a:pt x="586154" y="303807"/>
                        <a:pt x="596966" y="327857"/>
                        <a:pt x="614289" y="379828"/>
                      </a:cubicBezTo>
                      <a:cubicBezTo>
                        <a:pt x="528023" y="437338"/>
                        <a:pt x="547298" y="436935"/>
                        <a:pt x="375138" y="393895"/>
                      </a:cubicBezTo>
                      <a:cubicBezTo>
                        <a:pt x="355306" y="388937"/>
                        <a:pt x="337853" y="324244"/>
                        <a:pt x="332935" y="309489"/>
                      </a:cubicBezTo>
                      <a:cubicBezTo>
                        <a:pt x="278866" y="390593"/>
                        <a:pt x="325678" y="344434"/>
                        <a:pt x="290732" y="309489"/>
                      </a:cubicBezTo>
                      <a:cubicBezTo>
                        <a:pt x="280247" y="299004"/>
                        <a:pt x="262597" y="300111"/>
                        <a:pt x="248529" y="295422"/>
                      </a:cubicBezTo>
                      <a:cubicBezTo>
                        <a:pt x="150055" y="361070"/>
                        <a:pt x="182880" y="323557"/>
                        <a:pt x="135988" y="393895"/>
                      </a:cubicBezTo>
                      <a:cubicBezTo>
                        <a:pt x="112542" y="389206"/>
                        <a:pt x="79995" y="398956"/>
                        <a:pt x="65649" y="379828"/>
                      </a:cubicBezTo>
                      <a:cubicBezTo>
                        <a:pt x="45754" y="353302"/>
                        <a:pt x="58085" y="313868"/>
                        <a:pt x="51582" y="281354"/>
                      </a:cubicBezTo>
                      <a:cubicBezTo>
                        <a:pt x="48674" y="266813"/>
                        <a:pt x="44146" y="252414"/>
                        <a:pt x="37514" y="239151"/>
                      </a:cubicBezTo>
                      <a:cubicBezTo>
                        <a:pt x="29953" y="224029"/>
                        <a:pt x="0" y="211016"/>
                        <a:pt x="9378" y="196948"/>
                      </a:cubicBezTo>
                      <a:cubicBezTo>
                        <a:pt x="19782" y="181341"/>
                        <a:pt x="46892" y="196948"/>
                        <a:pt x="65649" y="196948"/>
                      </a:cubicBezTo>
                    </a:path>
                  </a:pathLst>
                </a:custGeom>
                <a:solidFill>
                  <a:srgbClr val="FF00FF"/>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40" name="Ovale 139"/>
                <p:cNvSpPr/>
                <p:nvPr/>
              </p:nvSpPr>
              <p:spPr>
                <a:xfrm>
                  <a:off x="5580112" y="5949280"/>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1" name="Ovale 140"/>
                <p:cNvSpPr/>
                <p:nvPr/>
              </p:nvSpPr>
              <p:spPr>
                <a:xfrm>
                  <a:off x="5724128" y="602128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grpSp>
          <p:nvGrpSpPr>
            <p:cNvPr id="124" name="Gruppo 77"/>
            <p:cNvGrpSpPr/>
            <p:nvPr/>
          </p:nvGrpSpPr>
          <p:grpSpPr>
            <a:xfrm>
              <a:off x="610791" y="4941168"/>
              <a:ext cx="614289" cy="437338"/>
              <a:chOff x="3779912" y="5085184"/>
              <a:chExt cx="614289" cy="437338"/>
            </a:xfrm>
          </p:grpSpPr>
          <p:sp>
            <p:nvSpPr>
              <p:cNvPr id="132" name="Ovale 131"/>
              <p:cNvSpPr/>
              <p:nvPr/>
            </p:nvSpPr>
            <p:spPr>
              <a:xfrm>
                <a:off x="3995936" y="530120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33" name="Gruppo 63"/>
              <p:cNvGrpSpPr/>
              <p:nvPr/>
            </p:nvGrpSpPr>
            <p:grpSpPr>
              <a:xfrm>
                <a:off x="3779912" y="5085184"/>
                <a:ext cx="614289" cy="437338"/>
                <a:chOff x="5364480" y="5852160"/>
                <a:chExt cx="614289" cy="437338"/>
              </a:xfrm>
            </p:grpSpPr>
            <p:sp>
              <p:nvSpPr>
                <p:cNvPr id="134" name="Figura a mano libera 133"/>
                <p:cNvSpPr/>
                <p:nvPr/>
              </p:nvSpPr>
              <p:spPr>
                <a:xfrm>
                  <a:off x="5364480" y="5852160"/>
                  <a:ext cx="614289" cy="437338"/>
                </a:xfrm>
                <a:custGeom>
                  <a:avLst/>
                  <a:gdLst>
                    <a:gd name="connsiteX0" fmla="*/ 37514 w 614289"/>
                    <a:gd name="connsiteY0" fmla="*/ 239151 h 437338"/>
                    <a:gd name="connsiteX1" fmla="*/ 79717 w 614289"/>
                    <a:gd name="connsiteY1" fmla="*/ 225083 h 437338"/>
                    <a:gd name="connsiteX2" fmla="*/ 135988 w 614289"/>
                    <a:gd name="connsiteY2" fmla="*/ 84406 h 437338"/>
                    <a:gd name="connsiteX3" fmla="*/ 150055 w 614289"/>
                    <a:gd name="connsiteY3" fmla="*/ 42203 h 437338"/>
                    <a:gd name="connsiteX4" fmla="*/ 220394 w 614289"/>
                    <a:gd name="connsiteY4" fmla="*/ 0 h 437338"/>
                    <a:gd name="connsiteX5" fmla="*/ 304800 w 614289"/>
                    <a:gd name="connsiteY5" fmla="*/ 14068 h 437338"/>
                    <a:gd name="connsiteX6" fmla="*/ 347003 w 614289"/>
                    <a:gd name="connsiteY6" fmla="*/ 42203 h 437338"/>
                    <a:gd name="connsiteX7" fmla="*/ 501748 w 614289"/>
                    <a:gd name="connsiteY7" fmla="*/ 56271 h 437338"/>
                    <a:gd name="connsiteX8" fmla="*/ 586154 w 614289"/>
                    <a:gd name="connsiteY8" fmla="*/ 98474 h 437338"/>
                    <a:gd name="connsiteX9" fmla="*/ 600222 w 614289"/>
                    <a:gd name="connsiteY9" fmla="*/ 140677 h 437338"/>
                    <a:gd name="connsiteX10" fmla="*/ 586154 w 614289"/>
                    <a:gd name="connsiteY10" fmla="*/ 239151 h 437338"/>
                    <a:gd name="connsiteX11" fmla="*/ 614289 w 614289"/>
                    <a:gd name="connsiteY11" fmla="*/ 379828 h 437338"/>
                    <a:gd name="connsiteX12" fmla="*/ 375138 w 614289"/>
                    <a:gd name="connsiteY12" fmla="*/ 393895 h 437338"/>
                    <a:gd name="connsiteX13" fmla="*/ 332935 w 614289"/>
                    <a:gd name="connsiteY13" fmla="*/ 309489 h 437338"/>
                    <a:gd name="connsiteX14" fmla="*/ 290732 w 614289"/>
                    <a:gd name="connsiteY14" fmla="*/ 309489 h 437338"/>
                    <a:gd name="connsiteX15" fmla="*/ 248529 w 614289"/>
                    <a:gd name="connsiteY15" fmla="*/ 295422 h 437338"/>
                    <a:gd name="connsiteX16" fmla="*/ 135988 w 614289"/>
                    <a:gd name="connsiteY16" fmla="*/ 393895 h 437338"/>
                    <a:gd name="connsiteX17" fmla="*/ 65649 w 614289"/>
                    <a:gd name="connsiteY17" fmla="*/ 379828 h 437338"/>
                    <a:gd name="connsiteX18" fmla="*/ 51582 w 614289"/>
                    <a:gd name="connsiteY18" fmla="*/ 281354 h 437338"/>
                    <a:gd name="connsiteX19" fmla="*/ 37514 w 614289"/>
                    <a:gd name="connsiteY19" fmla="*/ 239151 h 437338"/>
                    <a:gd name="connsiteX20" fmla="*/ 9378 w 614289"/>
                    <a:gd name="connsiteY20" fmla="*/ 196948 h 437338"/>
                    <a:gd name="connsiteX21" fmla="*/ 65649 w 614289"/>
                    <a:gd name="connsiteY21" fmla="*/ 196948 h 43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4289" h="437338">
                      <a:moveTo>
                        <a:pt x="37514" y="239151"/>
                      </a:moveTo>
                      <a:cubicBezTo>
                        <a:pt x="51582" y="234462"/>
                        <a:pt x="69232" y="235569"/>
                        <a:pt x="79717" y="225083"/>
                      </a:cubicBezTo>
                      <a:cubicBezTo>
                        <a:pt x="100415" y="204385"/>
                        <a:pt x="130495" y="100885"/>
                        <a:pt x="135988" y="84406"/>
                      </a:cubicBezTo>
                      <a:cubicBezTo>
                        <a:pt x="140677" y="70338"/>
                        <a:pt x="139569" y="52688"/>
                        <a:pt x="150055" y="42203"/>
                      </a:cubicBezTo>
                      <a:cubicBezTo>
                        <a:pt x="188677" y="3583"/>
                        <a:pt x="165608" y="18262"/>
                        <a:pt x="220394" y="0"/>
                      </a:cubicBezTo>
                      <a:cubicBezTo>
                        <a:pt x="248529" y="4689"/>
                        <a:pt x="277740" y="5048"/>
                        <a:pt x="304800" y="14068"/>
                      </a:cubicBezTo>
                      <a:cubicBezTo>
                        <a:pt x="320840" y="19415"/>
                        <a:pt x="330471" y="38660"/>
                        <a:pt x="347003" y="42203"/>
                      </a:cubicBezTo>
                      <a:cubicBezTo>
                        <a:pt x="397648" y="53055"/>
                        <a:pt x="450166" y="51582"/>
                        <a:pt x="501748" y="56271"/>
                      </a:cubicBezTo>
                      <a:cubicBezTo>
                        <a:pt x="529552" y="65538"/>
                        <a:pt x="566319" y="73681"/>
                        <a:pt x="586154" y="98474"/>
                      </a:cubicBezTo>
                      <a:cubicBezTo>
                        <a:pt x="595417" y="110053"/>
                        <a:pt x="595533" y="126609"/>
                        <a:pt x="600222" y="140677"/>
                      </a:cubicBezTo>
                      <a:cubicBezTo>
                        <a:pt x="595533" y="173502"/>
                        <a:pt x="586154" y="205993"/>
                        <a:pt x="586154" y="239151"/>
                      </a:cubicBezTo>
                      <a:cubicBezTo>
                        <a:pt x="586154" y="303807"/>
                        <a:pt x="596966" y="327857"/>
                        <a:pt x="614289" y="379828"/>
                      </a:cubicBezTo>
                      <a:cubicBezTo>
                        <a:pt x="528023" y="437338"/>
                        <a:pt x="547298" y="436935"/>
                        <a:pt x="375138" y="393895"/>
                      </a:cubicBezTo>
                      <a:cubicBezTo>
                        <a:pt x="355306" y="388937"/>
                        <a:pt x="337853" y="324244"/>
                        <a:pt x="332935" y="309489"/>
                      </a:cubicBezTo>
                      <a:cubicBezTo>
                        <a:pt x="278866" y="390593"/>
                        <a:pt x="325678" y="344434"/>
                        <a:pt x="290732" y="309489"/>
                      </a:cubicBezTo>
                      <a:cubicBezTo>
                        <a:pt x="280247" y="299004"/>
                        <a:pt x="262597" y="300111"/>
                        <a:pt x="248529" y="295422"/>
                      </a:cubicBezTo>
                      <a:cubicBezTo>
                        <a:pt x="150055" y="361070"/>
                        <a:pt x="182880" y="323557"/>
                        <a:pt x="135988" y="393895"/>
                      </a:cubicBezTo>
                      <a:cubicBezTo>
                        <a:pt x="112542" y="389206"/>
                        <a:pt x="79995" y="398956"/>
                        <a:pt x="65649" y="379828"/>
                      </a:cubicBezTo>
                      <a:cubicBezTo>
                        <a:pt x="45754" y="353302"/>
                        <a:pt x="58085" y="313868"/>
                        <a:pt x="51582" y="281354"/>
                      </a:cubicBezTo>
                      <a:cubicBezTo>
                        <a:pt x="48674" y="266813"/>
                        <a:pt x="44146" y="252414"/>
                        <a:pt x="37514" y="239151"/>
                      </a:cubicBezTo>
                      <a:cubicBezTo>
                        <a:pt x="29953" y="224029"/>
                        <a:pt x="0" y="211016"/>
                        <a:pt x="9378" y="196948"/>
                      </a:cubicBezTo>
                      <a:cubicBezTo>
                        <a:pt x="19782" y="181341"/>
                        <a:pt x="46892" y="196948"/>
                        <a:pt x="65649" y="196948"/>
                      </a:cubicBezTo>
                    </a:path>
                  </a:pathLst>
                </a:custGeom>
                <a:solidFill>
                  <a:srgbClr val="FF00FF"/>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35" name="Ovale 134"/>
                <p:cNvSpPr/>
                <p:nvPr/>
              </p:nvSpPr>
              <p:spPr>
                <a:xfrm>
                  <a:off x="5580112" y="5949280"/>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6" name="Ovale 135"/>
                <p:cNvSpPr/>
                <p:nvPr/>
              </p:nvSpPr>
              <p:spPr>
                <a:xfrm>
                  <a:off x="5724128" y="602128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grpSp>
          <p:nvGrpSpPr>
            <p:cNvPr id="125" name="Gruppo 83"/>
            <p:cNvGrpSpPr/>
            <p:nvPr/>
          </p:nvGrpSpPr>
          <p:grpSpPr>
            <a:xfrm>
              <a:off x="1330871" y="5013176"/>
              <a:ext cx="614289" cy="437338"/>
              <a:chOff x="3779912" y="5085184"/>
              <a:chExt cx="614289" cy="437338"/>
            </a:xfrm>
          </p:grpSpPr>
          <p:sp>
            <p:nvSpPr>
              <p:cNvPr id="127" name="Ovale 126"/>
              <p:cNvSpPr/>
              <p:nvPr/>
            </p:nvSpPr>
            <p:spPr>
              <a:xfrm>
                <a:off x="3995936" y="530120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28" name="Gruppo 63"/>
              <p:cNvGrpSpPr/>
              <p:nvPr/>
            </p:nvGrpSpPr>
            <p:grpSpPr>
              <a:xfrm>
                <a:off x="3779912" y="5085184"/>
                <a:ext cx="614289" cy="437338"/>
                <a:chOff x="5364480" y="5852160"/>
                <a:chExt cx="614289" cy="437338"/>
              </a:xfrm>
            </p:grpSpPr>
            <p:sp>
              <p:nvSpPr>
                <p:cNvPr id="129" name="Figura a mano libera 128"/>
                <p:cNvSpPr/>
                <p:nvPr/>
              </p:nvSpPr>
              <p:spPr>
                <a:xfrm>
                  <a:off x="5364480" y="5852160"/>
                  <a:ext cx="614289" cy="437338"/>
                </a:xfrm>
                <a:custGeom>
                  <a:avLst/>
                  <a:gdLst>
                    <a:gd name="connsiteX0" fmla="*/ 37514 w 614289"/>
                    <a:gd name="connsiteY0" fmla="*/ 239151 h 437338"/>
                    <a:gd name="connsiteX1" fmla="*/ 79717 w 614289"/>
                    <a:gd name="connsiteY1" fmla="*/ 225083 h 437338"/>
                    <a:gd name="connsiteX2" fmla="*/ 135988 w 614289"/>
                    <a:gd name="connsiteY2" fmla="*/ 84406 h 437338"/>
                    <a:gd name="connsiteX3" fmla="*/ 150055 w 614289"/>
                    <a:gd name="connsiteY3" fmla="*/ 42203 h 437338"/>
                    <a:gd name="connsiteX4" fmla="*/ 220394 w 614289"/>
                    <a:gd name="connsiteY4" fmla="*/ 0 h 437338"/>
                    <a:gd name="connsiteX5" fmla="*/ 304800 w 614289"/>
                    <a:gd name="connsiteY5" fmla="*/ 14068 h 437338"/>
                    <a:gd name="connsiteX6" fmla="*/ 347003 w 614289"/>
                    <a:gd name="connsiteY6" fmla="*/ 42203 h 437338"/>
                    <a:gd name="connsiteX7" fmla="*/ 501748 w 614289"/>
                    <a:gd name="connsiteY7" fmla="*/ 56271 h 437338"/>
                    <a:gd name="connsiteX8" fmla="*/ 586154 w 614289"/>
                    <a:gd name="connsiteY8" fmla="*/ 98474 h 437338"/>
                    <a:gd name="connsiteX9" fmla="*/ 600222 w 614289"/>
                    <a:gd name="connsiteY9" fmla="*/ 140677 h 437338"/>
                    <a:gd name="connsiteX10" fmla="*/ 586154 w 614289"/>
                    <a:gd name="connsiteY10" fmla="*/ 239151 h 437338"/>
                    <a:gd name="connsiteX11" fmla="*/ 614289 w 614289"/>
                    <a:gd name="connsiteY11" fmla="*/ 379828 h 437338"/>
                    <a:gd name="connsiteX12" fmla="*/ 375138 w 614289"/>
                    <a:gd name="connsiteY12" fmla="*/ 393895 h 437338"/>
                    <a:gd name="connsiteX13" fmla="*/ 332935 w 614289"/>
                    <a:gd name="connsiteY13" fmla="*/ 309489 h 437338"/>
                    <a:gd name="connsiteX14" fmla="*/ 290732 w 614289"/>
                    <a:gd name="connsiteY14" fmla="*/ 309489 h 437338"/>
                    <a:gd name="connsiteX15" fmla="*/ 248529 w 614289"/>
                    <a:gd name="connsiteY15" fmla="*/ 295422 h 437338"/>
                    <a:gd name="connsiteX16" fmla="*/ 135988 w 614289"/>
                    <a:gd name="connsiteY16" fmla="*/ 393895 h 437338"/>
                    <a:gd name="connsiteX17" fmla="*/ 65649 w 614289"/>
                    <a:gd name="connsiteY17" fmla="*/ 379828 h 437338"/>
                    <a:gd name="connsiteX18" fmla="*/ 51582 w 614289"/>
                    <a:gd name="connsiteY18" fmla="*/ 281354 h 437338"/>
                    <a:gd name="connsiteX19" fmla="*/ 37514 w 614289"/>
                    <a:gd name="connsiteY19" fmla="*/ 239151 h 437338"/>
                    <a:gd name="connsiteX20" fmla="*/ 9378 w 614289"/>
                    <a:gd name="connsiteY20" fmla="*/ 196948 h 437338"/>
                    <a:gd name="connsiteX21" fmla="*/ 65649 w 614289"/>
                    <a:gd name="connsiteY21" fmla="*/ 196948 h 43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4289" h="437338">
                      <a:moveTo>
                        <a:pt x="37514" y="239151"/>
                      </a:moveTo>
                      <a:cubicBezTo>
                        <a:pt x="51582" y="234462"/>
                        <a:pt x="69232" y="235569"/>
                        <a:pt x="79717" y="225083"/>
                      </a:cubicBezTo>
                      <a:cubicBezTo>
                        <a:pt x="100415" y="204385"/>
                        <a:pt x="130495" y="100885"/>
                        <a:pt x="135988" y="84406"/>
                      </a:cubicBezTo>
                      <a:cubicBezTo>
                        <a:pt x="140677" y="70338"/>
                        <a:pt x="139569" y="52688"/>
                        <a:pt x="150055" y="42203"/>
                      </a:cubicBezTo>
                      <a:cubicBezTo>
                        <a:pt x="188677" y="3583"/>
                        <a:pt x="165608" y="18262"/>
                        <a:pt x="220394" y="0"/>
                      </a:cubicBezTo>
                      <a:cubicBezTo>
                        <a:pt x="248529" y="4689"/>
                        <a:pt x="277740" y="5048"/>
                        <a:pt x="304800" y="14068"/>
                      </a:cubicBezTo>
                      <a:cubicBezTo>
                        <a:pt x="320840" y="19415"/>
                        <a:pt x="330471" y="38660"/>
                        <a:pt x="347003" y="42203"/>
                      </a:cubicBezTo>
                      <a:cubicBezTo>
                        <a:pt x="397648" y="53055"/>
                        <a:pt x="450166" y="51582"/>
                        <a:pt x="501748" y="56271"/>
                      </a:cubicBezTo>
                      <a:cubicBezTo>
                        <a:pt x="529552" y="65538"/>
                        <a:pt x="566319" y="73681"/>
                        <a:pt x="586154" y="98474"/>
                      </a:cubicBezTo>
                      <a:cubicBezTo>
                        <a:pt x="595417" y="110053"/>
                        <a:pt x="595533" y="126609"/>
                        <a:pt x="600222" y="140677"/>
                      </a:cubicBezTo>
                      <a:cubicBezTo>
                        <a:pt x="595533" y="173502"/>
                        <a:pt x="586154" y="205993"/>
                        <a:pt x="586154" y="239151"/>
                      </a:cubicBezTo>
                      <a:cubicBezTo>
                        <a:pt x="586154" y="303807"/>
                        <a:pt x="596966" y="327857"/>
                        <a:pt x="614289" y="379828"/>
                      </a:cubicBezTo>
                      <a:cubicBezTo>
                        <a:pt x="528023" y="437338"/>
                        <a:pt x="547298" y="436935"/>
                        <a:pt x="375138" y="393895"/>
                      </a:cubicBezTo>
                      <a:cubicBezTo>
                        <a:pt x="355306" y="388937"/>
                        <a:pt x="337853" y="324244"/>
                        <a:pt x="332935" y="309489"/>
                      </a:cubicBezTo>
                      <a:cubicBezTo>
                        <a:pt x="278866" y="390593"/>
                        <a:pt x="325678" y="344434"/>
                        <a:pt x="290732" y="309489"/>
                      </a:cubicBezTo>
                      <a:cubicBezTo>
                        <a:pt x="280247" y="299004"/>
                        <a:pt x="262597" y="300111"/>
                        <a:pt x="248529" y="295422"/>
                      </a:cubicBezTo>
                      <a:cubicBezTo>
                        <a:pt x="150055" y="361070"/>
                        <a:pt x="182880" y="323557"/>
                        <a:pt x="135988" y="393895"/>
                      </a:cubicBezTo>
                      <a:cubicBezTo>
                        <a:pt x="112542" y="389206"/>
                        <a:pt x="79995" y="398956"/>
                        <a:pt x="65649" y="379828"/>
                      </a:cubicBezTo>
                      <a:cubicBezTo>
                        <a:pt x="45754" y="353302"/>
                        <a:pt x="58085" y="313868"/>
                        <a:pt x="51582" y="281354"/>
                      </a:cubicBezTo>
                      <a:cubicBezTo>
                        <a:pt x="48674" y="266813"/>
                        <a:pt x="44146" y="252414"/>
                        <a:pt x="37514" y="239151"/>
                      </a:cubicBezTo>
                      <a:cubicBezTo>
                        <a:pt x="29953" y="224029"/>
                        <a:pt x="0" y="211016"/>
                        <a:pt x="9378" y="196948"/>
                      </a:cubicBezTo>
                      <a:cubicBezTo>
                        <a:pt x="19782" y="181341"/>
                        <a:pt x="46892" y="196948"/>
                        <a:pt x="65649" y="196948"/>
                      </a:cubicBezTo>
                    </a:path>
                  </a:pathLst>
                </a:custGeom>
                <a:solidFill>
                  <a:srgbClr val="FF00FF"/>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130" name="Ovale 129"/>
                <p:cNvSpPr/>
                <p:nvPr/>
              </p:nvSpPr>
              <p:spPr>
                <a:xfrm>
                  <a:off x="5580112" y="5949280"/>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1" name="Ovale 130"/>
                <p:cNvSpPr/>
                <p:nvPr/>
              </p:nvSpPr>
              <p:spPr>
                <a:xfrm>
                  <a:off x="5724128" y="6021288"/>
                  <a:ext cx="144016" cy="144016"/>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grpSp>
        <p:sp>
          <p:nvSpPr>
            <p:cNvPr id="126" name="CasellaDiTesto 125"/>
            <p:cNvSpPr txBox="1"/>
            <p:nvPr/>
          </p:nvSpPr>
          <p:spPr>
            <a:xfrm>
              <a:off x="3131840" y="5589240"/>
              <a:ext cx="1707519" cy="261610"/>
            </a:xfrm>
            <a:prstGeom prst="rect">
              <a:avLst/>
            </a:prstGeom>
            <a:noFill/>
          </p:spPr>
          <p:txBody>
            <a:bodyPr wrap="none" rtlCol="0">
              <a:spAutoFit/>
            </a:bodyPr>
            <a:lstStyle/>
            <a:p>
              <a:r>
                <a:rPr lang="it-IT" sz="1100" b="1" dirty="0" smtClean="0"/>
                <a:t>OSTEAL </a:t>
              </a:r>
              <a:r>
                <a:rPr lang="it-IT" sz="1100" b="1" dirty="0" err="1" smtClean="0"/>
                <a:t>Macrophages</a:t>
              </a:r>
              <a:endParaRPr lang="it-IT" sz="1100" b="1" dirty="0"/>
            </a:p>
          </p:txBody>
        </p:sp>
      </p:grpSp>
      <p:sp>
        <p:nvSpPr>
          <p:cNvPr id="17" name="CasellaDiTesto 16"/>
          <p:cNvSpPr txBox="1"/>
          <p:nvPr/>
        </p:nvSpPr>
        <p:spPr>
          <a:xfrm>
            <a:off x="250825" y="-27384"/>
            <a:ext cx="8569325" cy="523220"/>
          </a:xfrm>
          <a:prstGeom prst="rect">
            <a:avLst/>
          </a:prstGeom>
          <a:noFill/>
        </p:spPr>
        <p:txBody>
          <a:bodyPr wrap="square" rtlCol="0">
            <a:spAutoFit/>
          </a:bodyPr>
          <a:lstStyle/>
          <a:p>
            <a:pPr algn="ctr"/>
            <a:r>
              <a:rPr lang="it-IT" sz="2800" dirty="0" smtClean="0"/>
              <a:t>The </a:t>
            </a:r>
            <a:r>
              <a:rPr lang="it-IT" sz="2800" dirty="0" err="1" smtClean="0"/>
              <a:t>osteobastic</a:t>
            </a:r>
            <a:r>
              <a:rPr lang="it-IT" sz="2800" dirty="0" smtClean="0"/>
              <a:t> </a:t>
            </a:r>
            <a:r>
              <a:rPr lang="it-IT" sz="2800" dirty="0" err="1" smtClean="0"/>
              <a:t>preneoplastic</a:t>
            </a:r>
            <a:r>
              <a:rPr lang="it-IT" sz="2800" dirty="0" smtClean="0"/>
              <a:t> </a:t>
            </a:r>
            <a:r>
              <a:rPr lang="it-IT" sz="2800" dirty="0" err="1" smtClean="0"/>
              <a:t>niche</a:t>
            </a:r>
            <a:endParaRPr lang="it-IT" sz="2800"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0"/>
                                        </p:tgtEl>
                                        <p:attrNameLst>
                                          <p:attrName>style.visibility</p:attrName>
                                        </p:attrNameLst>
                                      </p:cBhvr>
                                      <p:to>
                                        <p:strVal val="visible"/>
                                      </p:to>
                                    </p:set>
                                    <p:animEffect transition="in" filter="fade">
                                      <p:cBhvr>
                                        <p:cTn id="12" dur="2000"/>
                                        <p:tgtEl>
                                          <p:spTgt spid="1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000"/>
                                        <p:tgtEl>
                                          <p:spTgt spid="8"/>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58875"/>
                                        </p:tgtEl>
                                        <p:attrNameLst>
                                          <p:attrName>style.visibility</p:attrName>
                                        </p:attrNameLst>
                                      </p:cBhvr>
                                      <p:to>
                                        <p:strVal val="visible"/>
                                      </p:to>
                                    </p:set>
                                    <p:animEffect transition="in" filter="fade">
                                      <p:cBhvr>
                                        <p:cTn id="20" dur="2000"/>
                                        <p:tgtEl>
                                          <p:spTgt spid="1058875"/>
                                        </p:tgtEl>
                                      </p:cBhvr>
                                    </p:animEffect>
                                  </p:childTnLst>
                                </p:cTn>
                              </p:par>
                              <p:par>
                                <p:cTn id="21" presetID="10"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20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2000"/>
                                        <p:tgtEl>
                                          <p:spTgt spid="10"/>
                                        </p:tgtEl>
                                      </p:cBhvr>
                                    </p:animEffect>
                                  </p:childTnLst>
                                </p:cTn>
                              </p:par>
                              <p:par>
                                <p:cTn id="29" presetID="10"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2000"/>
                                        <p:tgtEl>
                                          <p:spTgt spid="1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2000"/>
                                        <p:tgtEl>
                                          <p:spTgt spid="12"/>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20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2000"/>
                                        <p:tgtEl>
                                          <p:spTgt spid="14"/>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058905"/>
                                        </p:tgtEl>
                                        <p:attrNameLst>
                                          <p:attrName>style.visibility</p:attrName>
                                        </p:attrNameLst>
                                      </p:cBhvr>
                                      <p:to>
                                        <p:strVal val="visible"/>
                                      </p:to>
                                    </p:set>
                                    <p:animEffect transition="in" filter="fade">
                                      <p:cBhvr>
                                        <p:cTn id="51" dur="2000"/>
                                        <p:tgtEl>
                                          <p:spTgt spid="105890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1058912"/>
                                        </p:tgtEl>
                                        <p:attrNameLst>
                                          <p:attrName>style.visibility</p:attrName>
                                        </p:attrNameLst>
                                      </p:cBhvr>
                                      <p:to>
                                        <p:strVal val="visible"/>
                                      </p:to>
                                    </p:set>
                                    <p:animEffect transition="in" filter="wipe(down)">
                                      <p:cBhvr>
                                        <p:cTn id="56" dur="500"/>
                                        <p:tgtEl>
                                          <p:spTgt spid="1058912"/>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1058909"/>
                                        </p:tgtEl>
                                        <p:attrNameLst>
                                          <p:attrName>style.visibility</p:attrName>
                                        </p:attrNameLst>
                                      </p:cBhvr>
                                      <p:to>
                                        <p:strVal val="visible"/>
                                      </p:to>
                                    </p:set>
                                    <p:animEffect transition="in" filter="wipe(down)">
                                      <p:cBhvr>
                                        <p:cTn id="59" dur="500"/>
                                        <p:tgtEl>
                                          <p:spTgt spid="1058909"/>
                                        </p:tgtEl>
                                      </p:cBhvr>
                                    </p:animEffect>
                                  </p:childTnLst>
                                </p:cTn>
                              </p:par>
                              <p:par>
                                <p:cTn id="60" presetID="22" presetClass="entr" presetSubtype="4" fill="hold" grpId="0" nodeType="withEffect">
                                  <p:stCondLst>
                                    <p:cond delay="0"/>
                                  </p:stCondLst>
                                  <p:childTnLst>
                                    <p:set>
                                      <p:cBhvr>
                                        <p:cTn id="61" dur="1" fill="hold">
                                          <p:stCondLst>
                                            <p:cond delay="0"/>
                                          </p:stCondLst>
                                        </p:cTn>
                                        <p:tgtEl>
                                          <p:spTgt spid="1058911"/>
                                        </p:tgtEl>
                                        <p:attrNameLst>
                                          <p:attrName>style.visibility</p:attrName>
                                        </p:attrNameLst>
                                      </p:cBhvr>
                                      <p:to>
                                        <p:strVal val="visible"/>
                                      </p:to>
                                    </p:set>
                                    <p:animEffect transition="in" filter="wipe(down)">
                                      <p:cBhvr>
                                        <p:cTn id="62" dur="500"/>
                                        <p:tgtEl>
                                          <p:spTgt spid="1058911"/>
                                        </p:tgtEl>
                                      </p:cBhvr>
                                    </p:animEffect>
                                  </p:childTnLst>
                                </p:cTn>
                              </p:par>
                              <p:par>
                                <p:cTn id="63" presetID="22" presetClass="entr" presetSubtype="4" fill="hold" grpId="0" nodeType="withEffect">
                                  <p:stCondLst>
                                    <p:cond delay="0"/>
                                  </p:stCondLst>
                                  <p:childTnLst>
                                    <p:set>
                                      <p:cBhvr>
                                        <p:cTn id="64" dur="1" fill="hold">
                                          <p:stCondLst>
                                            <p:cond delay="0"/>
                                          </p:stCondLst>
                                        </p:cTn>
                                        <p:tgtEl>
                                          <p:spTgt spid="1058906"/>
                                        </p:tgtEl>
                                        <p:attrNameLst>
                                          <p:attrName>style.visibility</p:attrName>
                                        </p:attrNameLst>
                                      </p:cBhvr>
                                      <p:to>
                                        <p:strVal val="visible"/>
                                      </p:to>
                                    </p:set>
                                    <p:animEffect transition="in" filter="wipe(down)">
                                      <p:cBhvr>
                                        <p:cTn id="65" dur="500"/>
                                        <p:tgtEl>
                                          <p:spTgt spid="1058906"/>
                                        </p:tgtEl>
                                      </p:cBhvr>
                                    </p:animEffect>
                                  </p:childTnLst>
                                </p:cTn>
                              </p:par>
                              <p:par>
                                <p:cTn id="66" presetID="22" presetClass="entr" presetSubtype="4" fill="hold" grpId="0" nodeType="withEffect">
                                  <p:stCondLst>
                                    <p:cond delay="0"/>
                                  </p:stCondLst>
                                  <p:childTnLst>
                                    <p:set>
                                      <p:cBhvr>
                                        <p:cTn id="67" dur="1" fill="hold">
                                          <p:stCondLst>
                                            <p:cond delay="0"/>
                                          </p:stCondLst>
                                        </p:cTn>
                                        <p:tgtEl>
                                          <p:spTgt spid="1058908"/>
                                        </p:tgtEl>
                                        <p:attrNameLst>
                                          <p:attrName>style.visibility</p:attrName>
                                        </p:attrNameLst>
                                      </p:cBhvr>
                                      <p:to>
                                        <p:strVal val="visible"/>
                                      </p:to>
                                    </p:set>
                                    <p:animEffect transition="in" filter="wipe(down)">
                                      <p:cBhvr>
                                        <p:cTn id="68" dur="500"/>
                                        <p:tgtEl>
                                          <p:spTgt spid="1058908"/>
                                        </p:tgtEl>
                                      </p:cBhvr>
                                    </p:animEffect>
                                  </p:childTnLst>
                                </p:cTn>
                              </p:par>
                              <p:par>
                                <p:cTn id="69" presetID="22" presetClass="entr" presetSubtype="4" fill="hold" grpId="0" nodeType="withEffect">
                                  <p:stCondLst>
                                    <p:cond delay="0"/>
                                  </p:stCondLst>
                                  <p:childTnLst>
                                    <p:set>
                                      <p:cBhvr>
                                        <p:cTn id="70" dur="1" fill="hold">
                                          <p:stCondLst>
                                            <p:cond delay="0"/>
                                          </p:stCondLst>
                                        </p:cTn>
                                        <p:tgtEl>
                                          <p:spTgt spid="1058910"/>
                                        </p:tgtEl>
                                        <p:attrNameLst>
                                          <p:attrName>style.visibility</p:attrName>
                                        </p:attrNameLst>
                                      </p:cBhvr>
                                      <p:to>
                                        <p:strVal val="visible"/>
                                      </p:to>
                                    </p:set>
                                    <p:animEffect transition="in" filter="wipe(down)">
                                      <p:cBhvr>
                                        <p:cTn id="71" dur="500"/>
                                        <p:tgtEl>
                                          <p:spTgt spid="1058910"/>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1058914"/>
                                        </p:tgtEl>
                                        <p:attrNameLst>
                                          <p:attrName>style.visibility</p:attrName>
                                        </p:attrNameLst>
                                      </p:cBhvr>
                                      <p:to>
                                        <p:strVal val="visible"/>
                                      </p:to>
                                    </p:set>
                                    <p:animEffect transition="in" filter="wipe(down)">
                                      <p:cBhvr>
                                        <p:cTn id="74" dur="500"/>
                                        <p:tgtEl>
                                          <p:spTgt spid="1058914"/>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1058915"/>
                                        </p:tgtEl>
                                        <p:attrNameLst>
                                          <p:attrName>style.visibility</p:attrName>
                                        </p:attrNameLst>
                                      </p:cBhvr>
                                      <p:to>
                                        <p:strVal val="visible"/>
                                      </p:to>
                                    </p:set>
                                    <p:animEffect transition="in" filter="fade">
                                      <p:cBhvr>
                                        <p:cTn id="79" dur="2000"/>
                                        <p:tgtEl>
                                          <p:spTgt spid="1058915"/>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058916"/>
                                        </p:tgtEl>
                                        <p:attrNameLst>
                                          <p:attrName>style.visibility</p:attrName>
                                        </p:attrNameLst>
                                      </p:cBhvr>
                                      <p:to>
                                        <p:strVal val="visible"/>
                                      </p:to>
                                    </p:set>
                                    <p:animEffect transition="in" filter="fade">
                                      <p:cBhvr>
                                        <p:cTn id="82" dur="2000"/>
                                        <p:tgtEl>
                                          <p:spTgt spid="1058916"/>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058917"/>
                                        </p:tgtEl>
                                        <p:attrNameLst>
                                          <p:attrName>style.visibility</p:attrName>
                                        </p:attrNameLst>
                                      </p:cBhvr>
                                      <p:to>
                                        <p:strVal val="visible"/>
                                      </p:to>
                                    </p:set>
                                    <p:animEffect transition="in" filter="fade">
                                      <p:cBhvr>
                                        <p:cTn id="85" dur="2000"/>
                                        <p:tgtEl>
                                          <p:spTgt spid="1058917"/>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nodeType="clickEffect">
                                  <p:stCondLst>
                                    <p:cond delay="0"/>
                                  </p:stCondLst>
                                  <p:childTnLst>
                                    <p:set>
                                      <p:cBhvr>
                                        <p:cTn id="89" dur="1" fill="hold">
                                          <p:stCondLst>
                                            <p:cond delay="0"/>
                                          </p:stCondLst>
                                        </p:cTn>
                                        <p:tgtEl>
                                          <p:spTgt spid="16"/>
                                        </p:tgtEl>
                                        <p:attrNameLst>
                                          <p:attrName>style.visibility</p:attrName>
                                        </p:attrNameLst>
                                      </p:cBhvr>
                                      <p:to>
                                        <p:strVal val="visible"/>
                                      </p:to>
                                    </p:set>
                                    <p:animEffect transition="in" filter="fade">
                                      <p:cBhvr>
                                        <p:cTn id="90"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8875" grpId="0" animBg="1"/>
      <p:bldP spid="1058905" grpId="0" animBg="1"/>
      <p:bldP spid="1058906" grpId="0"/>
      <p:bldP spid="1058908" grpId="0" animBg="1"/>
      <p:bldP spid="1058909" grpId="0" animBg="1"/>
      <p:bldP spid="1058910" grpId="0" animBg="1"/>
      <p:bldP spid="1058911" grpId="0" animBg="1"/>
      <p:bldP spid="1058912" grpId="0" animBg="1"/>
      <p:bldP spid="1058914" grpId="0" animBg="1"/>
      <p:bldP spid="1058916" grpId="0" animBg="1"/>
      <p:bldP spid="105891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179512" y="-27384"/>
            <a:ext cx="8784976" cy="1470025"/>
          </a:xfrm>
        </p:spPr>
        <p:txBody>
          <a:bodyPr/>
          <a:lstStyle/>
          <a:p>
            <a:r>
              <a:rPr lang="it-IT" sz="2800" dirty="0" smtClean="0"/>
              <a:t>6. </a:t>
            </a:r>
            <a:r>
              <a:rPr lang="it-IT" sz="2800" dirty="0"/>
              <a:t>The </a:t>
            </a:r>
            <a:r>
              <a:rPr lang="it-IT" sz="2800" dirty="0" err="1"/>
              <a:t>vicious</a:t>
            </a:r>
            <a:r>
              <a:rPr lang="it-IT" sz="2800" dirty="0"/>
              <a:t> </a:t>
            </a:r>
            <a:r>
              <a:rPr lang="it-IT" sz="2800" dirty="0" err="1"/>
              <a:t>cycle</a:t>
            </a:r>
            <a:r>
              <a:rPr lang="it-IT" sz="2800" dirty="0"/>
              <a:t> in the  “</a:t>
            </a:r>
            <a:r>
              <a:rPr lang="it-IT" sz="2800" dirty="0" err="1"/>
              <a:t>modern</a:t>
            </a:r>
            <a:r>
              <a:rPr lang="it-IT" sz="2800" dirty="0"/>
              <a:t> era” </a:t>
            </a:r>
            <a:br>
              <a:rPr lang="it-IT" sz="2800" dirty="0"/>
            </a:br>
            <a:endParaRPr lang="it-IT" sz="2800" dirty="0"/>
          </a:p>
        </p:txBody>
      </p:sp>
    </p:spTree>
    <p:extLst>
      <p:ext uri="{BB962C8B-B14F-4D97-AF65-F5344CB8AC3E}">
        <p14:creationId xmlns:p14="http://schemas.microsoft.com/office/powerpoint/2010/main" val="20034104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3"/>
          <p:cNvSpPr txBox="1">
            <a:spLocks noGrp="1" noChangeArrowheads="1"/>
          </p:cNvSpPr>
          <p:nvPr>
            <p:ph type="title"/>
          </p:nvPr>
        </p:nvSpPr>
        <p:spPr bwMode="auto">
          <a:xfrm>
            <a:off x="179512" y="153640"/>
            <a:ext cx="8856984" cy="1384995"/>
          </a:xfrm>
          <a:prstGeom prst="rect">
            <a:avLst/>
          </a:prstGeom>
          <a:noFill/>
          <a:ln w="9525">
            <a:noFill/>
            <a:miter lim="800000"/>
            <a:headEnd/>
            <a:tailEnd/>
          </a:ln>
        </p:spPr>
        <p:txBody>
          <a:bodyPr wrap="square">
            <a:spAutoFit/>
          </a:bodyPr>
          <a:lstStyle/>
          <a:p>
            <a:r>
              <a:rPr lang="it-IT" altLang="en-US" sz="2800" dirty="0" smtClean="0">
                <a:solidFill>
                  <a:srgbClr val="000000"/>
                </a:solidFill>
                <a:cs typeface="Arial" pitchFamily="34" charset="0"/>
              </a:rPr>
              <a:t>1. </a:t>
            </a:r>
            <a:r>
              <a:rPr lang="it-IT" altLang="en-US" sz="2800" dirty="0">
                <a:solidFill>
                  <a:srgbClr val="000000"/>
                </a:solidFill>
                <a:cs typeface="Arial" pitchFamily="34" charset="0"/>
              </a:rPr>
              <a:t>High bone turnover </a:t>
            </a:r>
            <a:r>
              <a:rPr lang="it-IT" altLang="en-US" sz="2800" dirty="0" err="1">
                <a:solidFill>
                  <a:srgbClr val="000000"/>
                </a:solidFill>
                <a:cs typeface="Arial" pitchFamily="34" charset="0"/>
              </a:rPr>
              <a:t>increases</a:t>
            </a:r>
            <a:r>
              <a:rPr lang="it-IT" altLang="en-US" sz="2800" dirty="0">
                <a:solidFill>
                  <a:srgbClr val="000000"/>
                </a:solidFill>
                <a:cs typeface="Arial" pitchFamily="34" charset="0"/>
              </a:rPr>
              <a:t> the </a:t>
            </a:r>
            <a:r>
              <a:rPr lang="it-IT" altLang="en-US" sz="2800" dirty="0" err="1">
                <a:solidFill>
                  <a:srgbClr val="000000"/>
                </a:solidFill>
                <a:cs typeface="Arial" pitchFamily="34" charset="0"/>
              </a:rPr>
              <a:t>risk</a:t>
            </a:r>
            <a:r>
              <a:rPr lang="it-IT" altLang="en-US" sz="2800" dirty="0">
                <a:solidFill>
                  <a:srgbClr val="000000"/>
                </a:solidFill>
                <a:cs typeface="Arial" pitchFamily="34" charset="0"/>
              </a:rPr>
              <a:t> of new bone </a:t>
            </a:r>
            <a:r>
              <a:rPr lang="it-IT" altLang="en-US" sz="2800" dirty="0" err="1">
                <a:solidFill>
                  <a:srgbClr val="000000"/>
                </a:solidFill>
                <a:cs typeface="Arial" pitchFamily="34" charset="0"/>
              </a:rPr>
              <a:t>metastases</a:t>
            </a:r>
            <a:r>
              <a:rPr lang="it-IT" altLang="en-US" sz="2800" dirty="0">
                <a:solidFill>
                  <a:srgbClr val="000000"/>
                </a:solidFill>
                <a:cs typeface="Arial" pitchFamily="34" charset="0"/>
              </a:rPr>
              <a:t> and of </a:t>
            </a:r>
            <a:r>
              <a:rPr lang="it-IT" altLang="en-US" sz="2800" dirty="0" err="1">
                <a:solidFill>
                  <a:srgbClr val="000000"/>
                </a:solidFill>
                <a:cs typeface="Arial" pitchFamily="34" charset="0"/>
              </a:rPr>
              <a:t>skeletal</a:t>
            </a:r>
            <a:r>
              <a:rPr lang="it-IT" altLang="en-US" sz="2800" dirty="0">
                <a:solidFill>
                  <a:srgbClr val="000000"/>
                </a:solidFill>
                <a:cs typeface="Arial" pitchFamily="34" charset="0"/>
              </a:rPr>
              <a:t> </a:t>
            </a:r>
            <a:r>
              <a:rPr lang="it-IT" altLang="en-US" sz="2800" dirty="0" err="1">
                <a:solidFill>
                  <a:srgbClr val="000000"/>
                </a:solidFill>
                <a:cs typeface="Arial" pitchFamily="34" charset="0"/>
              </a:rPr>
              <a:t>progression</a:t>
            </a:r>
            <a:r>
              <a:rPr lang="it-IT" altLang="en-US" sz="2800" dirty="0">
                <a:solidFill>
                  <a:srgbClr val="000000"/>
                </a:solidFill>
                <a:cs typeface="Arial" pitchFamily="34" charset="0"/>
              </a:rPr>
              <a:t> </a:t>
            </a:r>
            <a:br>
              <a:rPr lang="it-IT" altLang="en-US" sz="2800" dirty="0">
                <a:solidFill>
                  <a:srgbClr val="000000"/>
                </a:solidFill>
                <a:cs typeface="Arial" pitchFamily="34" charset="0"/>
              </a:rPr>
            </a:br>
            <a:endParaRPr lang="it-IT" altLang="en-US" sz="2800" dirty="0">
              <a:solidFill>
                <a:srgbClr val="000000"/>
              </a:solidFill>
              <a:cs typeface="Arial" pitchFamily="34" charset="0"/>
            </a:endParaRPr>
          </a:p>
        </p:txBody>
      </p:sp>
    </p:spTree>
    <p:extLst>
      <p:ext uri="{BB962C8B-B14F-4D97-AF65-F5344CB8AC3E}">
        <p14:creationId xmlns:p14="http://schemas.microsoft.com/office/powerpoint/2010/main" val="5962227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6027738" y="3962400"/>
            <a:ext cx="1039812" cy="984250"/>
            <a:chOff x="3392" y="1536"/>
            <a:chExt cx="736" cy="620"/>
          </a:xfrm>
        </p:grpSpPr>
        <p:sp>
          <p:nvSpPr>
            <p:cNvPr id="25801" name="Freeform 3"/>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802" name="Freeform 4"/>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803" name="Freeform 5"/>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804" name="Freeform 6"/>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602" name="Group 7"/>
          <p:cNvGrpSpPr>
            <a:grpSpLocks/>
          </p:cNvGrpSpPr>
          <p:nvPr/>
        </p:nvGrpSpPr>
        <p:grpSpPr bwMode="auto">
          <a:xfrm>
            <a:off x="68263" y="1143000"/>
            <a:ext cx="4529137" cy="5753100"/>
            <a:chOff x="0" y="768"/>
            <a:chExt cx="3210" cy="3624"/>
          </a:xfrm>
        </p:grpSpPr>
        <p:grpSp>
          <p:nvGrpSpPr>
            <p:cNvPr id="25774" name="Group 8"/>
            <p:cNvGrpSpPr>
              <a:grpSpLocks/>
            </p:cNvGrpSpPr>
            <p:nvPr/>
          </p:nvGrpSpPr>
          <p:grpSpPr bwMode="auto">
            <a:xfrm>
              <a:off x="0" y="768"/>
              <a:ext cx="3024" cy="3624"/>
              <a:chOff x="0" y="0"/>
              <a:chExt cx="3024" cy="4344"/>
            </a:xfrm>
          </p:grpSpPr>
          <p:pic>
            <p:nvPicPr>
              <p:cNvPr id="25799" name="Picture 9" descr="DEXAnorm"/>
              <p:cNvPicPr>
                <a:picLocks noChangeAspect="1" noChangeArrowheads="1"/>
              </p:cNvPicPr>
              <p:nvPr/>
            </p:nvPicPr>
            <p:blipFill>
              <a:blip r:embed="rId2"/>
              <a:srcRect/>
              <a:stretch>
                <a:fillRect/>
              </a:stretch>
            </p:blipFill>
            <p:spPr bwMode="auto">
              <a:xfrm>
                <a:off x="0" y="0"/>
                <a:ext cx="2928" cy="4320"/>
              </a:xfrm>
              <a:prstGeom prst="rect">
                <a:avLst/>
              </a:prstGeom>
              <a:noFill/>
              <a:ln w="9525">
                <a:noFill/>
                <a:miter lim="800000"/>
                <a:headEnd/>
                <a:tailEnd/>
              </a:ln>
            </p:spPr>
          </p:pic>
          <p:sp>
            <p:nvSpPr>
              <p:cNvPr id="25800" name="Freeform 10"/>
              <p:cNvSpPr>
                <a:spLocks/>
              </p:cNvSpPr>
              <p:nvPr/>
            </p:nvSpPr>
            <p:spPr bwMode="auto">
              <a:xfrm>
                <a:off x="2818" y="48"/>
                <a:ext cx="206" cy="4296"/>
              </a:xfrm>
              <a:custGeom>
                <a:avLst/>
                <a:gdLst>
                  <a:gd name="T0" fmla="*/ 2147483647 w 118"/>
                  <a:gd name="T1" fmla="*/ 0 h 4296"/>
                  <a:gd name="T2" fmla="*/ 2147483647 w 118"/>
                  <a:gd name="T3" fmla="*/ 144 h 4296"/>
                  <a:gd name="T4" fmla="*/ 1968992797 w 118"/>
                  <a:gd name="T5" fmla="*/ 288 h 4296"/>
                  <a:gd name="T6" fmla="*/ 434707763 w 118"/>
                  <a:gd name="T7" fmla="*/ 360 h 4296"/>
                  <a:gd name="T8" fmla="*/ 2147483647 w 118"/>
                  <a:gd name="T9" fmla="*/ 804 h 4296"/>
                  <a:gd name="T10" fmla="*/ 2147483647 w 118"/>
                  <a:gd name="T11" fmla="*/ 984 h 4296"/>
                  <a:gd name="T12" fmla="*/ 1968992797 w 118"/>
                  <a:gd name="T13" fmla="*/ 1296 h 4296"/>
                  <a:gd name="T14" fmla="*/ 1581711780 w 118"/>
                  <a:gd name="T15" fmla="*/ 1488 h 4296"/>
                  <a:gd name="T16" fmla="*/ 1199592185 w 118"/>
                  <a:gd name="T17" fmla="*/ 1968 h 4296"/>
                  <a:gd name="T18" fmla="*/ 1199592185 w 118"/>
                  <a:gd name="T19" fmla="*/ 2244 h 4296"/>
                  <a:gd name="T20" fmla="*/ 2147483647 w 118"/>
                  <a:gd name="T21" fmla="*/ 2472 h 4296"/>
                  <a:gd name="T22" fmla="*/ 2147483647 w 118"/>
                  <a:gd name="T23" fmla="*/ 2676 h 4296"/>
                  <a:gd name="T24" fmla="*/ 824086712 w 118"/>
                  <a:gd name="T25" fmla="*/ 2868 h 4296"/>
                  <a:gd name="T26" fmla="*/ 434707763 w 118"/>
                  <a:gd name="T27" fmla="*/ 2976 h 4296"/>
                  <a:gd name="T28" fmla="*/ 55175179 w 118"/>
                  <a:gd name="T29" fmla="*/ 3012 h 4296"/>
                  <a:gd name="T30" fmla="*/ 824086712 w 118"/>
                  <a:gd name="T31" fmla="*/ 3096 h 4296"/>
                  <a:gd name="T32" fmla="*/ 1968992797 w 118"/>
                  <a:gd name="T33" fmla="*/ 3480 h 4296"/>
                  <a:gd name="T34" fmla="*/ 434707763 w 118"/>
                  <a:gd name="T35" fmla="*/ 4056 h 4296"/>
                  <a:gd name="T36" fmla="*/ 55175179 w 118"/>
                  <a:gd name="T37" fmla="*/ 4152 h 4296"/>
                  <a:gd name="T38" fmla="*/ 2147483647 w 118"/>
                  <a:gd name="T39" fmla="*/ 4296 h 4296"/>
                  <a:gd name="T40" fmla="*/ 2147483647 w 118"/>
                  <a:gd name="T41" fmla="*/ 0 h 429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8"/>
                  <a:gd name="T64" fmla="*/ 0 h 4296"/>
                  <a:gd name="T65" fmla="*/ 118 w 118"/>
                  <a:gd name="T66" fmla="*/ 4296 h 429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8" h="4296">
                    <a:moveTo>
                      <a:pt x="98" y="0"/>
                    </a:moveTo>
                    <a:cubicBezTo>
                      <a:pt x="115" y="52"/>
                      <a:pt x="99" y="92"/>
                      <a:pt x="86" y="144"/>
                    </a:cubicBezTo>
                    <a:cubicBezTo>
                      <a:pt x="84" y="164"/>
                      <a:pt x="82" y="253"/>
                      <a:pt x="62" y="288"/>
                    </a:cubicBezTo>
                    <a:cubicBezTo>
                      <a:pt x="48" y="313"/>
                      <a:pt x="14" y="360"/>
                      <a:pt x="14" y="360"/>
                    </a:cubicBezTo>
                    <a:cubicBezTo>
                      <a:pt x="34" y="508"/>
                      <a:pt x="57" y="656"/>
                      <a:pt x="74" y="804"/>
                    </a:cubicBezTo>
                    <a:cubicBezTo>
                      <a:pt x="93" y="964"/>
                      <a:pt x="64" y="892"/>
                      <a:pt x="110" y="984"/>
                    </a:cubicBezTo>
                    <a:cubicBezTo>
                      <a:pt x="104" y="1074"/>
                      <a:pt x="118" y="1212"/>
                      <a:pt x="62" y="1296"/>
                    </a:cubicBezTo>
                    <a:cubicBezTo>
                      <a:pt x="54" y="1367"/>
                      <a:pt x="33" y="1422"/>
                      <a:pt x="50" y="1488"/>
                    </a:cubicBezTo>
                    <a:cubicBezTo>
                      <a:pt x="65" y="1650"/>
                      <a:pt x="51" y="1806"/>
                      <a:pt x="38" y="1968"/>
                    </a:cubicBezTo>
                    <a:cubicBezTo>
                      <a:pt x="66" y="2136"/>
                      <a:pt x="38" y="1935"/>
                      <a:pt x="38" y="2244"/>
                    </a:cubicBezTo>
                    <a:cubicBezTo>
                      <a:pt x="38" y="2315"/>
                      <a:pt x="69" y="2404"/>
                      <a:pt x="86" y="2472"/>
                    </a:cubicBezTo>
                    <a:cubicBezTo>
                      <a:pt x="82" y="2540"/>
                      <a:pt x="84" y="2609"/>
                      <a:pt x="74" y="2676"/>
                    </a:cubicBezTo>
                    <a:cubicBezTo>
                      <a:pt x="64" y="2741"/>
                      <a:pt x="26" y="2868"/>
                      <a:pt x="26" y="2868"/>
                    </a:cubicBezTo>
                    <a:cubicBezTo>
                      <a:pt x="22" y="2904"/>
                      <a:pt x="20" y="2940"/>
                      <a:pt x="14" y="2976"/>
                    </a:cubicBezTo>
                    <a:cubicBezTo>
                      <a:pt x="12" y="2988"/>
                      <a:pt x="2" y="2999"/>
                      <a:pt x="2" y="3012"/>
                    </a:cubicBezTo>
                    <a:cubicBezTo>
                      <a:pt x="2" y="3041"/>
                      <a:pt x="19" y="3068"/>
                      <a:pt x="26" y="3096"/>
                    </a:cubicBezTo>
                    <a:cubicBezTo>
                      <a:pt x="40" y="3222"/>
                      <a:pt x="22" y="3360"/>
                      <a:pt x="62" y="3480"/>
                    </a:cubicBezTo>
                    <a:cubicBezTo>
                      <a:pt x="55" y="3610"/>
                      <a:pt x="53" y="3939"/>
                      <a:pt x="14" y="4056"/>
                    </a:cubicBezTo>
                    <a:cubicBezTo>
                      <a:pt x="10" y="4088"/>
                      <a:pt x="0" y="4120"/>
                      <a:pt x="2" y="4152"/>
                    </a:cubicBezTo>
                    <a:cubicBezTo>
                      <a:pt x="7" y="4215"/>
                      <a:pt x="48" y="4244"/>
                      <a:pt x="74" y="4296"/>
                    </a:cubicBezTo>
                    <a:lnTo>
                      <a:pt x="98" y="0"/>
                    </a:lnTo>
                    <a:close/>
                  </a:path>
                </a:pathLst>
              </a:custGeom>
              <a:solidFill>
                <a:schemeClr val="tx1"/>
              </a:solidFill>
              <a:ln w="9525">
                <a:solidFill>
                  <a:srgbClr val="000000"/>
                </a:solidFill>
                <a:round/>
                <a:headEnd/>
                <a:tailEnd/>
              </a:ln>
            </p:spPr>
            <p:txBody>
              <a:bodyPr wrap="none" anchor="ctr"/>
              <a:lstStyle/>
              <a:p>
                <a:endParaRPr lang="it-IT"/>
              </a:p>
            </p:txBody>
          </p:sp>
        </p:grpSp>
        <p:grpSp>
          <p:nvGrpSpPr>
            <p:cNvPr id="25775" name="Group 11"/>
            <p:cNvGrpSpPr>
              <a:grpSpLocks/>
            </p:cNvGrpSpPr>
            <p:nvPr/>
          </p:nvGrpSpPr>
          <p:grpSpPr bwMode="auto">
            <a:xfrm rot="5223426">
              <a:off x="2781" y="3459"/>
              <a:ext cx="480" cy="378"/>
              <a:chOff x="6877" y="4218"/>
              <a:chExt cx="406" cy="378"/>
            </a:xfrm>
          </p:grpSpPr>
          <p:sp>
            <p:nvSpPr>
              <p:cNvPr id="25797" name="Freeform 12"/>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98" name="Oval 13"/>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76" name="Group 14"/>
            <p:cNvGrpSpPr>
              <a:grpSpLocks/>
            </p:cNvGrpSpPr>
            <p:nvPr/>
          </p:nvGrpSpPr>
          <p:grpSpPr bwMode="auto">
            <a:xfrm rot="5223426">
              <a:off x="2781" y="3843"/>
              <a:ext cx="480" cy="378"/>
              <a:chOff x="6877" y="4218"/>
              <a:chExt cx="406" cy="378"/>
            </a:xfrm>
          </p:grpSpPr>
          <p:sp>
            <p:nvSpPr>
              <p:cNvPr id="25795" name="Freeform 15"/>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96" name="Oval 16"/>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77" name="Group 17"/>
            <p:cNvGrpSpPr>
              <a:grpSpLocks/>
            </p:cNvGrpSpPr>
            <p:nvPr/>
          </p:nvGrpSpPr>
          <p:grpSpPr bwMode="auto">
            <a:xfrm rot="5223426">
              <a:off x="2685" y="2259"/>
              <a:ext cx="480" cy="378"/>
              <a:chOff x="6877" y="4218"/>
              <a:chExt cx="406" cy="378"/>
            </a:xfrm>
          </p:grpSpPr>
          <p:sp>
            <p:nvSpPr>
              <p:cNvPr id="25793" name="Freeform 18"/>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94" name="Oval 19"/>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78" name="Group 20"/>
            <p:cNvGrpSpPr>
              <a:grpSpLocks/>
            </p:cNvGrpSpPr>
            <p:nvPr/>
          </p:nvGrpSpPr>
          <p:grpSpPr bwMode="auto">
            <a:xfrm rot="5223426">
              <a:off x="2781" y="3075"/>
              <a:ext cx="480" cy="378"/>
              <a:chOff x="6877" y="4218"/>
              <a:chExt cx="406" cy="378"/>
            </a:xfrm>
          </p:grpSpPr>
          <p:sp>
            <p:nvSpPr>
              <p:cNvPr id="25791" name="Freeform 21"/>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92" name="Oval 22"/>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79" name="Group 23"/>
            <p:cNvGrpSpPr>
              <a:grpSpLocks/>
            </p:cNvGrpSpPr>
            <p:nvPr/>
          </p:nvGrpSpPr>
          <p:grpSpPr bwMode="auto">
            <a:xfrm rot="5223426">
              <a:off x="2637" y="2691"/>
              <a:ext cx="480" cy="378"/>
              <a:chOff x="6877" y="4218"/>
              <a:chExt cx="406" cy="378"/>
            </a:xfrm>
          </p:grpSpPr>
          <p:sp>
            <p:nvSpPr>
              <p:cNvPr id="25789" name="Freeform 24"/>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90" name="Oval 25"/>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80" name="Group 26"/>
            <p:cNvGrpSpPr>
              <a:grpSpLocks/>
            </p:cNvGrpSpPr>
            <p:nvPr/>
          </p:nvGrpSpPr>
          <p:grpSpPr bwMode="auto">
            <a:xfrm rot="5223426">
              <a:off x="2781" y="1827"/>
              <a:ext cx="480" cy="378"/>
              <a:chOff x="6877" y="4218"/>
              <a:chExt cx="406" cy="378"/>
            </a:xfrm>
          </p:grpSpPr>
          <p:sp>
            <p:nvSpPr>
              <p:cNvPr id="25787" name="Freeform 27"/>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88" name="Oval 28"/>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81" name="Group 29"/>
            <p:cNvGrpSpPr>
              <a:grpSpLocks/>
            </p:cNvGrpSpPr>
            <p:nvPr/>
          </p:nvGrpSpPr>
          <p:grpSpPr bwMode="auto">
            <a:xfrm rot="5223426">
              <a:off x="2781" y="1395"/>
              <a:ext cx="480" cy="378"/>
              <a:chOff x="6877" y="4218"/>
              <a:chExt cx="406" cy="378"/>
            </a:xfrm>
          </p:grpSpPr>
          <p:sp>
            <p:nvSpPr>
              <p:cNvPr id="25785" name="Freeform 30"/>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86" name="Oval 31"/>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82" name="Group 32"/>
            <p:cNvGrpSpPr>
              <a:grpSpLocks/>
            </p:cNvGrpSpPr>
            <p:nvPr/>
          </p:nvGrpSpPr>
          <p:grpSpPr bwMode="auto">
            <a:xfrm rot="5223426">
              <a:off x="2781" y="963"/>
              <a:ext cx="480" cy="378"/>
              <a:chOff x="6877" y="4218"/>
              <a:chExt cx="406" cy="378"/>
            </a:xfrm>
          </p:grpSpPr>
          <p:sp>
            <p:nvSpPr>
              <p:cNvPr id="25783" name="Freeform 33"/>
              <p:cNvSpPr>
                <a:spLocks/>
              </p:cNvSpPr>
              <p:nvPr/>
            </p:nvSpPr>
            <p:spPr bwMode="auto">
              <a:xfrm>
                <a:off x="6877" y="4218"/>
                <a:ext cx="406" cy="378"/>
              </a:xfrm>
              <a:custGeom>
                <a:avLst/>
                <a:gdLst>
                  <a:gd name="T0" fmla="*/ 68 w 406"/>
                  <a:gd name="T1" fmla="*/ 328 h 378"/>
                  <a:gd name="T2" fmla="*/ 159 w 406"/>
                  <a:gd name="T3" fmla="*/ 0 h 378"/>
                  <a:gd name="T4" fmla="*/ 341 w 406"/>
                  <a:gd name="T5" fmla="*/ 10 h 378"/>
                  <a:gd name="T6" fmla="*/ 386 w 406"/>
                  <a:gd name="T7" fmla="*/ 82 h 378"/>
                  <a:gd name="T8" fmla="*/ 404 w 406"/>
                  <a:gd name="T9" fmla="*/ 300 h 378"/>
                  <a:gd name="T10" fmla="*/ 395 w 406"/>
                  <a:gd name="T11" fmla="*/ 346 h 378"/>
                  <a:gd name="T12" fmla="*/ 241 w 406"/>
                  <a:gd name="T13" fmla="*/ 373 h 378"/>
                  <a:gd name="T14" fmla="*/ 68 w 406"/>
                  <a:gd name="T15" fmla="*/ 355 h 378"/>
                  <a:gd name="T16" fmla="*/ 68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84" name="Oval 34"/>
              <p:cNvSpPr>
                <a:spLocks noChangeArrowheads="1"/>
              </p:cNvSpPr>
              <p:nvPr/>
            </p:nvSpPr>
            <p:spPr bwMode="auto">
              <a:xfrm>
                <a:off x="7056" y="4320"/>
                <a:ext cx="48" cy="48"/>
              </a:xfrm>
              <a:prstGeom prst="ellipse">
                <a:avLst/>
              </a:prstGeom>
              <a:solidFill>
                <a:srgbClr val="800000"/>
              </a:soli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grpSp>
        <p:nvGrpSpPr>
          <p:cNvPr id="13" name="Group 35"/>
          <p:cNvGrpSpPr>
            <a:grpSpLocks/>
          </p:cNvGrpSpPr>
          <p:nvPr/>
        </p:nvGrpSpPr>
        <p:grpSpPr bwMode="auto">
          <a:xfrm>
            <a:off x="4635500" y="4941888"/>
            <a:ext cx="1930400" cy="838200"/>
            <a:chOff x="3264" y="3168"/>
            <a:chExt cx="1368" cy="528"/>
          </a:xfrm>
        </p:grpSpPr>
        <p:sp>
          <p:nvSpPr>
            <p:cNvPr id="25772" name="Freeform 36"/>
            <p:cNvSpPr>
              <a:spLocks/>
            </p:cNvSpPr>
            <p:nvPr/>
          </p:nvSpPr>
          <p:spPr bwMode="auto">
            <a:xfrm>
              <a:off x="3264" y="3168"/>
              <a:ext cx="1368" cy="528"/>
            </a:xfrm>
            <a:custGeom>
              <a:avLst/>
              <a:gdLst>
                <a:gd name="T0" fmla="*/ 1296 w 1368"/>
                <a:gd name="T1" fmla="*/ 0 h 528"/>
                <a:gd name="T2" fmla="*/ 1152 w 1368"/>
                <a:gd name="T3" fmla="*/ 432 h 528"/>
                <a:gd name="T4" fmla="*/ 0 w 1368"/>
                <a:gd name="T5" fmla="*/ 528 h 528"/>
                <a:gd name="T6" fmla="*/ 0 60000 65536"/>
                <a:gd name="T7" fmla="*/ 0 60000 65536"/>
                <a:gd name="T8" fmla="*/ 0 60000 65536"/>
                <a:gd name="T9" fmla="*/ 0 w 1368"/>
                <a:gd name="T10" fmla="*/ 0 h 528"/>
                <a:gd name="T11" fmla="*/ 1368 w 1368"/>
                <a:gd name="T12" fmla="*/ 528 h 528"/>
              </a:gdLst>
              <a:ahLst/>
              <a:cxnLst>
                <a:cxn ang="T6">
                  <a:pos x="T0" y="T1"/>
                </a:cxn>
                <a:cxn ang="T7">
                  <a:pos x="T2" y="T3"/>
                </a:cxn>
                <a:cxn ang="T8">
                  <a:pos x="T4" y="T5"/>
                </a:cxn>
              </a:cxnLst>
              <a:rect l="T9" t="T10" r="T11" b="T12"/>
              <a:pathLst>
                <a:path w="1368" h="528">
                  <a:moveTo>
                    <a:pt x="1296" y="0"/>
                  </a:moveTo>
                  <a:cubicBezTo>
                    <a:pt x="1332" y="172"/>
                    <a:pt x="1368" y="344"/>
                    <a:pt x="1152" y="432"/>
                  </a:cubicBezTo>
                  <a:cubicBezTo>
                    <a:pt x="936" y="520"/>
                    <a:pt x="468" y="524"/>
                    <a:pt x="0" y="528"/>
                  </a:cubicBezTo>
                </a:path>
              </a:pathLst>
            </a:custGeom>
            <a:noFill/>
            <a:ln w="38100">
              <a:solidFill>
                <a:schemeClr val="bg1"/>
              </a:solidFill>
              <a:round/>
              <a:headEnd/>
              <a:tailEnd type="triangle" w="med" len="med"/>
            </a:ln>
          </p:spPr>
          <p:txBody>
            <a:bodyPr wrap="none" anchor="ctr"/>
            <a:lstStyle/>
            <a:p>
              <a:endParaRPr lang="it-IT"/>
            </a:p>
          </p:txBody>
        </p:sp>
        <p:sp>
          <p:nvSpPr>
            <p:cNvPr id="25773" name="Text Box 37"/>
            <p:cNvSpPr txBox="1">
              <a:spLocks noChangeArrowheads="1"/>
            </p:cNvSpPr>
            <p:nvPr/>
          </p:nvSpPr>
          <p:spPr bwMode="auto">
            <a:xfrm>
              <a:off x="3557" y="3216"/>
              <a:ext cx="801" cy="480"/>
            </a:xfrm>
            <a:prstGeom prst="rect">
              <a:avLst/>
            </a:prstGeom>
            <a:solidFill>
              <a:schemeClr val="tx1"/>
            </a:solidFill>
            <a:ln w="9525">
              <a:noFill/>
              <a:miter lim="800000"/>
              <a:headEnd/>
              <a:tailEnd/>
            </a:ln>
          </p:spPr>
          <p:txBody>
            <a:bodyPr wrap="none" lIns="91404" tIns="45702" rIns="91404" bIns="45702" anchor="ctr">
              <a:spAutoFit/>
            </a:bodyPr>
            <a:lstStyle/>
            <a:p>
              <a:pPr algn="ctr" eaLnBrk="0" hangingPunct="0"/>
              <a:r>
                <a:rPr lang="it-IT" sz="2400" b="1">
                  <a:solidFill>
                    <a:schemeClr val="bg1"/>
                  </a:solidFill>
                  <a:latin typeface="Times New Roman" pitchFamily="18" charset="0"/>
                </a:rPr>
                <a:t>PTHrP</a:t>
              </a:r>
              <a:endParaRPr lang="it-IT" sz="2800" b="1">
                <a:solidFill>
                  <a:schemeClr val="bg1"/>
                </a:solidFill>
                <a:latin typeface="Times New Roman" pitchFamily="18" charset="0"/>
              </a:endParaRPr>
            </a:p>
            <a:p>
              <a:pPr algn="ctr" eaLnBrk="0" hangingPunct="0"/>
              <a:r>
                <a:rPr lang="it-IT" sz="2000" b="1">
                  <a:solidFill>
                    <a:schemeClr val="bg1"/>
                  </a:solidFill>
                  <a:latin typeface="Times New Roman" pitchFamily="18" charset="0"/>
                </a:rPr>
                <a:t>IL-6</a:t>
              </a:r>
              <a:endParaRPr lang="it-IT" sz="2800">
                <a:solidFill>
                  <a:schemeClr val="bg1"/>
                </a:solidFill>
                <a:latin typeface="Times New Roman" pitchFamily="18" charset="0"/>
              </a:endParaRPr>
            </a:p>
          </p:txBody>
        </p:sp>
      </p:grpSp>
      <p:grpSp>
        <p:nvGrpSpPr>
          <p:cNvPr id="14" name="Group 44"/>
          <p:cNvGrpSpPr>
            <a:grpSpLocks/>
          </p:cNvGrpSpPr>
          <p:nvPr/>
        </p:nvGrpSpPr>
        <p:grpSpPr bwMode="auto">
          <a:xfrm>
            <a:off x="3116263" y="1066800"/>
            <a:ext cx="1489075" cy="4419600"/>
            <a:chOff x="2352" y="720"/>
            <a:chExt cx="876" cy="2784"/>
          </a:xfrm>
        </p:grpSpPr>
        <p:sp>
          <p:nvSpPr>
            <p:cNvPr id="25751" name="Freeform 45"/>
            <p:cNvSpPr>
              <a:spLocks/>
            </p:cNvSpPr>
            <p:nvPr/>
          </p:nvSpPr>
          <p:spPr bwMode="auto">
            <a:xfrm>
              <a:off x="2448" y="720"/>
              <a:ext cx="780" cy="2784"/>
            </a:xfrm>
            <a:custGeom>
              <a:avLst/>
              <a:gdLst>
                <a:gd name="T0" fmla="*/ 780 w 780"/>
                <a:gd name="T1" fmla="*/ 4 h 2740"/>
                <a:gd name="T2" fmla="*/ 780 w 780"/>
                <a:gd name="T3" fmla="*/ 4411 h 2740"/>
                <a:gd name="T4" fmla="*/ 588 w 780"/>
                <a:gd name="T5" fmla="*/ 4493 h 2740"/>
                <a:gd name="T6" fmla="*/ 396 w 780"/>
                <a:gd name="T7" fmla="*/ 4411 h 2740"/>
                <a:gd name="T8" fmla="*/ 300 w 780"/>
                <a:gd name="T9" fmla="*/ 4329 h 2740"/>
                <a:gd name="T10" fmla="*/ 204 w 780"/>
                <a:gd name="T11" fmla="*/ 4097 h 2740"/>
                <a:gd name="T12" fmla="*/ 132 w 780"/>
                <a:gd name="T13" fmla="*/ 3882 h 2740"/>
                <a:gd name="T14" fmla="*/ 108 w 780"/>
                <a:gd name="T15" fmla="*/ 3663 h 2740"/>
                <a:gd name="T16" fmla="*/ 84 w 780"/>
                <a:gd name="T17" fmla="*/ 3603 h 2740"/>
                <a:gd name="T18" fmla="*/ 60 w 780"/>
                <a:gd name="T19" fmla="*/ 3487 h 2740"/>
                <a:gd name="T20" fmla="*/ 48 w 780"/>
                <a:gd name="T21" fmla="*/ 3427 h 2740"/>
                <a:gd name="T22" fmla="*/ 24 w 780"/>
                <a:gd name="T23" fmla="*/ 3052 h 2740"/>
                <a:gd name="T24" fmla="*/ 0 w 780"/>
                <a:gd name="T25" fmla="*/ 2938 h 2740"/>
                <a:gd name="T26" fmla="*/ 12 w 780"/>
                <a:gd name="T27" fmla="*/ 1737 h 2740"/>
                <a:gd name="T28" fmla="*/ 36 w 780"/>
                <a:gd name="T29" fmla="*/ 1539 h 2740"/>
                <a:gd name="T30" fmla="*/ 84 w 780"/>
                <a:gd name="T31" fmla="*/ 1402 h 2740"/>
                <a:gd name="T32" fmla="*/ 132 w 780"/>
                <a:gd name="T33" fmla="*/ 1147 h 2740"/>
                <a:gd name="T34" fmla="*/ 180 w 780"/>
                <a:gd name="T35" fmla="*/ 950 h 2740"/>
                <a:gd name="T36" fmla="*/ 228 w 780"/>
                <a:gd name="T37" fmla="*/ 754 h 2740"/>
                <a:gd name="T38" fmla="*/ 324 w 780"/>
                <a:gd name="T39" fmla="*/ 713 h 2740"/>
                <a:gd name="T40" fmla="*/ 420 w 780"/>
                <a:gd name="T41" fmla="*/ 459 h 2740"/>
                <a:gd name="T42" fmla="*/ 468 w 780"/>
                <a:gd name="T43" fmla="*/ 339 h 2740"/>
                <a:gd name="T44" fmla="*/ 480 w 780"/>
                <a:gd name="T45" fmla="*/ 280 h 2740"/>
                <a:gd name="T46" fmla="*/ 660 w 780"/>
                <a:gd name="T47" fmla="*/ 183 h 2740"/>
                <a:gd name="T48" fmla="*/ 756 w 780"/>
                <a:gd name="T49" fmla="*/ 71 h 2740"/>
                <a:gd name="T50" fmla="*/ 780 w 780"/>
                <a:gd name="T51" fmla="*/ 4 h 27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80"/>
                <a:gd name="T79" fmla="*/ 0 h 2740"/>
                <a:gd name="T80" fmla="*/ 780 w 780"/>
                <a:gd name="T81" fmla="*/ 2740 h 27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80" h="2740">
                  <a:moveTo>
                    <a:pt x="780" y="4"/>
                  </a:moveTo>
                  <a:lnTo>
                    <a:pt x="780" y="2692"/>
                  </a:lnTo>
                  <a:lnTo>
                    <a:pt x="588" y="2740"/>
                  </a:lnTo>
                  <a:lnTo>
                    <a:pt x="396" y="2692"/>
                  </a:lnTo>
                  <a:lnTo>
                    <a:pt x="300" y="2644"/>
                  </a:lnTo>
                  <a:lnTo>
                    <a:pt x="204" y="2500"/>
                  </a:lnTo>
                  <a:cubicBezTo>
                    <a:pt x="182" y="2455"/>
                    <a:pt x="150" y="2415"/>
                    <a:pt x="132" y="2368"/>
                  </a:cubicBezTo>
                  <a:cubicBezTo>
                    <a:pt x="117" y="2327"/>
                    <a:pt x="121" y="2276"/>
                    <a:pt x="108" y="2236"/>
                  </a:cubicBezTo>
                  <a:cubicBezTo>
                    <a:pt x="103" y="2222"/>
                    <a:pt x="90" y="2213"/>
                    <a:pt x="84" y="2200"/>
                  </a:cubicBezTo>
                  <a:cubicBezTo>
                    <a:pt x="74" y="2177"/>
                    <a:pt x="68" y="2152"/>
                    <a:pt x="60" y="2128"/>
                  </a:cubicBezTo>
                  <a:cubicBezTo>
                    <a:pt x="56" y="2116"/>
                    <a:pt x="48" y="2092"/>
                    <a:pt x="48" y="2092"/>
                  </a:cubicBezTo>
                  <a:cubicBezTo>
                    <a:pt x="40" y="2016"/>
                    <a:pt x="36" y="1939"/>
                    <a:pt x="24" y="1864"/>
                  </a:cubicBezTo>
                  <a:cubicBezTo>
                    <a:pt x="20" y="1839"/>
                    <a:pt x="0" y="1792"/>
                    <a:pt x="0" y="1792"/>
                  </a:cubicBezTo>
                  <a:cubicBezTo>
                    <a:pt x="9" y="1536"/>
                    <a:pt x="23" y="1314"/>
                    <a:pt x="12" y="1060"/>
                  </a:cubicBezTo>
                  <a:cubicBezTo>
                    <a:pt x="16" y="1035"/>
                    <a:pt x="25" y="969"/>
                    <a:pt x="36" y="940"/>
                  </a:cubicBezTo>
                  <a:cubicBezTo>
                    <a:pt x="93" y="787"/>
                    <a:pt x="28" y="981"/>
                    <a:pt x="84" y="856"/>
                  </a:cubicBezTo>
                  <a:cubicBezTo>
                    <a:pt x="106" y="805"/>
                    <a:pt x="110" y="750"/>
                    <a:pt x="132" y="700"/>
                  </a:cubicBezTo>
                  <a:cubicBezTo>
                    <a:pt x="162" y="630"/>
                    <a:pt x="158" y="667"/>
                    <a:pt x="180" y="580"/>
                  </a:cubicBezTo>
                  <a:cubicBezTo>
                    <a:pt x="187" y="553"/>
                    <a:pt x="197" y="475"/>
                    <a:pt x="228" y="460"/>
                  </a:cubicBezTo>
                  <a:cubicBezTo>
                    <a:pt x="258" y="445"/>
                    <a:pt x="292" y="444"/>
                    <a:pt x="324" y="436"/>
                  </a:cubicBezTo>
                  <a:cubicBezTo>
                    <a:pt x="354" y="347"/>
                    <a:pt x="364" y="353"/>
                    <a:pt x="420" y="280"/>
                  </a:cubicBezTo>
                  <a:cubicBezTo>
                    <a:pt x="438" y="257"/>
                    <a:pt x="459" y="235"/>
                    <a:pt x="468" y="208"/>
                  </a:cubicBezTo>
                  <a:cubicBezTo>
                    <a:pt x="472" y="196"/>
                    <a:pt x="469" y="178"/>
                    <a:pt x="480" y="172"/>
                  </a:cubicBezTo>
                  <a:cubicBezTo>
                    <a:pt x="551" y="137"/>
                    <a:pt x="597" y="154"/>
                    <a:pt x="660" y="112"/>
                  </a:cubicBezTo>
                  <a:cubicBezTo>
                    <a:pt x="688" y="70"/>
                    <a:pt x="708" y="56"/>
                    <a:pt x="756" y="40"/>
                  </a:cubicBezTo>
                  <a:cubicBezTo>
                    <a:pt x="769" y="0"/>
                    <a:pt x="755" y="4"/>
                    <a:pt x="780" y="4"/>
                  </a:cubicBezTo>
                  <a:close/>
                </a:path>
              </a:pathLst>
            </a:custGeom>
            <a:solidFill>
              <a:schemeClr val="tx1"/>
            </a:solidFill>
            <a:ln w="9525">
              <a:solidFill>
                <a:srgbClr val="000000"/>
              </a:solidFill>
              <a:round/>
              <a:headEnd/>
              <a:tailEnd/>
            </a:ln>
          </p:spPr>
          <p:txBody>
            <a:bodyPr wrap="none" anchor="ctr"/>
            <a:lstStyle/>
            <a:p>
              <a:endParaRPr lang="it-IT"/>
            </a:p>
          </p:txBody>
        </p:sp>
        <p:grpSp>
          <p:nvGrpSpPr>
            <p:cNvPr id="25752" name="Group 46"/>
            <p:cNvGrpSpPr>
              <a:grpSpLocks/>
            </p:cNvGrpSpPr>
            <p:nvPr/>
          </p:nvGrpSpPr>
          <p:grpSpPr bwMode="auto">
            <a:xfrm rot="5245783">
              <a:off x="2600" y="2872"/>
              <a:ext cx="371" cy="483"/>
              <a:chOff x="4856" y="1118"/>
              <a:chExt cx="471" cy="455"/>
            </a:xfrm>
          </p:grpSpPr>
          <p:sp>
            <p:nvSpPr>
              <p:cNvPr id="25769" name="Freeform 47"/>
              <p:cNvSpPr>
                <a:spLocks/>
              </p:cNvSpPr>
              <p:nvPr/>
            </p:nvSpPr>
            <p:spPr bwMode="auto">
              <a:xfrm>
                <a:off x="4856" y="1118"/>
                <a:ext cx="471" cy="455"/>
              </a:xfrm>
              <a:custGeom>
                <a:avLst/>
                <a:gdLst>
                  <a:gd name="T0" fmla="*/ 80 w 471"/>
                  <a:gd name="T1" fmla="*/ 391 h 455"/>
                  <a:gd name="T2" fmla="*/ 35 w 471"/>
                  <a:gd name="T3" fmla="*/ 264 h 455"/>
                  <a:gd name="T4" fmla="*/ 162 w 471"/>
                  <a:gd name="T5" fmla="*/ 0 h 455"/>
                  <a:gd name="T6" fmla="*/ 416 w 471"/>
                  <a:gd name="T7" fmla="*/ 64 h 455"/>
                  <a:gd name="T8" fmla="*/ 453 w 471"/>
                  <a:gd name="T9" fmla="*/ 273 h 455"/>
                  <a:gd name="T10" fmla="*/ 389 w 471"/>
                  <a:gd name="T11" fmla="*/ 391 h 455"/>
                  <a:gd name="T12" fmla="*/ 371 w 471"/>
                  <a:gd name="T13" fmla="*/ 364 h 455"/>
                  <a:gd name="T14" fmla="*/ 362 w 471"/>
                  <a:gd name="T15" fmla="*/ 328 h 455"/>
                  <a:gd name="T16" fmla="*/ 353 w 471"/>
                  <a:gd name="T17" fmla="*/ 355 h 455"/>
                  <a:gd name="T18" fmla="*/ 316 w 471"/>
                  <a:gd name="T19" fmla="*/ 400 h 455"/>
                  <a:gd name="T20" fmla="*/ 307 w 471"/>
                  <a:gd name="T21" fmla="*/ 428 h 455"/>
                  <a:gd name="T22" fmla="*/ 262 w 471"/>
                  <a:gd name="T23" fmla="*/ 382 h 455"/>
                  <a:gd name="T24" fmla="*/ 253 w 471"/>
                  <a:gd name="T25" fmla="*/ 328 h 455"/>
                  <a:gd name="T26" fmla="*/ 244 w 471"/>
                  <a:gd name="T27" fmla="*/ 364 h 455"/>
                  <a:gd name="T28" fmla="*/ 226 w 471"/>
                  <a:gd name="T29" fmla="*/ 418 h 455"/>
                  <a:gd name="T30" fmla="*/ 171 w 471"/>
                  <a:gd name="T31" fmla="*/ 364 h 455"/>
                  <a:gd name="T32" fmla="*/ 153 w 471"/>
                  <a:gd name="T33" fmla="*/ 337 h 455"/>
                  <a:gd name="T34" fmla="*/ 144 w 471"/>
                  <a:gd name="T35" fmla="*/ 364 h 455"/>
                  <a:gd name="T36" fmla="*/ 107 w 471"/>
                  <a:gd name="T37" fmla="*/ 455 h 455"/>
                  <a:gd name="T38" fmla="*/ 80 w 471"/>
                  <a:gd name="T39" fmla="*/ 391 h 4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1"/>
                  <a:gd name="T61" fmla="*/ 0 h 455"/>
                  <a:gd name="T62" fmla="*/ 471 w 471"/>
                  <a:gd name="T63" fmla="*/ 455 h 4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1" h="455">
                    <a:moveTo>
                      <a:pt x="80" y="391"/>
                    </a:moveTo>
                    <a:cubicBezTo>
                      <a:pt x="66" y="348"/>
                      <a:pt x="46" y="308"/>
                      <a:pt x="35" y="264"/>
                    </a:cubicBezTo>
                    <a:cubicBezTo>
                      <a:pt x="43" y="89"/>
                      <a:pt x="0" y="23"/>
                      <a:pt x="162" y="0"/>
                    </a:cubicBezTo>
                    <a:cubicBezTo>
                      <a:pt x="246" y="8"/>
                      <a:pt x="344" y="16"/>
                      <a:pt x="416" y="64"/>
                    </a:cubicBezTo>
                    <a:cubicBezTo>
                      <a:pt x="452" y="160"/>
                      <a:pt x="443" y="103"/>
                      <a:pt x="453" y="273"/>
                    </a:cubicBezTo>
                    <a:cubicBezTo>
                      <a:pt x="449" y="328"/>
                      <a:pt x="471" y="446"/>
                      <a:pt x="389" y="391"/>
                    </a:cubicBezTo>
                    <a:cubicBezTo>
                      <a:pt x="383" y="382"/>
                      <a:pt x="375" y="374"/>
                      <a:pt x="371" y="364"/>
                    </a:cubicBezTo>
                    <a:cubicBezTo>
                      <a:pt x="366" y="353"/>
                      <a:pt x="373" y="334"/>
                      <a:pt x="362" y="328"/>
                    </a:cubicBezTo>
                    <a:cubicBezTo>
                      <a:pt x="354" y="324"/>
                      <a:pt x="357" y="347"/>
                      <a:pt x="353" y="355"/>
                    </a:cubicBezTo>
                    <a:cubicBezTo>
                      <a:pt x="341" y="379"/>
                      <a:pt x="334" y="383"/>
                      <a:pt x="316" y="400"/>
                    </a:cubicBezTo>
                    <a:cubicBezTo>
                      <a:pt x="313" y="409"/>
                      <a:pt x="317" y="426"/>
                      <a:pt x="307" y="428"/>
                    </a:cubicBezTo>
                    <a:cubicBezTo>
                      <a:pt x="291" y="432"/>
                      <a:pt x="267" y="389"/>
                      <a:pt x="262" y="382"/>
                    </a:cubicBezTo>
                    <a:cubicBezTo>
                      <a:pt x="259" y="364"/>
                      <a:pt x="266" y="341"/>
                      <a:pt x="253" y="328"/>
                    </a:cubicBezTo>
                    <a:cubicBezTo>
                      <a:pt x="244" y="319"/>
                      <a:pt x="248" y="352"/>
                      <a:pt x="244" y="364"/>
                    </a:cubicBezTo>
                    <a:cubicBezTo>
                      <a:pt x="239" y="382"/>
                      <a:pt x="226" y="418"/>
                      <a:pt x="226" y="418"/>
                    </a:cubicBezTo>
                    <a:cubicBezTo>
                      <a:pt x="208" y="400"/>
                      <a:pt x="188" y="383"/>
                      <a:pt x="171" y="364"/>
                    </a:cubicBezTo>
                    <a:cubicBezTo>
                      <a:pt x="164" y="356"/>
                      <a:pt x="164" y="337"/>
                      <a:pt x="153" y="337"/>
                    </a:cubicBezTo>
                    <a:cubicBezTo>
                      <a:pt x="144" y="337"/>
                      <a:pt x="146" y="355"/>
                      <a:pt x="144" y="364"/>
                    </a:cubicBezTo>
                    <a:cubicBezTo>
                      <a:pt x="134" y="404"/>
                      <a:pt x="137" y="427"/>
                      <a:pt x="107" y="455"/>
                    </a:cubicBezTo>
                    <a:cubicBezTo>
                      <a:pt x="93" y="434"/>
                      <a:pt x="80" y="417"/>
                      <a:pt x="80" y="391"/>
                    </a:cubicBezTo>
                    <a:close/>
                  </a:path>
                </a:pathLst>
              </a:custGeom>
              <a:gradFill rotWithShape="0">
                <a:gsLst>
                  <a:gs pos="0">
                    <a:srgbClr val="FF9900"/>
                  </a:gs>
                  <a:gs pos="100000">
                    <a:srgbClr val="583500"/>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70" name="Oval 48"/>
              <p:cNvSpPr>
                <a:spLocks noChangeArrowheads="1"/>
              </p:cNvSpPr>
              <p:nvPr/>
            </p:nvSpPr>
            <p:spPr bwMode="auto">
              <a:xfrm>
                <a:off x="4992" y="1296"/>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sp>
            <p:nvSpPr>
              <p:cNvPr id="25771" name="Oval 49"/>
              <p:cNvSpPr>
                <a:spLocks noChangeArrowheads="1"/>
              </p:cNvSpPr>
              <p:nvPr/>
            </p:nvSpPr>
            <p:spPr bwMode="auto">
              <a:xfrm>
                <a:off x="5088" y="1200"/>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53" name="Group 50"/>
            <p:cNvGrpSpPr>
              <a:grpSpLocks/>
            </p:cNvGrpSpPr>
            <p:nvPr/>
          </p:nvGrpSpPr>
          <p:grpSpPr bwMode="auto">
            <a:xfrm rot="5245783">
              <a:off x="2408" y="2488"/>
              <a:ext cx="371" cy="483"/>
              <a:chOff x="4856" y="1118"/>
              <a:chExt cx="471" cy="455"/>
            </a:xfrm>
          </p:grpSpPr>
          <p:sp>
            <p:nvSpPr>
              <p:cNvPr id="25766" name="Freeform 51"/>
              <p:cNvSpPr>
                <a:spLocks/>
              </p:cNvSpPr>
              <p:nvPr/>
            </p:nvSpPr>
            <p:spPr bwMode="auto">
              <a:xfrm>
                <a:off x="4856" y="1118"/>
                <a:ext cx="471" cy="455"/>
              </a:xfrm>
              <a:custGeom>
                <a:avLst/>
                <a:gdLst>
                  <a:gd name="T0" fmla="*/ 80 w 471"/>
                  <a:gd name="T1" fmla="*/ 391 h 455"/>
                  <a:gd name="T2" fmla="*/ 35 w 471"/>
                  <a:gd name="T3" fmla="*/ 264 h 455"/>
                  <a:gd name="T4" fmla="*/ 162 w 471"/>
                  <a:gd name="T5" fmla="*/ 0 h 455"/>
                  <a:gd name="T6" fmla="*/ 416 w 471"/>
                  <a:gd name="T7" fmla="*/ 64 h 455"/>
                  <a:gd name="T8" fmla="*/ 453 w 471"/>
                  <a:gd name="T9" fmla="*/ 273 h 455"/>
                  <a:gd name="T10" fmla="*/ 389 w 471"/>
                  <a:gd name="T11" fmla="*/ 391 h 455"/>
                  <a:gd name="T12" fmla="*/ 371 w 471"/>
                  <a:gd name="T13" fmla="*/ 364 h 455"/>
                  <a:gd name="T14" fmla="*/ 362 w 471"/>
                  <a:gd name="T15" fmla="*/ 328 h 455"/>
                  <a:gd name="T16" fmla="*/ 353 w 471"/>
                  <a:gd name="T17" fmla="*/ 355 h 455"/>
                  <a:gd name="T18" fmla="*/ 316 w 471"/>
                  <a:gd name="T19" fmla="*/ 400 h 455"/>
                  <a:gd name="T20" fmla="*/ 307 w 471"/>
                  <a:gd name="T21" fmla="*/ 428 h 455"/>
                  <a:gd name="T22" fmla="*/ 262 w 471"/>
                  <a:gd name="T23" fmla="*/ 382 h 455"/>
                  <a:gd name="T24" fmla="*/ 253 w 471"/>
                  <a:gd name="T25" fmla="*/ 328 h 455"/>
                  <a:gd name="T26" fmla="*/ 244 w 471"/>
                  <a:gd name="T27" fmla="*/ 364 h 455"/>
                  <a:gd name="T28" fmla="*/ 226 w 471"/>
                  <a:gd name="T29" fmla="*/ 418 h 455"/>
                  <a:gd name="T30" fmla="*/ 171 w 471"/>
                  <a:gd name="T31" fmla="*/ 364 h 455"/>
                  <a:gd name="T32" fmla="*/ 153 w 471"/>
                  <a:gd name="T33" fmla="*/ 337 h 455"/>
                  <a:gd name="T34" fmla="*/ 144 w 471"/>
                  <a:gd name="T35" fmla="*/ 364 h 455"/>
                  <a:gd name="T36" fmla="*/ 107 w 471"/>
                  <a:gd name="T37" fmla="*/ 455 h 455"/>
                  <a:gd name="T38" fmla="*/ 80 w 471"/>
                  <a:gd name="T39" fmla="*/ 391 h 4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1"/>
                  <a:gd name="T61" fmla="*/ 0 h 455"/>
                  <a:gd name="T62" fmla="*/ 471 w 471"/>
                  <a:gd name="T63" fmla="*/ 455 h 4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1" h="455">
                    <a:moveTo>
                      <a:pt x="80" y="391"/>
                    </a:moveTo>
                    <a:cubicBezTo>
                      <a:pt x="66" y="348"/>
                      <a:pt x="46" y="308"/>
                      <a:pt x="35" y="264"/>
                    </a:cubicBezTo>
                    <a:cubicBezTo>
                      <a:pt x="43" y="89"/>
                      <a:pt x="0" y="23"/>
                      <a:pt x="162" y="0"/>
                    </a:cubicBezTo>
                    <a:cubicBezTo>
                      <a:pt x="246" y="8"/>
                      <a:pt x="344" y="16"/>
                      <a:pt x="416" y="64"/>
                    </a:cubicBezTo>
                    <a:cubicBezTo>
                      <a:pt x="452" y="160"/>
                      <a:pt x="443" y="103"/>
                      <a:pt x="453" y="273"/>
                    </a:cubicBezTo>
                    <a:cubicBezTo>
                      <a:pt x="449" y="328"/>
                      <a:pt x="471" y="446"/>
                      <a:pt x="389" y="391"/>
                    </a:cubicBezTo>
                    <a:cubicBezTo>
                      <a:pt x="383" y="382"/>
                      <a:pt x="375" y="374"/>
                      <a:pt x="371" y="364"/>
                    </a:cubicBezTo>
                    <a:cubicBezTo>
                      <a:pt x="366" y="353"/>
                      <a:pt x="373" y="334"/>
                      <a:pt x="362" y="328"/>
                    </a:cubicBezTo>
                    <a:cubicBezTo>
                      <a:pt x="354" y="324"/>
                      <a:pt x="357" y="347"/>
                      <a:pt x="353" y="355"/>
                    </a:cubicBezTo>
                    <a:cubicBezTo>
                      <a:pt x="341" y="379"/>
                      <a:pt x="334" y="383"/>
                      <a:pt x="316" y="400"/>
                    </a:cubicBezTo>
                    <a:cubicBezTo>
                      <a:pt x="313" y="409"/>
                      <a:pt x="317" y="426"/>
                      <a:pt x="307" y="428"/>
                    </a:cubicBezTo>
                    <a:cubicBezTo>
                      <a:pt x="291" y="432"/>
                      <a:pt x="267" y="389"/>
                      <a:pt x="262" y="382"/>
                    </a:cubicBezTo>
                    <a:cubicBezTo>
                      <a:pt x="259" y="364"/>
                      <a:pt x="266" y="341"/>
                      <a:pt x="253" y="328"/>
                    </a:cubicBezTo>
                    <a:cubicBezTo>
                      <a:pt x="244" y="319"/>
                      <a:pt x="248" y="352"/>
                      <a:pt x="244" y="364"/>
                    </a:cubicBezTo>
                    <a:cubicBezTo>
                      <a:pt x="239" y="382"/>
                      <a:pt x="226" y="418"/>
                      <a:pt x="226" y="418"/>
                    </a:cubicBezTo>
                    <a:cubicBezTo>
                      <a:pt x="208" y="400"/>
                      <a:pt x="188" y="383"/>
                      <a:pt x="171" y="364"/>
                    </a:cubicBezTo>
                    <a:cubicBezTo>
                      <a:pt x="164" y="356"/>
                      <a:pt x="164" y="337"/>
                      <a:pt x="153" y="337"/>
                    </a:cubicBezTo>
                    <a:cubicBezTo>
                      <a:pt x="144" y="337"/>
                      <a:pt x="146" y="355"/>
                      <a:pt x="144" y="364"/>
                    </a:cubicBezTo>
                    <a:cubicBezTo>
                      <a:pt x="134" y="404"/>
                      <a:pt x="137" y="427"/>
                      <a:pt x="107" y="455"/>
                    </a:cubicBezTo>
                    <a:cubicBezTo>
                      <a:pt x="93" y="434"/>
                      <a:pt x="80" y="417"/>
                      <a:pt x="80" y="391"/>
                    </a:cubicBezTo>
                    <a:close/>
                  </a:path>
                </a:pathLst>
              </a:custGeom>
              <a:gradFill rotWithShape="0">
                <a:gsLst>
                  <a:gs pos="0">
                    <a:srgbClr val="FF9900"/>
                  </a:gs>
                  <a:gs pos="100000">
                    <a:srgbClr val="583500"/>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67" name="Oval 52"/>
              <p:cNvSpPr>
                <a:spLocks noChangeArrowheads="1"/>
              </p:cNvSpPr>
              <p:nvPr/>
            </p:nvSpPr>
            <p:spPr bwMode="auto">
              <a:xfrm>
                <a:off x="4992" y="1296"/>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sp>
            <p:nvSpPr>
              <p:cNvPr id="25768" name="Oval 53"/>
              <p:cNvSpPr>
                <a:spLocks noChangeArrowheads="1"/>
              </p:cNvSpPr>
              <p:nvPr/>
            </p:nvSpPr>
            <p:spPr bwMode="auto">
              <a:xfrm>
                <a:off x="5088" y="1200"/>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54" name="Group 54"/>
            <p:cNvGrpSpPr>
              <a:grpSpLocks/>
            </p:cNvGrpSpPr>
            <p:nvPr/>
          </p:nvGrpSpPr>
          <p:grpSpPr bwMode="auto">
            <a:xfrm rot="5245783">
              <a:off x="2408" y="2056"/>
              <a:ext cx="371" cy="483"/>
              <a:chOff x="4856" y="1118"/>
              <a:chExt cx="471" cy="455"/>
            </a:xfrm>
          </p:grpSpPr>
          <p:sp>
            <p:nvSpPr>
              <p:cNvPr id="25763" name="Freeform 55"/>
              <p:cNvSpPr>
                <a:spLocks/>
              </p:cNvSpPr>
              <p:nvPr/>
            </p:nvSpPr>
            <p:spPr bwMode="auto">
              <a:xfrm>
                <a:off x="4856" y="1118"/>
                <a:ext cx="471" cy="455"/>
              </a:xfrm>
              <a:custGeom>
                <a:avLst/>
                <a:gdLst>
                  <a:gd name="T0" fmla="*/ 80 w 471"/>
                  <a:gd name="T1" fmla="*/ 391 h 455"/>
                  <a:gd name="T2" fmla="*/ 35 w 471"/>
                  <a:gd name="T3" fmla="*/ 264 h 455"/>
                  <a:gd name="T4" fmla="*/ 162 w 471"/>
                  <a:gd name="T5" fmla="*/ 0 h 455"/>
                  <a:gd name="T6" fmla="*/ 416 w 471"/>
                  <a:gd name="T7" fmla="*/ 64 h 455"/>
                  <a:gd name="T8" fmla="*/ 453 w 471"/>
                  <a:gd name="T9" fmla="*/ 273 h 455"/>
                  <a:gd name="T10" fmla="*/ 389 w 471"/>
                  <a:gd name="T11" fmla="*/ 391 h 455"/>
                  <a:gd name="T12" fmla="*/ 371 w 471"/>
                  <a:gd name="T13" fmla="*/ 364 h 455"/>
                  <a:gd name="T14" fmla="*/ 362 w 471"/>
                  <a:gd name="T15" fmla="*/ 328 h 455"/>
                  <a:gd name="T16" fmla="*/ 353 w 471"/>
                  <a:gd name="T17" fmla="*/ 355 h 455"/>
                  <a:gd name="T18" fmla="*/ 316 w 471"/>
                  <a:gd name="T19" fmla="*/ 400 h 455"/>
                  <a:gd name="T20" fmla="*/ 307 w 471"/>
                  <a:gd name="T21" fmla="*/ 428 h 455"/>
                  <a:gd name="T22" fmla="*/ 262 w 471"/>
                  <a:gd name="T23" fmla="*/ 382 h 455"/>
                  <a:gd name="T24" fmla="*/ 253 w 471"/>
                  <a:gd name="T25" fmla="*/ 328 h 455"/>
                  <a:gd name="T26" fmla="*/ 244 w 471"/>
                  <a:gd name="T27" fmla="*/ 364 h 455"/>
                  <a:gd name="T28" fmla="*/ 226 w 471"/>
                  <a:gd name="T29" fmla="*/ 418 h 455"/>
                  <a:gd name="T30" fmla="*/ 171 w 471"/>
                  <a:gd name="T31" fmla="*/ 364 h 455"/>
                  <a:gd name="T32" fmla="*/ 153 w 471"/>
                  <a:gd name="T33" fmla="*/ 337 h 455"/>
                  <a:gd name="T34" fmla="*/ 144 w 471"/>
                  <a:gd name="T35" fmla="*/ 364 h 455"/>
                  <a:gd name="T36" fmla="*/ 107 w 471"/>
                  <a:gd name="T37" fmla="*/ 455 h 455"/>
                  <a:gd name="T38" fmla="*/ 80 w 471"/>
                  <a:gd name="T39" fmla="*/ 391 h 4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1"/>
                  <a:gd name="T61" fmla="*/ 0 h 455"/>
                  <a:gd name="T62" fmla="*/ 471 w 471"/>
                  <a:gd name="T63" fmla="*/ 455 h 4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1" h="455">
                    <a:moveTo>
                      <a:pt x="80" y="391"/>
                    </a:moveTo>
                    <a:cubicBezTo>
                      <a:pt x="66" y="348"/>
                      <a:pt x="46" y="308"/>
                      <a:pt x="35" y="264"/>
                    </a:cubicBezTo>
                    <a:cubicBezTo>
                      <a:pt x="43" y="89"/>
                      <a:pt x="0" y="23"/>
                      <a:pt x="162" y="0"/>
                    </a:cubicBezTo>
                    <a:cubicBezTo>
                      <a:pt x="246" y="8"/>
                      <a:pt x="344" y="16"/>
                      <a:pt x="416" y="64"/>
                    </a:cubicBezTo>
                    <a:cubicBezTo>
                      <a:pt x="452" y="160"/>
                      <a:pt x="443" y="103"/>
                      <a:pt x="453" y="273"/>
                    </a:cubicBezTo>
                    <a:cubicBezTo>
                      <a:pt x="449" y="328"/>
                      <a:pt x="471" y="446"/>
                      <a:pt x="389" y="391"/>
                    </a:cubicBezTo>
                    <a:cubicBezTo>
                      <a:pt x="383" y="382"/>
                      <a:pt x="375" y="374"/>
                      <a:pt x="371" y="364"/>
                    </a:cubicBezTo>
                    <a:cubicBezTo>
                      <a:pt x="366" y="353"/>
                      <a:pt x="373" y="334"/>
                      <a:pt x="362" y="328"/>
                    </a:cubicBezTo>
                    <a:cubicBezTo>
                      <a:pt x="354" y="324"/>
                      <a:pt x="357" y="347"/>
                      <a:pt x="353" y="355"/>
                    </a:cubicBezTo>
                    <a:cubicBezTo>
                      <a:pt x="341" y="379"/>
                      <a:pt x="334" y="383"/>
                      <a:pt x="316" y="400"/>
                    </a:cubicBezTo>
                    <a:cubicBezTo>
                      <a:pt x="313" y="409"/>
                      <a:pt x="317" y="426"/>
                      <a:pt x="307" y="428"/>
                    </a:cubicBezTo>
                    <a:cubicBezTo>
                      <a:pt x="291" y="432"/>
                      <a:pt x="267" y="389"/>
                      <a:pt x="262" y="382"/>
                    </a:cubicBezTo>
                    <a:cubicBezTo>
                      <a:pt x="259" y="364"/>
                      <a:pt x="266" y="341"/>
                      <a:pt x="253" y="328"/>
                    </a:cubicBezTo>
                    <a:cubicBezTo>
                      <a:pt x="244" y="319"/>
                      <a:pt x="248" y="352"/>
                      <a:pt x="244" y="364"/>
                    </a:cubicBezTo>
                    <a:cubicBezTo>
                      <a:pt x="239" y="382"/>
                      <a:pt x="226" y="418"/>
                      <a:pt x="226" y="418"/>
                    </a:cubicBezTo>
                    <a:cubicBezTo>
                      <a:pt x="208" y="400"/>
                      <a:pt x="188" y="383"/>
                      <a:pt x="171" y="364"/>
                    </a:cubicBezTo>
                    <a:cubicBezTo>
                      <a:pt x="164" y="356"/>
                      <a:pt x="164" y="337"/>
                      <a:pt x="153" y="337"/>
                    </a:cubicBezTo>
                    <a:cubicBezTo>
                      <a:pt x="144" y="337"/>
                      <a:pt x="146" y="355"/>
                      <a:pt x="144" y="364"/>
                    </a:cubicBezTo>
                    <a:cubicBezTo>
                      <a:pt x="134" y="404"/>
                      <a:pt x="137" y="427"/>
                      <a:pt x="107" y="455"/>
                    </a:cubicBezTo>
                    <a:cubicBezTo>
                      <a:pt x="93" y="434"/>
                      <a:pt x="80" y="417"/>
                      <a:pt x="80" y="391"/>
                    </a:cubicBezTo>
                    <a:close/>
                  </a:path>
                </a:pathLst>
              </a:custGeom>
              <a:gradFill rotWithShape="0">
                <a:gsLst>
                  <a:gs pos="0">
                    <a:srgbClr val="FF9900"/>
                  </a:gs>
                  <a:gs pos="100000">
                    <a:srgbClr val="583500"/>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64" name="Oval 56"/>
              <p:cNvSpPr>
                <a:spLocks noChangeArrowheads="1"/>
              </p:cNvSpPr>
              <p:nvPr/>
            </p:nvSpPr>
            <p:spPr bwMode="auto">
              <a:xfrm>
                <a:off x="4992" y="1296"/>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sp>
            <p:nvSpPr>
              <p:cNvPr id="25765" name="Oval 57"/>
              <p:cNvSpPr>
                <a:spLocks noChangeArrowheads="1"/>
              </p:cNvSpPr>
              <p:nvPr/>
            </p:nvSpPr>
            <p:spPr bwMode="auto">
              <a:xfrm>
                <a:off x="5088" y="1200"/>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55" name="Group 58"/>
            <p:cNvGrpSpPr>
              <a:grpSpLocks/>
            </p:cNvGrpSpPr>
            <p:nvPr/>
          </p:nvGrpSpPr>
          <p:grpSpPr bwMode="auto">
            <a:xfrm rot="6235052">
              <a:off x="2408" y="1624"/>
              <a:ext cx="371" cy="483"/>
              <a:chOff x="4856" y="1118"/>
              <a:chExt cx="471" cy="455"/>
            </a:xfrm>
          </p:grpSpPr>
          <p:sp>
            <p:nvSpPr>
              <p:cNvPr id="25760" name="Freeform 59"/>
              <p:cNvSpPr>
                <a:spLocks/>
              </p:cNvSpPr>
              <p:nvPr/>
            </p:nvSpPr>
            <p:spPr bwMode="auto">
              <a:xfrm>
                <a:off x="4856" y="1118"/>
                <a:ext cx="471" cy="455"/>
              </a:xfrm>
              <a:custGeom>
                <a:avLst/>
                <a:gdLst>
                  <a:gd name="T0" fmla="*/ 80 w 471"/>
                  <a:gd name="T1" fmla="*/ 391 h 455"/>
                  <a:gd name="T2" fmla="*/ 35 w 471"/>
                  <a:gd name="T3" fmla="*/ 264 h 455"/>
                  <a:gd name="T4" fmla="*/ 162 w 471"/>
                  <a:gd name="T5" fmla="*/ 0 h 455"/>
                  <a:gd name="T6" fmla="*/ 416 w 471"/>
                  <a:gd name="T7" fmla="*/ 64 h 455"/>
                  <a:gd name="T8" fmla="*/ 453 w 471"/>
                  <a:gd name="T9" fmla="*/ 273 h 455"/>
                  <a:gd name="T10" fmla="*/ 389 w 471"/>
                  <a:gd name="T11" fmla="*/ 391 h 455"/>
                  <a:gd name="T12" fmla="*/ 371 w 471"/>
                  <a:gd name="T13" fmla="*/ 364 h 455"/>
                  <a:gd name="T14" fmla="*/ 362 w 471"/>
                  <a:gd name="T15" fmla="*/ 328 h 455"/>
                  <a:gd name="T16" fmla="*/ 353 w 471"/>
                  <a:gd name="T17" fmla="*/ 355 h 455"/>
                  <a:gd name="T18" fmla="*/ 316 w 471"/>
                  <a:gd name="T19" fmla="*/ 400 h 455"/>
                  <a:gd name="T20" fmla="*/ 307 w 471"/>
                  <a:gd name="T21" fmla="*/ 428 h 455"/>
                  <a:gd name="T22" fmla="*/ 262 w 471"/>
                  <a:gd name="T23" fmla="*/ 382 h 455"/>
                  <a:gd name="T24" fmla="*/ 253 w 471"/>
                  <a:gd name="T25" fmla="*/ 328 h 455"/>
                  <a:gd name="T26" fmla="*/ 244 w 471"/>
                  <a:gd name="T27" fmla="*/ 364 h 455"/>
                  <a:gd name="T28" fmla="*/ 226 w 471"/>
                  <a:gd name="T29" fmla="*/ 418 h 455"/>
                  <a:gd name="T30" fmla="*/ 171 w 471"/>
                  <a:gd name="T31" fmla="*/ 364 h 455"/>
                  <a:gd name="T32" fmla="*/ 153 w 471"/>
                  <a:gd name="T33" fmla="*/ 337 h 455"/>
                  <a:gd name="T34" fmla="*/ 144 w 471"/>
                  <a:gd name="T35" fmla="*/ 364 h 455"/>
                  <a:gd name="T36" fmla="*/ 107 w 471"/>
                  <a:gd name="T37" fmla="*/ 455 h 455"/>
                  <a:gd name="T38" fmla="*/ 80 w 471"/>
                  <a:gd name="T39" fmla="*/ 391 h 4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1"/>
                  <a:gd name="T61" fmla="*/ 0 h 455"/>
                  <a:gd name="T62" fmla="*/ 471 w 471"/>
                  <a:gd name="T63" fmla="*/ 455 h 4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1" h="455">
                    <a:moveTo>
                      <a:pt x="80" y="391"/>
                    </a:moveTo>
                    <a:cubicBezTo>
                      <a:pt x="66" y="348"/>
                      <a:pt x="46" y="308"/>
                      <a:pt x="35" y="264"/>
                    </a:cubicBezTo>
                    <a:cubicBezTo>
                      <a:pt x="43" y="89"/>
                      <a:pt x="0" y="23"/>
                      <a:pt x="162" y="0"/>
                    </a:cubicBezTo>
                    <a:cubicBezTo>
                      <a:pt x="246" y="8"/>
                      <a:pt x="344" y="16"/>
                      <a:pt x="416" y="64"/>
                    </a:cubicBezTo>
                    <a:cubicBezTo>
                      <a:pt x="452" y="160"/>
                      <a:pt x="443" y="103"/>
                      <a:pt x="453" y="273"/>
                    </a:cubicBezTo>
                    <a:cubicBezTo>
                      <a:pt x="449" y="328"/>
                      <a:pt x="471" y="446"/>
                      <a:pt x="389" y="391"/>
                    </a:cubicBezTo>
                    <a:cubicBezTo>
                      <a:pt x="383" y="382"/>
                      <a:pt x="375" y="374"/>
                      <a:pt x="371" y="364"/>
                    </a:cubicBezTo>
                    <a:cubicBezTo>
                      <a:pt x="366" y="353"/>
                      <a:pt x="373" y="334"/>
                      <a:pt x="362" y="328"/>
                    </a:cubicBezTo>
                    <a:cubicBezTo>
                      <a:pt x="354" y="324"/>
                      <a:pt x="357" y="347"/>
                      <a:pt x="353" y="355"/>
                    </a:cubicBezTo>
                    <a:cubicBezTo>
                      <a:pt x="341" y="379"/>
                      <a:pt x="334" y="383"/>
                      <a:pt x="316" y="400"/>
                    </a:cubicBezTo>
                    <a:cubicBezTo>
                      <a:pt x="313" y="409"/>
                      <a:pt x="317" y="426"/>
                      <a:pt x="307" y="428"/>
                    </a:cubicBezTo>
                    <a:cubicBezTo>
                      <a:pt x="291" y="432"/>
                      <a:pt x="267" y="389"/>
                      <a:pt x="262" y="382"/>
                    </a:cubicBezTo>
                    <a:cubicBezTo>
                      <a:pt x="259" y="364"/>
                      <a:pt x="266" y="341"/>
                      <a:pt x="253" y="328"/>
                    </a:cubicBezTo>
                    <a:cubicBezTo>
                      <a:pt x="244" y="319"/>
                      <a:pt x="248" y="352"/>
                      <a:pt x="244" y="364"/>
                    </a:cubicBezTo>
                    <a:cubicBezTo>
                      <a:pt x="239" y="382"/>
                      <a:pt x="226" y="418"/>
                      <a:pt x="226" y="418"/>
                    </a:cubicBezTo>
                    <a:cubicBezTo>
                      <a:pt x="208" y="400"/>
                      <a:pt x="188" y="383"/>
                      <a:pt x="171" y="364"/>
                    </a:cubicBezTo>
                    <a:cubicBezTo>
                      <a:pt x="164" y="356"/>
                      <a:pt x="164" y="337"/>
                      <a:pt x="153" y="337"/>
                    </a:cubicBezTo>
                    <a:cubicBezTo>
                      <a:pt x="144" y="337"/>
                      <a:pt x="146" y="355"/>
                      <a:pt x="144" y="364"/>
                    </a:cubicBezTo>
                    <a:cubicBezTo>
                      <a:pt x="134" y="404"/>
                      <a:pt x="137" y="427"/>
                      <a:pt x="107" y="455"/>
                    </a:cubicBezTo>
                    <a:cubicBezTo>
                      <a:pt x="93" y="434"/>
                      <a:pt x="80" y="417"/>
                      <a:pt x="80" y="391"/>
                    </a:cubicBezTo>
                    <a:close/>
                  </a:path>
                </a:pathLst>
              </a:custGeom>
              <a:gradFill rotWithShape="0">
                <a:gsLst>
                  <a:gs pos="0">
                    <a:srgbClr val="FF9900"/>
                  </a:gs>
                  <a:gs pos="100000">
                    <a:srgbClr val="583500"/>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61" name="Oval 60"/>
              <p:cNvSpPr>
                <a:spLocks noChangeArrowheads="1"/>
              </p:cNvSpPr>
              <p:nvPr/>
            </p:nvSpPr>
            <p:spPr bwMode="auto">
              <a:xfrm>
                <a:off x="4992" y="1296"/>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sp>
            <p:nvSpPr>
              <p:cNvPr id="25762" name="Oval 61"/>
              <p:cNvSpPr>
                <a:spLocks noChangeArrowheads="1"/>
              </p:cNvSpPr>
              <p:nvPr/>
            </p:nvSpPr>
            <p:spPr bwMode="auto">
              <a:xfrm>
                <a:off x="5088" y="1200"/>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nvGrpSpPr>
            <p:cNvPr id="25756" name="Group 62"/>
            <p:cNvGrpSpPr>
              <a:grpSpLocks/>
            </p:cNvGrpSpPr>
            <p:nvPr/>
          </p:nvGrpSpPr>
          <p:grpSpPr bwMode="auto">
            <a:xfrm rot="6673923">
              <a:off x="2474" y="1145"/>
              <a:ext cx="371" cy="416"/>
              <a:chOff x="4856" y="1118"/>
              <a:chExt cx="471" cy="455"/>
            </a:xfrm>
          </p:grpSpPr>
          <p:sp>
            <p:nvSpPr>
              <p:cNvPr id="25757" name="Freeform 63"/>
              <p:cNvSpPr>
                <a:spLocks/>
              </p:cNvSpPr>
              <p:nvPr/>
            </p:nvSpPr>
            <p:spPr bwMode="auto">
              <a:xfrm>
                <a:off x="4856" y="1118"/>
                <a:ext cx="471" cy="455"/>
              </a:xfrm>
              <a:custGeom>
                <a:avLst/>
                <a:gdLst>
                  <a:gd name="T0" fmla="*/ 80 w 471"/>
                  <a:gd name="T1" fmla="*/ 391 h 455"/>
                  <a:gd name="T2" fmla="*/ 35 w 471"/>
                  <a:gd name="T3" fmla="*/ 264 h 455"/>
                  <a:gd name="T4" fmla="*/ 162 w 471"/>
                  <a:gd name="T5" fmla="*/ 0 h 455"/>
                  <a:gd name="T6" fmla="*/ 416 w 471"/>
                  <a:gd name="T7" fmla="*/ 64 h 455"/>
                  <a:gd name="T8" fmla="*/ 453 w 471"/>
                  <a:gd name="T9" fmla="*/ 273 h 455"/>
                  <a:gd name="T10" fmla="*/ 389 w 471"/>
                  <a:gd name="T11" fmla="*/ 391 h 455"/>
                  <a:gd name="T12" fmla="*/ 371 w 471"/>
                  <a:gd name="T13" fmla="*/ 364 h 455"/>
                  <a:gd name="T14" fmla="*/ 362 w 471"/>
                  <a:gd name="T15" fmla="*/ 328 h 455"/>
                  <a:gd name="T16" fmla="*/ 353 w 471"/>
                  <a:gd name="T17" fmla="*/ 355 h 455"/>
                  <a:gd name="T18" fmla="*/ 316 w 471"/>
                  <a:gd name="T19" fmla="*/ 400 h 455"/>
                  <a:gd name="T20" fmla="*/ 307 w 471"/>
                  <a:gd name="T21" fmla="*/ 428 h 455"/>
                  <a:gd name="T22" fmla="*/ 262 w 471"/>
                  <a:gd name="T23" fmla="*/ 382 h 455"/>
                  <a:gd name="T24" fmla="*/ 253 w 471"/>
                  <a:gd name="T25" fmla="*/ 328 h 455"/>
                  <a:gd name="T26" fmla="*/ 244 w 471"/>
                  <a:gd name="T27" fmla="*/ 364 h 455"/>
                  <a:gd name="T28" fmla="*/ 226 w 471"/>
                  <a:gd name="T29" fmla="*/ 418 h 455"/>
                  <a:gd name="T30" fmla="*/ 171 w 471"/>
                  <a:gd name="T31" fmla="*/ 364 h 455"/>
                  <a:gd name="T32" fmla="*/ 153 w 471"/>
                  <a:gd name="T33" fmla="*/ 337 h 455"/>
                  <a:gd name="T34" fmla="*/ 144 w 471"/>
                  <a:gd name="T35" fmla="*/ 364 h 455"/>
                  <a:gd name="T36" fmla="*/ 107 w 471"/>
                  <a:gd name="T37" fmla="*/ 455 h 455"/>
                  <a:gd name="T38" fmla="*/ 80 w 471"/>
                  <a:gd name="T39" fmla="*/ 391 h 4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1"/>
                  <a:gd name="T61" fmla="*/ 0 h 455"/>
                  <a:gd name="T62" fmla="*/ 471 w 471"/>
                  <a:gd name="T63" fmla="*/ 455 h 4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1" h="455">
                    <a:moveTo>
                      <a:pt x="80" y="391"/>
                    </a:moveTo>
                    <a:cubicBezTo>
                      <a:pt x="66" y="348"/>
                      <a:pt x="46" y="308"/>
                      <a:pt x="35" y="264"/>
                    </a:cubicBezTo>
                    <a:cubicBezTo>
                      <a:pt x="43" y="89"/>
                      <a:pt x="0" y="23"/>
                      <a:pt x="162" y="0"/>
                    </a:cubicBezTo>
                    <a:cubicBezTo>
                      <a:pt x="246" y="8"/>
                      <a:pt x="344" y="16"/>
                      <a:pt x="416" y="64"/>
                    </a:cubicBezTo>
                    <a:cubicBezTo>
                      <a:pt x="452" y="160"/>
                      <a:pt x="443" y="103"/>
                      <a:pt x="453" y="273"/>
                    </a:cubicBezTo>
                    <a:cubicBezTo>
                      <a:pt x="449" y="328"/>
                      <a:pt x="471" y="446"/>
                      <a:pt x="389" y="391"/>
                    </a:cubicBezTo>
                    <a:cubicBezTo>
                      <a:pt x="383" y="382"/>
                      <a:pt x="375" y="374"/>
                      <a:pt x="371" y="364"/>
                    </a:cubicBezTo>
                    <a:cubicBezTo>
                      <a:pt x="366" y="353"/>
                      <a:pt x="373" y="334"/>
                      <a:pt x="362" y="328"/>
                    </a:cubicBezTo>
                    <a:cubicBezTo>
                      <a:pt x="354" y="324"/>
                      <a:pt x="357" y="347"/>
                      <a:pt x="353" y="355"/>
                    </a:cubicBezTo>
                    <a:cubicBezTo>
                      <a:pt x="341" y="379"/>
                      <a:pt x="334" y="383"/>
                      <a:pt x="316" y="400"/>
                    </a:cubicBezTo>
                    <a:cubicBezTo>
                      <a:pt x="313" y="409"/>
                      <a:pt x="317" y="426"/>
                      <a:pt x="307" y="428"/>
                    </a:cubicBezTo>
                    <a:cubicBezTo>
                      <a:pt x="291" y="432"/>
                      <a:pt x="267" y="389"/>
                      <a:pt x="262" y="382"/>
                    </a:cubicBezTo>
                    <a:cubicBezTo>
                      <a:pt x="259" y="364"/>
                      <a:pt x="266" y="341"/>
                      <a:pt x="253" y="328"/>
                    </a:cubicBezTo>
                    <a:cubicBezTo>
                      <a:pt x="244" y="319"/>
                      <a:pt x="248" y="352"/>
                      <a:pt x="244" y="364"/>
                    </a:cubicBezTo>
                    <a:cubicBezTo>
                      <a:pt x="239" y="382"/>
                      <a:pt x="226" y="418"/>
                      <a:pt x="226" y="418"/>
                    </a:cubicBezTo>
                    <a:cubicBezTo>
                      <a:pt x="208" y="400"/>
                      <a:pt x="188" y="383"/>
                      <a:pt x="171" y="364"/>
                    </a:cubicBezTo>
                    <a:cubicBezTo>
                      <a:pt x="164" y="356"/>
                      <a:pt x="164" y="337"/>
                      <a:pt x="153" y="337"/>
                    </a:cubicBezTo>
                    <a:cubicBezTo>
                      <a:pt x="144" y="337"/>
                      <a:pt x="146" y="355"/>
                      <a:pt x="144" y="364"/>
                    </a:cubicBezTo>
                    <a:cubicBezTo>
                      <a:pt x="134" y="404"/>
                      <a:pt x="137" y="427"/>
                      <a:pt x="107" y="455"/>
                    </a:cubicBezTo>
                    <a:cubicBezTo>
                      <a:pt x="93" y="434"/>
                      <a:pt x="80" y="417"/>
                      <a:pt x="80" y="391"/>
                    </a:cubicBezTo>
                    <a:close/>
                  </a:path>
                </a:pathLst>
              </a:custGeom>
              <a:gradFill rotWithShape="0">
                <a:gsLst>
                  <a:gs pos="0">
                    <a:srgbClr val="FF9900"/>
                  </a:gs>
                  <a:gs pos="100000">
                    <a:srgbClr val="583500"/>
                  </a:gs>
                </a:gsLst>
                <a:path path="rect">
                  <a:fillToRect l="50000" t="50000" r="50000" b="50000"/>
                </a:path>
              </a:gradFill>
              <a:ln w="9525">
                <a:solidFill>
                  <a:srgbClr val="000000"/>
                </a:solidFill>
                <a:round/>
                <a:headEnd/>
                <a:tailEnd/>
              </a:ln>
            </p:spPr>
            <p:txBody>
              <a:bodyPr rot="10800000" vert="eaVert" wrap="none" anchor="ctr"/>
              <a:lstStyle/>
              <a:p>
                <a:endParaRPr lang="it-IT"/>
              </a:p>
            </p:txBody>
          </p:sp>
          <p:sp>
            <p:nvSpPr>
              <p:cNvPr id="25758" name="Oval 64"/>
              <p:cNvSpPr>
                <a:spLocks noChangeArrowheads="1"/>
              </p:cNvSpPr>
              <p:nvPr/>
            </p:nvSpPr>
            <p:spPr bwMode="auto">
              <a:xfrm>
                <a:off x="4992" y="1296"/>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sp>
            <p:nvSpPr>
              <p:cNvPr id="25759" name="Oval 65"/>
              <p:cNvSpPr>
                <a:spLocks noChangeArrowheads="1"/>
              </p:cNvSpPr>
              <p:nvPr/>
            </p:nvSpPr>
            <p:spPr bwMode="auto">
              <a:xfrm>
                <a:off x="5088" y="1200"/>
                <a:ext cx="96" cy="144"/>
              </a:xfrm>
              <a:prstGeom prst="ellipse">
                <a:avLst/>
              </a:prstGeom>
              <a:gradFill rotWithShape="0">
                <a:gsLst>
                  <a:gs pos="0">
                    <a:srgbClr val="2F1800"/>
                  </a:gs>
                  <a:gs pos="100000">
                    <a:srgbClr val="663300"/>
                  </a:gs>
                </a:gsLst>
                <a:path path="shape">
                  <a:fillToRect l="50000" t="50000" r="50000" b="50000"/>
                </a:path>
              </a:gradFill>
              <a:ln w="9525">
                <a:solidFill>
                  <a:srgbClr val="000000"/>
                </a:solidFill>
                <a:round/>
                <a:headEnd/>
                <a:tailEnd/>
              </a:ln>
            </p:spPr>
            <p:txBody>
              <a:bodyPr rot="10800000" vert="eaVert" wrap="none" anchor="ctr"/>
              <a:lstStyle/>
              <a:p>
                <a:endParaRPr lang="it-IT" sz="1200" b="1">
                  <a:latin typeface="Times New Roman" pitchFamily="18" charset="0"/>
                </a:endParaRPr>
              </a:p>
            </p:txBody>
          </p:sp>
        </p:grpSp>
      </p:grpSp>
      <p:grpSp>
        <p:nvGrpSpPr>
          <p:cNvPr id="20" name="Group 66"/>
          <p:cNvGrpSpPr>
            <a:grpSpLocks/>
          </p:cNvGrpSpPr>
          <p:nvPr/>
        </p:nvGrpSpPr>
        <p:grpSpPr bwMode="auto">
          <a:xfrm>
            <a:off x="1639888" y="1524000"/>
            <a:ext cx="1711325" cy="1752600"/>
            <a:chOff x="1139" y="960"/>
            <a:chExt cx="1213" cy="1104"/>
          </a:xfrm>
        </p:grpSpPr>
        <p:sp>
          <p:nvSpPr>
            <p:cNvPr id="25743" name="Oval 67"/>
            <p:cNvSpPr>
              <a:spLocks noChangeArrowheads="1"/>
            </p:cNvSpPr>
            <p:nvPr/>
          </p:nvSpPr>
          <p:spPr bwMode="auto">
            <a:xfrm>
              <a:off x="1920" y="1392"/>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44" name="Oval 68"/>
            <p:cNvSpPr>
              <a:spLocks noChangeArrowheads="1"/>
            </p:cNvSpPr>
            <p:nvPr/>
          </p:nvSpPr>
          <p:spPr bwMode="auto">
            <a:xfrm>
              <a:off x="2256" y="1296"/>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45" name="Oval 69"/>
            <p:cNvSpPr>
              <a:spLocks noChangeArrowheads="1"/>
            </p:cNvSpPr>
            <p:nvPr/>
          </p:nvSpPr>
          <p:spPr bwMode="auto">
            <a:xfrm>
              <a:off x="2256" y="1152"/>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46" name="Oval 70"/>
            <p:cNvSpPr>
              <a:spLocks noChangeArrowheads="1"/>
            </p:cNvSpPr>
            <p:nvPr/>
          </p:nvSpPr>
          <p:spPr bwMode="auto">
            <a:xfrm>
              <a:off x="2256" y="1968"/>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47" name="Oval 71"/>
            <p:cNvSpPr>
              <a:spLocks noChangeArrowheads="1"/>
            </p:cNvSpPr>
            <p:nvPr/>
          </p:nvSpPr>
          <p:spPr bwMode="auto">
            <a:xfrm>
              <a:off x="2208" y="960"/>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48" name="Oval 72"/>
            <p:cNvSpPr>
              <a:spLocks noChangeArrowheads="1"/>
            </p:cNvSpPr>
            <p:nvPr/>
          </p:nvSpPr>
          <p:spPr bwMode="auto">
            <a:xfrm>
              <a:off x="2208" y="1776"/>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49" name="Oval 73"/>
            <p:cNvSpPr>
              <a:spLocks noChangeArrowheads="1"/>
            </p:cNvSpPr>
            <p:nvPr/>
          </p:nvSpPr>
          <p:spPr bwMode="auto">
            <a:xfrm>
              <a:off x="2160" y="1536"/>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50" name="Rectangle 74"/>
            <p:cNvSpPr>
              <a:spLocks noChangeArrowheads="1"/>
            </p:cNvSpPr>
            <p:nvPr/>
          </p:nvSpPr>
          <p:spPr bwMode="auto">
            <a:xfrm>
              <a:off x="1139" y="1229"/>
              <a:ext cx="692" cy="635"/>
            </a:xfrm>
            <a:prstGeom prst="rect">
              <a:avLst/>
            </a:prstGeom>
            <a:noFill/>
            <a:ln w="9525">
              <a:noFill/>
              <a:miter lim="800000"/>
              <a:headEnd/>
              <a:tailEnd/>
            </a:ln>
          </p:spPr>
          <p:txBody>
            <a:bodyPr wrap="none" lIns="91404" tIns="45702" rIns="91404" bIns="45702" anchor="ctr">
              <a:spAutoFit/>
            </a:bodyPr>
            <a:lstStyle/>
            <a:p>
              <a:pPr algn="ctr" eaLnBrk="0" hangingPunct="0"/>
              <a:r>
                <a:rPr lang="it-IT" sz="1600" b="1">
                  <a:solidFill>
                    <a:schemeClr val="bg1"/>
                  </a:solidFill>
                  <a:latin typeface="Times New Roman" pitchFamily="18" charset="0"/>
                </a:rPr>
                <a:t>IGF1</a:t>
              </a:r>
              <a:endParaRPr lang="it-IT" sz="1600">
                <a:solidFill>
                  <a:schemeClr val="bg1"/>
                </a:solidFill>
                <a:latin typeface="Times New Roman" pitchFamily="18" charset="0"/>
              </a:endParaRPr>
            </a:p>
            <a:p>
              <a:pPr algn="ctr" eaLnBrk="0" hangingPunct="0"/>
              <a:r>
                <a:rPr lang="it-IT" sz="1600">
                  <a:solidFill>
                    <a:schemeClr val="bg1"/>
                  </a:solidFill>
                  <a:latin typeface="Times New Roman" pitchFamily="18" charset="0"/>
                </a:rPr>
                <a:t> </a:t>
              </a:r>
              <a:r>
                <a:rPr lang="it-IT" sz="1600" b="1">
                  <a:solidFill>
                    <a:schemeClr val="bg1"/>
                  </a:solidFill>
                  <a:latin typeface="Times New Roman" pitchFamily="18" charset="0"/>
                </a:rPr>
                <a:t>TGF</a:t>
              </a:r>
              <a:r>
                <a:rPr lang="it-IT" sz="1600" b="1">
                  <a:solidFill>
                    <a:schemeClr val="bg1"/>
                  </a:solidFill>
                  <a:latin typeface="Symbol" pitchFamily="18" charset="2"/>
                </a:rPr>
                <a:t>b-1</a:t>
              </a:r>
            </a:p>
            <a:p>
              <a:pPr algn="ctr" eaLnBrk="0" hangingPunct="0"/>
              <a:endParaRPr lang="it-IT" sz="2800">
                <a:solidFill>
                  <a:schemeClr val="bg1"/>
                </a:solidFill>
                <a:latin typeface="Times New Roman" pitchFamily="18" charset="0"/>
              </a:endParaRPr>
            </a:p>
          </p:txBody>
        </p:sp>
      </p:grpSp>
      <p:grpSp>
        <p:nvGrpSpPr>
          <p:cNvPr id="21" name="Group 75"/>
          <p:cNvGrpSpPr>
            <a:grpSpLocks/>
          </p:cNvGrpSpPr>
          <p:nvPr/>
        </p:nvGrpSpPr>
        <p:grpSpPr bwMode="auto">
          <a:xfrm>
            <a:off x="3006725" y="1676400"/>
            <a:ext cx="2479675" cy="1295400"/>
            <a:chOff x="1920" y="1056"/>
            <a:chExt cx="1757" cy="816"/>
          </a:xfrm>
        </p:grpSpPr>
        <p:grpSp>
          <p:nvGrpSpPr>
            <p:cNvPr id="25727" name="Group 76"/>
            <p:cNvGrpSpPr>
              <a:grpSpLocks/>
            </p:cNvGrpSpPr>
            <p:nvPr/>
          </p:nvGrpSpPr>
          <p:grpSpPr bwMode="auto">
            <a:xfrm>
              <a:off x="2400" y="1056"/>
              <a:ext cx="1277" cy="816"/>
              <a:chOff x="2400" y="1056"/>
              <a:chExt cx="1277" cy="816"/>
            </a:xfrm>
          </p:grpSpPr>
          <p:sp>
            <p:nvSpPr>
              <p:cNvPr id="25732" name="Rectangle 77"/>
              <p:cNvSpPr>
                <a:spLocks noChangeArrowheads="1"/>
              </p:cNvSpPr>
              <p:nvPr/>
            </p:nvSpPr>
            <p:spPr bwMode="auto">
              <a:xfrm>
                <a:off x="2985" y="1104"/>
                <a:ext cx="692" cy="520"/>
              </a:xfrm>
              <a:prstGeom prst="rect">
                <a:avLst/>
              </a:prstGeom>
              <a:noFill/>
              <a:ln w="9525">
                <a:noFill/>
                <a:miter lim="800000"/>
                <a:headEnd/>
                <a:tailEnd/>
              </a:ln>
            </p:spPr>
            <p:txBody>
              <a:bodyPr wrap="none" lIns="91404" tIns="45702" rIns="91404" bIns="45702" anchor="ctr">
                <a:spAutoFit/>
              </a:bodyPr>
              <a:lstStyle/>
              <a:p>
                <a:pPr algn="ctr" eaLnBrk="0" hangingPunct="0"/>
                <a:r>
                  <a:rPr lang="it-IT" sz="1600" b="1">
                    <a:latin typeface="Times New Roman" pitchFamily="18" charset="0"/>
                  </a:rPr>
                  <a:t>IGF1</a:t>
                </a:r>
                <a:endParaRPr lang="it-IT" sz="1600">
                  <a:latin typeface="Times New Roman" pitchFamily="18" charset="0"/>
                </a:endParaRPr>
              </a:p>
              <a:p>
                <a:pPr algn="ctr" eaLnBrk="0" hangingPunct="0"/>
                <a:r>
                  <a:rPr lang="it-IT" sz="1600">
                    <a:latin typeface="Times New Roman" pitchFamily="18" charset="0"/>
                  </a:rPr>
                  <a:t> </a:t>
                </a:r>
                <a:r>
                  <a:rPr lang="it-IT" sz="1600" b="1">
                    <a:latin typeface="Times New Roman" pitchFamily="18" charset="0"/>
                  </a:rPr>
                  <a:t>TGF</a:t>
                </a:r>
                <a:r>
                  <a:rPr lang="it-IT" sz="1600" b="1">
                    <a:latin typeface="Symbol" pitchFamily="18" charset="2"/>
                  </a:rPr>
                  <a:t>b-1</a:t>
                </a:r>
              </a:p>
              <a:p>
                <a:pPr algn="ctr" eaLnBrk="0" hangingPunct="0"/>
                <a:endParaRPr lang="it-IT" sz="1600" b="1">
                  <a:latin typeface="Times New Roman" pitchFamily="18" charset="0"/>
                </a:endParaRPr>
              </a:p>
            </p:txBody>
          </p:sp>
          <p:sp>
            <p:nvSpPr>
              <p:cNvPr id="25733" name="Oval 78"/>
              <p:cNvSpPr>
                <a:spLocks noChangeArrowheads="1"/>
              </p:cNvSpPr>
              <p:nvPr/>
            </p:nvSpPr>
            <p:spPr bwMode="auto">
              <a:xfrm>
                <a:off x="2400" y="1296"/>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34" name="Oval 79"/>
              <p:cNvSpPr>
                <a:spLocks noChangeArrowheads="1"/>
              </p:cNvSpPr>
              <p:nvPr/>
            </p:nvSpPr>
            <p:spPr bwMode="auto">
              <a:xfrm>
                <a:off x="2688" y="1344"/>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35" name="Oval 80"/>
              <p:cNvSpPr>
                <a:spLocks noChangeArrowheads="1"/>
              </p:cNvSpPr>
              <p:nvPr/>
            </p:nvSpPr>
            <p:spPr bwMode="auto">
              <a:xfrm>
                <a:off x="2976" y="1536"/>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36" name="Oval 81"/>
              <p:cNvSpPr>
                <a:spLocks noChangeArrowheads="1"/>
              </p:cNvSpPr>
              <p:nvPr/>
            </p:nvSpPr>
            <p:spPr bwMode="auto">
              <a:xfrm>
                <a:off x="3216" y="1536"/>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37" name="Oval 82"/>
              <p:cNvSpPr>
                <a:spLocks noChangeArrowheads="1"/>
              </p:cNvSpPr>
              <p:nvPr/>
            </p:nvSpPr>
            <p:spPr bwMode="auto">
              <a:xfrm>
                <a:off x="2496" y="1728"/>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38" name="Oval 83"/>
              <p:cNvSpPr>
                <a:spLocks noChangeArrowheads="1"/>
              </p:cNvSpPr>
              <p:nvPr/>
            </p:nvSpPr>
            <p:spPr bwMode="auto">
              <a:xfrm>
                <a:off x="3168" y="1776"/>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39" name="Oval 84"/>
              <p:cNvSpPr>
                <a:spLocks noChangeArrowheads="1"/>
              </p:cNvSpPr>
              <p:nvPr/>
            </p:nvSpPr>
            <p:spPr bwMode="auto">
              <a:xfrm>
                <a:off x="2976" y="1200"/>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40" name="Oval 85"/>
              <p:cNvSpPr>
                <a:spLocks noChangeArrowheads="1"/>
              </p:cNvSpPr>
              <p:nvPr/>
            </p:nvSpPr>
            <p:spPr bwMode="auto">
              <a:xfrm>
                <a:off x="3408" y="1488"/>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41" name="Oval 86"/>
              <p:cNvSpPr>
                <a:spLocks noChangeArrowheads="1"/>
              </p:cNvSpPr>
              <p:nvPr/>
            </p:nvSpPr>
            <p:spPr bwMode="auto">
              <a:xfrm>
                <a:off x="3504" y="1056"/>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42" name="Oval 87"/>
              <p:cNvSpPr>
                <a:spLocks noChangeArrowheads="1"/>
              </p:cNvSpPr>
              <p:nvPr/>
            </p:nvSpPr>
            <p:spPr bwMode="auto">
              <a:xfrm>
                <a:off x="3024" y="1056"/>
                <a:ext cx="96"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grpSp>
        <p:sp>
          <p:nvSpPr>
            <p:cNvPr id="25728" name="Oval 88"/>
            <p:cNvSpPr>
              <a:spLocks noChangeArrowheads="1"/>
            </p:cNvSpPr>
            <p:nvPr/>
          </p:nvSpPr>
          <p:spPr bwMode="auto">
            <a:xfrm>
              <a:off x="1968" y="1200"/>
              <a:ext cx="95"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29" name="Oval 89"/>
            <p:cNvSpPr>
              <a:spLocks noChangeArrowheads="1"/>
            </p:cNvSpPr>
            <p:nvPr/>
          </p:nvSpPr>
          <p:spPr bwMode="auto">
            <a:xfrm>
              <a:off x="1920" y="1632"/>
              <a:ext cx="95"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30" name="Oval 90"/>
            <p:cNvSpPr>
              <a:spLocks noChangeArrowheads="1"/>
            </p:cNvSpPr>
            <p:nvPr/>
          </p:nvSpPr>
          <p:spPr bwMode="auto">
            <a:xfrm>
              <a:off x="2112" y="1296"/>
              <a:ext cx="95"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sp>
          <p:nvSpPr>
            <p:cNvPr id="25731" name="Oval 91"/>
            <p:cNvSpPr>
              <a:spLocks noChangeArrowheads="1"/>
            </p:cNvSpPr>
            <p:nvPr/>
          </p:nvSpPr>
          <p:spPr bwMode="auto">
            <a:xfrm>
              <a:off x="2112" y="1536"/>
              <a:ext cx="95" cy="96"/>
            </a:xfrm>
            <a:prstGeom prst="ellipse">
              <a:avLst/>
            </a:prstGeom>
            <a:solidFill>
              <a:srgbClr val="66FF33">
                <a:alpha val="50195"/>
              </a:srgbClr>
            </a:solidFill>
            <a:ln w="9525">
              <a:solidFill>
                <a:srgbClr val="000000"/>
              </a:solidFill>
              <a:round/>
              <a:headEnd/>
              <a:tailEnd/>
            </a:ln>
          </p:spPr>
          <p:txBody>
            <a:bodyPr wrap="none" anchor="ctr"/>
            <a:lstStyle/>
            <a:p>
              <a:endParaRPr lang="it-IT" sz="1200" b="1">
                <a:latin typeface="Times New Roman" pitchFamily="18" charset="0"/>
              </a:endParaRPr>
            </a:p>
          </p:txBody>
        </p:sp>
      </p:grpSp>
      <p:grpSp>
        <p:nvGrpSpPr>
          <p:cNvPr id="23" name="Group 92"/>
          <p:cNvGrpSpPr>
            <a:grpSpLocks/>
          </p:cNvGrpSpPr>
          <p:nvPr/>
        </p:nvGrpSpPr>
        <p:grpSpPr bwMode="auto">
          <a:xfrm>
            <a:off x="5418138" y="1905000"/>
            <a:ext cx="2528887" cy="2355850"/>
            <a:chOff x="3648" y="1200"/>
            <a:chExt cx="1792" cy="1484"/>
          </a:xfrm>
        </p:grpSpPr>
        <p:grpSp>
          <p:nvGrpSpPr>
            <p:cNvPr id="25701" name="Group 93"/>
            <p:cNvGrpSpPr>
              <a:grpSpLocks/>
            </p:cNvGrpSpPr>
            <p:nvPr/>
          </p:nvGrpSpPr>
          <p:grpSpPr bwMode="auto">
            <a:xfrm>
              <a:off x="3840" y="1536"/>
              <a:ext cx="736" cy="620"/>
              <a:chOff x="3392" y="1536"/>
              <a:chExt cx="736" cy="620"/>
            </a:xfrm>
          </p:grpSpPr>
          <p:sp>
            <p:nvSpPr>
              <p:cNvPr id="25723" name="Freeform 94"/>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724" name="Freeform 95"/>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25" name="Freeform 96"/>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26" name="Freeform 97"/>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702" name="Group 98"/>
            <p:cNvGrpSpPr>
              <a:grpSpLocks/>
            </p:cNvGrpSpPr>
            <p:nvPr/>
          </p:nvGrpSpPr>
          <p:grpSpPr bwMode="auto">
            <a:xfrm>
              <a:off x="4416" y="1968"/>
              <a:ext cx="736" cy="620"/>
              <a:chOff x="3392" y="1536"/>
              <a:chExt cx="736" cy="620"/>
            </a:xfrm>
          </p:grpSpPr>
          <p:sp>
            <p:nvSpPr>
              <p:cNvPr id="25719" name="Freeform 99"/>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720" name="Freeform 100"/>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21" name="Freeform 101"/>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22" name="Freeform 102"/>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703" name="Group 103"/>
            <p:cNvGrpSpPr>
              <a:grpSpLocks/>
            </p:cNvGrpSpPr>
            <p:nvPr/>
          </p:nvGrpSpPr>
          <p:grpSpPr bwMode="auto">
            <a:xfrm>
              <a:off x="4272" y="1200"/>
              <a:ext cx="736" cy="620"/>
              <a:chOff x="3392" y="1536"/>
              <a:chExt cx="736" cy="620"/>
            </a:xfrm>
          </p:grpSpPr>
          <p:sp>
            <p:nvSpPr>
              <p:cNvPr id="25715" name="Freeform 104"/>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716" name="Freeform 105"/>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17" name="Freeform 106"/>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18" name="Freeform 107"/>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704" name="Group 108"/>
            <p:cNvGrpSpPr>
              <a:grpSpLocks/>
            </p:cNvGrpSpPr>
            <p:nvPr/>
          </p:nvGrpSpPr>
          <p:grpSpPr bwMode="auto">
            <a:xfrm>
              <a:off x="3792" y="2064"/>
              <a:ext cx="736" cy="620"/>
              <a:chOff x="3392" y="1536"/>
              <a:chExt cx="736" cy="620"/>
            </a:xfrm>
          </p:grpSpPr>
          <p:sp>
            <p:nvSpPr>
              <p:cNvPr id="25711" name="Freeform 109"/>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712" name="Freeform 110"/>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13" name="Freeform 111"/>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14" name="Freeform 112"/>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705" name="Group 113"/>
            <p:cNvGrpSpPr>
              <a:grpSpLocks/>
            </p:cNvGrpSpPr>
            <p:nvPr/>
          </p:nvGrpSpPr>
          <p:grpSpPr bwMode="auto">
            <a:xfrm>
              <a:off x="4704" y="1632"/>
              <a:ext cx="736" cy="620"/>
              <a:chOff x="3392" y="1536"/>
              <a:chExt cx="736" cy="620"/>
            </a:xfrm>
          </p:grpSpPr>
          <p:sp>
            <p:nvSpPr>
              <p:cNvPr id="25707" name="Freeform 114"/>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708" name="Freeform 115"/>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09" name="Freeform 116"/>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710" name="Freeform 117"/>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sp>
          <p:nvSpPr>
            <p:cNvPr id="25706" name="Freeform 118"/>
            <p:cNvSpPr>
              <a:spLocks/>
            </p:cNvSpPr>
            <p:nvPr/>
          </p:nvSpPr>
          <p:spPr bwMode="auto">
            <a:xfrm>
              <a:off x="3648" y="1272"/>
              <a:ext cx="432" cy="168"/>
            </a:xfrm>
            <a:custGeom>
              <a:avLst/>
              <a:gdLst>
                <a:gd name="T0" fmla="*/ 0 w 432"/>
                <a:gd name="T1" fmla="*/ 72 h 168"/>
                <a:gd name="T2" fmla="*/ 96 w 432"/>
                <a:gd name="T3" fmla="*/ 24 h 168"/>
                <a:gd name="T4" fmla="*/ 240 w 432"/>
                <a:gd name="T5" fmla="*/ 24 h 168"/>
                <a:gd name="T6" fmla="*/ 432 w 432"/>
                <a:gd name="T7" fmla="*/ 168 h 168"/>
                <a:gd name="T8" fmla="*/ 0 60000 65536"/>
                <a:gd name="T9" fmla="*/ 0 60000 65536"/>
                <a:gd name="T10" fmla="*/ 0 60000 65536"/>
                <a:gd name="T11" fmla="*/ 0 60000 65536"/>
                <a:gd name="T12" fmla="*/ 0 w 432"/>
                <a:gd name="T13" fmla="*/ 0 h 168"/>
                <a:gd name="T14" fmla="*/ 432 w 432"/>
                <a:gd name="T15" fmla="*/ 168 h 168"/>
              </a:gdLst>
              <a:ahLst/>
              <a:cxnLst>
                <a:cxn ang="T8">
                  <a:pos x="T0" y="T1"/>
                </a:cxn>
                <a:cxn ang="T9">
                  <a:pos x="T2" y="T3"/>
                </a:cxn>
                <a:cxn ang="T10">
                  <a:pos x="T4" y="T5"/>
                </a:cxn>
                <a:cxn ang="T11">
                  <a:pos x="T6" y="T7"/>
                </a:cxn>
              </a:cxnLst>
              <a:rect l="T12" t="T13" r="T14" b="T15"/>
              <a:pathLst>
                <a:path w="432" h="168">
                  <a:moveTo>
                    <a:pt x="0" y="72"/>
                  </a:moveTo>
                  <a:cubicBezTo>
                    <a:pt x="28" y="52"/>
                    <a:pt x="56" y="32"/>
                    <a:pt x="96" y="24"/>
                  </a:cubicBezTo>
                  <a:cubicBezTo>
                    <a:pt x="136" y="16"/>
                    <a:pt x="184" y="0"/>
                    <a:pt x="240" y="24"/>
                  </a:cubicBezTo>
                  <a:cubicBezTo>
                    <a:pt x="296" y="48"/>
                    <a:pt x="364" y="108"/>
                    <a:pt x="432" y="168"/>
                  </a:cubicBezTo>
                </a:path>
              </a:pathLst>
            </a:custGeom>
            <a:noFill/>
            <a:ln w="28575">
              <a:solidFill>
                <a:schemeClr val="bg1"/>
              </a:solidFill>
              <a:round/>
              <a:headEnd/>
              <a:tailEnd type="triangle" w="med" len="med"/>
            </a:ln>
          </p:spPr>
          <p:txBody>
            <a:bodyPr wrap="none" anchor="ctr"/>
            <a:lstStyle/>
            <a:p>
              <a:endParaRPr lang="it-IT"/>
            </a:p>
          </p:txBody>
        </p:sp>
      </p:grpSp>
      <p:grpSp>
        <p:nvGrpSpPr>
          <p:cNvPr id="29" name="Group 119"/>
          <p:cNvGrpSpPr>
            <a:grpSpLocks/>
          </p:cNvGrpSpPr>
          <p:nvPr/>
        </p:nvGrpSpPr>
        <p:grpSpPr bwMode="auto">
          <a:xfrm>
            <a:off x="4470400" y="3276600"/>
            <a:ext cx="1219200" cy="1128713"/>
            <a:chOff x="3168" y="2026"/>
            <a:chExt cx="864" cy="711"/>
          </a:xfrm>
        </p:grpSpPr>
        <p:sp>
          <p:nvSpPr>
            <p:cNvPr id="25699" name="Line 120"/>
            <p:cNvSpPr>
              <a:spLocks noChangeShapeType="1"/>
            </p:cNvSpPr>
            <p:nvPr/>
          </p:nvSpPr>
          <p:spPr bwMode="auto">
            <a:xfrm flipH="1">
              <a:off x="3168" y="2352"/>
              <a:ext cx="864" cy="0"/>
            </a:xfrm>
            <a:prstGeom prst="line">
              <a:avLst/>
            </a:prstGeom>
            <a:noFill/>
            <a:ln w="76200">
              <a:solidFill>
                <a:schemeClr val="bg1"/>
              </a:solidFill>
              <a:round/>
              <a:headEnd/>
              <a:tailEnd type="triangle" w="med" len="med"/>
            </a:ln>
          </p:spPr>
          <p:txBody>
            <a:bodyPr wrap="none" anchor="ctr"/>
            <a:lstStyle/>
            <a:p>
              <a:endParaRPr lang="it-IT"/>
            </a:p>
          </p:txBody>
        </p:sp>
        <p:sp>
          <p:nvSpPr>
            <p:cNvPr id="25700" name="Text Box 121"/>
            <p:cNvSpPr txBox="1">
              <a:spLocks noChangeArrowheads="1"/>
            </p:cNvSpPr>
            <p:nvPr/>
          </p:nvSpPr>
          <p:spPr bwMode="auto">
            <a:xfrm>
              <a:off x="3353" y="2026"/>
              <a:ext cx="451" cy="711"/>
            </a:xfrm>
            <a:prstGeom prst="rect">
              <a:avLst/>
            </a:prstGeom>
            <a:solidFill>
              <a:schemeClr val="tx1"/>
            </a:solidFill>
            <a:ln w="9525">
              <a:noFill/>
              <a:miter lim="800000"/>
              <a:headEnd/>
              <a:tailEnd/>
            </a:ln>
          </p:spPr>
          <p:txBody>
            <a:bodyPr wrap="none" lIns="91404" tIns="45702" rIns="91404" bIns="45702" anchor="ctr">
              <a:spAutoFit/>
            </a:bodyPr>
            <a:lstStyle/>
            <a:p>
              <a:pPr algn="ctr" eaLnBrk="0" hangingPunct="0"/>
              <a:r>
                <a:rPr lang="it-IT" sz="2000">
                  <a:solidFill>
                    <a:schemeClr val="bg1"/>
                  </a:solidFill>
                  <a:latin typeface="Times New Roman" pitchFamily="18" charset="0"/>
                </a:rPr>
                <a:t>ET1</a:t>
              </a:r>
            </a:p>
            <a:p>
              <a:pPr algn="ctr" eaLnBrk="0" hangingPunct="0"/>
              <a:r>
                <a:rPr lang="it-IT" sz="2000">
                  <a:solidFill>
                    <a:schemeClr val="bg1"/>
                  </a:solidFill>
                  <a:latin typeface="Times New Roman" pitchFamily="18" charset="0"/>
                </a:rPr>
                <a:t>uPA</a:t>
              </a:r>
            </a:p>
            <a:p>
              <a:pPr algn="ctr" eaLnBrk="0" hangingPunct="0"/>
              <a:endParaRPr lang="it-IT" sz="2800">
                <a:solidFill>
                  <a:schemeClr val="bg1"/>
                </a:solidFill>
                <a:latin typeface="Times New Roman" pitchFamily="18" charset="0"/>
              </a:endParaRPr>
            </a:p>
          </p:txBody>
        </p:sp>
      </p:grpSp>
      <p:grpSp>
        <p:nvGrpSpPr>
          <p:cNvPr id="30" name="Group 122"/>
          <p:cNvGrpSpPr>
            <a:grpSpLocks/>
          </p:cNvGrpSpPr>
          <p:nvPr/>
        </p:nvGrpSpPr>
        <p:grpSpPr bwMode="auto">
          <a:xfrm>
            <a:off x="1263650" y="990600"/>
            <a:ext cx="3275013" cy="4484688"/>
            <a:chOff x="874" y="624"/>
            <a:chExt cx="2320" cy="2825"/>
          </a:xfrm>
        </p:grpSpPr>
        <p:grpSp>
          <p:nvGrpSpPr>
            <p:cNvPr id="25677" name="Group 123"/>
            <p:cNvGrpSpPr>
              <a:grpSpLocks/>
            </p:cNvGrpSpPr>
            <p:nvPr/>
          </p:nvGrpSpPr>
          <p:grpSpPr bwMode="auto">
            <a:xfrm>
              <a:off x="1488" y="624"/>
              <a:ext cx="1706" cy="2825"/>
              <a:chOff x="1488" y="624"/>
              <a:chExt cx="1706" cy="2825"/>
            </a:xfrm>
          </p:grpSpPr>
          <p:sp>
            <p:nvSpPr>
              <p:cNvPr id="25679" name="Freeform 124" descr="Carta di giornale"/>
              <p:cNvSpPr>
                <a:spLocks/>
              </p:cNvSpPr>
              <p:nvPr/>
            </p:nvSpPr>
            <p:spPr bwMode="auto">
              <a:xfrm>
                <a:off x="1570" y="1572"/>
                <a:ext cx="1352" cy="1877"/>
              </a:xfrm>
              <a:custGeom>
                <a:avLst/>
                <a:gdLst>
                  <a:gd name="T0" fmla="*/ 1321 w 1352"/>
                  <a:gd name="T1" fmla="*/ 1865 h 1877"/>
                  <a:gd name="T2" fmla="*/ 1166 w 1352"/>
                  <a:gd name="T3" fmla="*/ 1856 h 1877"/>
                  <a:gd name="T4" fmla="*/ 1066 w 1352"/>
                  <a:gd name="T5" fmla="*/ 1828 h 1877"/>
                  <a:gd name="T6" fmla="*/ 1030 w 1352"/>
                  <a:gd name="T7" fmla="*/ 1810 h 1877"/>
                  <a:gd name="T8" fmla="*/ 1003 w 1352"/>
                  <a:gd name="T9" fmla="*/ 1801 h 1877"/>
                  <a:gd name="T10" fmla="*/ 930 w 1352"/>
                  <a:gd name="T11" fmla="*/ 1737 h 1877"/>
                  <a:gd name="T12" fmla="*/ 766 w 1352"/>
                  <a:gd name="T13" fmla="*/ 1592 h 1877"/>
                  <a:gd name="T14" fmla="*/ 694 w 1352"/>
                  <a:gd name="T15" fmla="*/ 1537 h 1877"/>
                  <a:gd name="T16" fmla="*/ 639 w 1352"/>
                  <a:gd name="T17" fmla="*/ 1501 h 1877"/>
                  <a:gd name="T18" fmla="*/ 557 w 1352"/>
                  <a:gd name="T19" fmla="*/ 1410 h 1877"/>
                  <a:gd name="T20" fmla="*/ 484 w 1352"/>
                  <a:gd name="T21" fmla="*/ 1319 h 1877"/>
                  <a:gd name="T22" fmla="*/ 394 w 1352"/>
                  <a:gd name="T23" fmla="*/ 1274 h 1877"/>
                  <a:gd name="T24" fmla="*/ 375 w 1352"/>
                  <a:gd name="T25" fmla="*/ 1255 h 1877"/>
                  <a:gd name="T26" fmla="*/ 321 w 1352"/>
                  <a:gd name="T27" fmla="*/ 1237 h 1877"/>
                  <a:gd name="T28" fmla="*/ 221 w 1352"/>
                  <a:gd name="T29" fmla="*/ 1165 h 1877"/>
                  <a:gd name="T30" fmla="*/ 130 w 1352"/>
                  <a:gd name="T31" fmla="*/ 1074 h 1877"/>
                  <a:gd name="T32" fmla="*/ 94 w 1352"/>
                  <a:gd name="T33" fmla="*/ 992 h 1877"/>
                  <a:gd name="T34" fmla="*/ 75 w 1352"/>
                  <a:gd name="T35" fmla="*/ 846 h 1877"/>
                  <a:gd name="T36" fmla="*/ 57 w 1352"/>
                  <a:gd name="T37" fmla="*/ 792 h 1877"/>
                  <a:gd name="T38" fmla="*/ 48 w 1352"/>
                  <a:gd name="T39" fmla="*/ 765 h 1877"/>
                  <a:gd name="T40" fmla="*/ 30 w 1352"/>
                  <a:gd name="T41" fmla="*/ 601 h 1877"/>
                  <a:gd name="T42" fmla="*/ 12 w 1352"/>
                  <a:gd name="T43" fmla="*/ 546 h 1877"/>
                  <a:gd name="T44" fmla="*/ 3 w 1352"/>
                  <a:gd name="T45" fmla="*/ 519 h 1877"/>
                  <a:gd name="T46" fmla="*/ 84 w 1352"/>
                  <a:gd name="T47" fmla="*/ 246 h 1877"/>
                  <a:gd name="T48" fmla="*/ 103 w 1352"/>
                  <a:gd name="T49" fmla="*/ 219 h 1877"/>
                  <a:gd name="T50" fmla="*/ 157 w 1352"/>
                  <a:gd name="T51" fmla="*/ 201 h 1877"/>
                  <a:gd name="T52" fmla="*/ 230 w 1352"/>
                  <a:gd name="T53" fmla="*/ 146 h 1877"/>
                  <a:gd name="T54" fmla="*/ 312 w 1352"/>
                  <a:gd name="T55" fmla="*/ 64 h 1877"/>
                  <a:gd name="T56" fmla="*/ 375 w 1352"/>
                  <a:gd name="T57" fmla="*/ 1 h 1877"/>
                  <a:gd name="T58" fmla="*/ 403 w 1352"/>
                  <a:gd name="T59" fmla="*/ 101 h 1877"/>
                  <a:gd name="T60" fmla="*/ 503 w 1352"/>
                  <a:gd name="T61" fmla="*/ 246 h 1877"/>
                  <a:gd name="T62" fmla="*/ 548 w 1352"/>
                  <a:gd name="T63" fmla="*/ 328 h 1877"/>
                  <a:gd name="T64" fmla="*/ 584 w 1352"/>
                  <a:gd name="T65" fmla="*/ 446 h 1877"/>
                  <a:gd name="T66" fmla="*/ 603 w 1352"/>
                  <a:gd name="T67" fmla="*/ 510 h 1877"/>
                  <a:gd name="T68" fmla="*/ 621 w 1352"/>
                  <a:gd name="T69" fmla="*/ 565 h 1877"/>
                  <a:gd name="T70" fmla="*/ 721 w 1352"/>
                  <a:gd name="T71" fmla="*/ 1037 h 1877"/>
                  <a:gd name="T72" fmla="*/ 784 w 1352"/>
                  <a:gd name="T73" fmla="*/ 1174 h 1877"/>
                  <a:gd name="T74" fmla="*/ 794 w 1352"/>
                  <a:gd name="T75" fmla="*/ 1201 h 1877"/>
                  <a:gd name="T76" fmla="*/ 821 w 1352"/>
                  <a:gd name="T77" fmla="*/ 1228 h 1877"/>
                  <a:gd name="T78" fmla="*/ 957 w 1352"/>
                  <a:gd name="T79" fmla="*/ 1392 h 1877"/>
                  <a:gd name="T80" fmla="*/ 1021 w 1352"/>
                  <a:gd name="T81" fmla="*/ 1455 h 1877"/>
                  <a:gd name="T82" fmla="*/ 1066 w 1352"/>
                  <a:gd name="T83" fmla="*/ 1501 h 1877"/>
                  <a:gd name="T84" fmla="*/ 1166 w 1352"/>
                  <a:gd name="T85" fmla="*/ 1628 h 1877"/>
                  <a:gd name="T86" fmla="*/ 1194 w 1352"/>
                  <a:gd name="T87" fmla="*/ 1646 h 1877"/>
                  <a:gd name="T88" fmla="*/ 1230 w 1352"/>
                  <a:gd name="T89" fmla="*/ 1692 h 1877"/>
                  <a:gd name="T90" fmla="*/ 1284 w 1352"/>
                  <a:gd name="T91" fmla="*/ 1737 h 1877"/>
                  <a:gd name="T92" fmla="*/ 1330 w 1352"/>
                  <a:gd name="T93" fmla="*/ 1810 h 1877"/>
                  <a:gd name="T94" fmla="*/ 1348 w 1352"/>
                  <a:gd name="T95" fmla="*/ 1865 h 1877"/>
                  <a:gd name="T96" fmla="*/ 1312 w 1352"/>
                  <a:gd name="T97" fmla="*/ 1856 h 1877"/>
                  <a:gd name="T98" fmla="*/ 1321 w 1352"/>
                  <a:gd name="T99" fmla="*/ 1865 h 18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52"/>
                  <a:gd name="T151" fmla="*/ 0 h 1877"/>
                  <a:gd name="T152" fmla="*/ 1352 w 1352"/>
                  <a:gd name="T153" fmla="*/ 1877 h 18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52" h="1877">
                    <a:moveTo>
                      <a:pt x="1321" y="1865"/>
                    </a:moveTo>
                    <a:cubicBezTo>
                      <a:pt x="1269" y="1862"/>
                      <a:pt x="1217" y="1861"/>
                      <a:pt x="1166" y="1856"/>
                    </a:cubicBezTo>
                    <a:cubicBezTo>
                      <a:pt x="1132" y="1852"/>
                      <a:pt x="1066" y="1828"/>
                      <a:pt x="1066" y="1828"/>
                    </a:cubicBezTo>
                    <a:cubicBezTo>
                      <a:pt x="1054" y="1822"/>
                      <a:pt x="1042" y="1815"/>
                      <a:pt x="1030" y="1810"/>
                    </a:cubicBezTo>
                    <a:cubicBezTo>
                      <a:pt x="1021" y="1806"/>
                      <a:pt x="1012" y="1805"/>
                      <a:pt x="1003" y="1801"/>
                    </a:cubicBezTo>
                    <a:cubicBezTo>
                      <a:pt x="942" y="1771"/>
                      <a:pt x="1013" y="1792"/>
                      <a:pt x="930" y="1737"/>
                    </a:cubicBezTo>
                    <a:cubicBezTo>
                      <a:pt x="866" y="1694"/>
                      <a:pt x="816" y="1650"/>
                      <a:pt x="766" y="1592"/>
                    </a:cubicBezTo>
                    <a:cubicBezTo>
                      <a:pt x="688" y="1502"/>
                      <a:pt x="753" y="1569"/>
                      <a:pt x="694" y="1537"/>
                    </a:cubicBezTo>
                    <a:cubicBezTo>
                      <a:pt x="675" y="1526"/>
                      <a:pt x="639" y="1501"/>
                      <a:pt x="639" y="1501"/>
                    </a:cubicBezTo>
                    <a:cubicBezTo>
                      <a:pt x="616" y="1466"/>
                      <a:pt x="592" y="1433"/>
                      <a:pt x="557" y="1410"/>
                    </a:cubicBezTo>
                    <a:cubicBezTo>
                      <a:pt x="542" y="1365"/>
                      <a:pt x="529" y="1333"/>
                      <a:pt x="484" y="1319"/>
                    </a:cubicBezTo>
                    <a:cubicBezTo>
                      <a:pt x="420" y="1276"/>
                      <a:pt x="451" y="1288"/>
                      <a:pt x="394" y="1274"/>
                    </a:cubicBezTo>
                    <a:cubicBezTo>
                      <a:pt x="388" y="1268"/>
                      <a:pt x="383" y="1259"/>
                      <a:pt x="375" y="1255"/>
                    </a:cubicBezTo>
                    <a:cubicBezTo>
                      <a:pt x="358" y="1246"/>
                      <a:pt x="321" y="1237"/>
                      <a:pt x="321" y="1237"/>
                    </a:cubicBezTo>
                    <a:cubicBezTo>
                      <a:pt x="267" y="1185"/>
                      <a:pt x="275" y="1201"/>
                      <a:pt x="221" y="1165"/>
                    </a:cubicBezTo>
                    <a:cubicBezTo>
                      <a:pt x="196" y="1127"/>
                      <a:pt x="167" y="1099"/>
                      <a:pt x="130" y="1074"/>
                    </a:cubicBezTo>
                    <a:cubicBezTo>
                      <a:pt x="109" y="1009"/>
                      <a:pt x="123" y="1035"/>
                      <a:pt x="94" y="992"/>
                    </a:cubicBezTo>
                    <a:cubicBezTo>
                      <a:pt x="87" y="943"/>
                      <a:pt x="85" y="894"/>
                      <a:pt x="75" y="846"/>
                    </a:cubicBezTo>
                    <a:cubicBezTo>
                      <a:pt x="71" y="827"/>
                      <a:pt x="63" y="810"/>
                      <a:pt x="57" y="792"/>
                    </a:cubicBezTo>
                    <a:cubicBezTo>
                      <a:pt x="54" y="783"/>
                      <a:pt x="48" y="765"/>
                      <a:pt x="48" y="765"/>
                    </a:cubicBezTo>
                    <a:cubicBezTo>
                      <a:pt x="42" y="680"/>
                      <a:pt x="48" y="663"/>
                      <a:pt x="30" y="601"/>
                    </a:cubicBezTo>
                    <a:cubicBezTo>
                      <a:pt x="25" y="583"/>
                      <a:pt x="18" y="564"/>
                      <a:pt x="12" y="546"/>
                    </a:cubicBezTo>
                    <a:cubicBezTo>
                      <a:pt x="9" y="537"/>
                      <a:pt x="3" y="519"/>
                      <a:pt x="3" y="519"/>
                    </a:cubicBezTo>
                    <a:cubicBezTo>
                      <a:pt x="9" y="432"/>
                      <a:pt x="0" y="302"/>
                      <a:pt x="84" y="246"/>
                    </a:cubicBezTo>
                    <a:cubicBezTo>
                      <a:pt x="90" y="237"/>
                      <a:pt x="94" y="225"/>
                      <a:pt x="103" y="219"/>
                    </a:cubicBezTo>
                    <a:cubicBezTo>
                      <a:pt x="119" y="209"/>
                      <a:pt x="157" y="201"/>
                      <a:pt x="157" y="201"/>
                    </a:cubicBezTo>
                    <a:cubicBezTo>
                      <a:pt x="210" y="148"/>
                      <a:pt x="182" y="162"/>
                      <a:pt x="230" y="146"/>
                    </a:cubicBezTo>
                    <a:cubicBezTo>
                      <a:pt x="253" y="112"/>
                      <a:pt x="288" y="97"/>
                      <a:pt x="312" y="64"/>
                    </a:cubicBezTo>
                    <a:cubicBezTo>
                      <a:pt x="359" y="0"/>
                      <a:pt x="325" y="18"/>
                      <a:pt x="375" y="1"/>
                    </a:cubicBezTo>
                    <a:cubicBezTo>
                      <a:pt x="386" y="33"/>
                      <a:pt x="390" y="70"/>
                      <a:pt x="403" y="101"/>
                    </a:cubicBezTo>
                    <a:cubicBezTo>
                      <a:pt x="425" y="153"/>
                      <a:pt x="462" y="207"/>
                      <a:pt x="503" y="246"/>
                    </a:cubicBezTo>
                    <a:cubicBezTo>
                      <a:pt x="519" y="295"/>
                      <a:pt x="507" y="266"/>
                      <a:pt x="548" y="328"/>
                    </a:cubicBezTo>
                    <a:cubicBezTo>
                      <a:pt x="567" y="356"/>
                      <a:pt x="574" y="416"/>
                      <a:pt x="584" y="446"/>
                    </a:cubicBezTo>
                    <a:cubicBezTo>
                      <a:pt x="615" y="538"/>
                      <a:pt x="570" y="399"/>
                      <a:pt x="603" y="510"/>
                    </a:cubicBezTo>
                    <a:cubicBezTo>
                      <a:pt x="608" y="528"/>
                      <a:pt x="621" y="565"/>
                      <a:pt x="621" y="565"/>
                    </a:cubicBezTo>
                    <a:cubicBezTo>
                      <a:pt x="634" y="713"/>
                      <a:pt x="633" y="905"/>
                      <a:pt x="721" y="1037"/>
                    </a:cubicBezTo>
                    <a:cubicBezTo>
                      <a:pt x="741" y="1099"/>
                      <a:pt x="748" y="1119"/>
                      <a:pt x="784" y="1174"/>
                    </a:cubicBezTo>
                    <a:cubicBezTo>
                      <a:pt x="789" y="1182"/>
                      <a:pt x="789" y="1193"/>
                      <a:pt x="794" y="1201"/>
                    </a:cubicBezTo>
                    <a:cubicBezTo>
                      <a:pt x="801" y="1211"/>
                      <a:pt x="813" y="1218"/>
                      <a:pt x="821" y="1228"/>
                    </a:cubicBezTo>
                    <a:cubicBezTo>
                      <a:pt x="866" y="1286"/>
                      <a:pt x="894" y="1350"/>
                      <a:pt x="957" y="1392"/>
                    </a:cubicBezTo>
                    <a:cubicBezTo>
                      <a:pt x="977" y="1421"/>
                      <a:pt x="992" y="1435"/>
                      <a:pt x="1021" y="1455"/>
                    </a:cubicBezTo>
                    <a:cubicBezTo>
                      <a:pt x="1067" y="1527"/>
                      <a:pt x="1008" y="1443"/>
                      <a:pt x="1066" y="1501"/>
                    </a:cubicBezTo>
                    <a:cubicBezTo>
                      <a:pt x="1103" y="1538"/>
                      <a:pt x="1128" y="1591"/>
                      <a:pt x="1166" y="1628"/>
                    </a:cubicBezTo>
                    <a:cubicBezTo>
                      <a:pt x="1174" y="1636"/>
                      <a:pt x="1185" y="1639"/>
                      <a:pt x="1194" y="1646"/>
                    </a:cubicBezTo>
                    <a:cubicBezTo>
                      <a:pt x="1234" y="1678"/>
                      <a:pt x="1189" y="1651"/>
                      <a:pt x="1230" y="1692"/>
                    </a:cubicBezTo>
                    <a:cubicBezTo>
                      <a:pt x="1247" y="1709"/>
                      <a:pt x="1267" y="1720"/>
                      <a:pt x="1284" y="1737"/>
                    </a:cubicBezTo>
                    <a:cubicBezTo>
                      <a:pt x="1307" y="1802"/>
                      <a:pt x="1287" y="1781"/>
                      <a:pt x="1330" y="1810"/>
                    </a:cubicBezTo>
                    <a:cubicBezTo>
                      <a:pt x="1336" y="1828"/>
                      <a:pt x="1342" y="1847"/>
                      <a:pt x="1348" y="1865"/>
                    </a:cubicBezTo>
                    <a:cubicBezTo>
                      <a:pt x="1352" y="1877"/>
                      <a:pt x="1324" y="1856"/>
                      <a:pt x="1312" y="1856"/>
                    </a:cubicBezTo>
                    <a:cubicBezTo>
                      <a:pt x="1308" y="1856"/>
                      <a:pt x="1318" y="1862"/>
                      <a:pt x="1321" y="1865"/>
                    </a:cubicBezTo>
                    <a:close/>
                  </a:path>
                </a:pathLst>
              </a:custGeom>
              <a:blipFill dpi="0" rotWithShape="0">
                <a:blip r:embed="rId3"/>
                <a:srcRect/>
                <a:tile tx="0" ty="0" sx="100000" sy="100000" flip="none" algn="tl"/>
              </a:blipFill>
              <a:ln w="9525">
                <a:solidFill>
                  <a:srgbClr val="000000"/>
                </a:solidFill>
                <a:round/>
                <a:headEnd/>
                <a:tailEnd/>
              </a:ln>
            </p:spPr>
            <p:txBody>
              <a:bodyPr wrap="none" anchor="ctr"/>
              <a:lstStyle/>
              <a:p>
                <a:endParaRPr lang="it-IT"/>
              </a:p>
            </p:txBody>
          </p:sp>
          <p:sp>
            <p:nvSpPr>
              <p:cNvPr id="25680" name="Freeform 125"/>
              <p:cNvSpPr>
                <a:spLocks/>
              </p:cNvSpPr>
              <p:nvPr/>
            </p:nvSpPr>
            <p:spPr bwMode="auto">
              <a:xfrm>
                <a:off x="1488" y="624"/>
                <a:ext cx="1706" cy="2819"/>
              </a:xfrm>
              <a:custGeom>
                <a:avLst/>
                <a:gdLst>
                  <a:gd name="T0" fmla="*/ 372 w 1706"/>
                  <a:gd name="T1" fmla="*/ 955 h 2819"/>
                  <a:gd name="T2" fmla="*/ 336 w 1706"/>
                  <a:gd name="T3" fmla="*/ 909 h 2819"/>
                  <a:gd name="T4" fmla="*/ 318 w 1706"/>
                  <a:gd name="T5" fmla="*/ 846 h 2819"/>
                  <a:gd name="T6" fmla="*/ 272 w 1706"/>
                  <a:gd name="T7" fmla="*/ 628 h 2819"/>
                  <a:gd name="T8" fmla="*/ 218 w 1706"/>
                  <a:gd name="T9" fmla="*/ 555 h 2819"/>
                  <a:gd name="T10" fmla="*/ 190 w 1706"/>
                  <a:gd name="T11" fmla="*/ 509 h 2819"/>
                  <a:gd name="T12" fmla="*/ 181 w 1706"/>
                  <a:gd name="T13" fmla="*/ 482 h 2819"/>
                  <a:gd name="T14" fmla="*/ 54 w 1706"/>
                  <a:gd name="T15" fmla="*/ 391 h 2819"/>
                  <a:gd name="T16" fmla="*/ 0 w 1706"/>
                  <a:gd name="T17" fmla="*/ 319 h 2819"/>
                  <a:gd name="T18" fmla="*/ 63 w 1706"/>
                  <a:gd name="T19" fmla="*/ 191 h 2819"/>
                  <a:gd name="T20" fmla="*/ 81 w 1706"/>
                  <a:gd name="T21" fmla="*/ 137 h 2819"/>
                  <a:gd name="T22" fmla="*/ 68 w 1706"/>
                  <a:gd name="T23" fmla="*/ 93 h 2819"/>
                  <a:gd name="T24" fmla="*/ 127 w 1706"/>
                  <a:gd name="T25" fmla="*/ 73 h 2819"/>
                  <a:gd name="T26" fmla="*/ 445 w 1706"/>
                  <a:gd name="T27" fmla="*/ 82 h 2819"/>
                  <a:gd name="T28" fmla="*/ 1109 w 1706"/>
                  <a:gd name="T29" fmla="*/ 0 h 2819"/>
                  <a:gd name="T30" fmla="*/ 1390 w 1706"/>
                  <a:gd name="T31" fmla="*/ 37 h 2819"/>
                  <a:gd name="T32" fmla="*/ 1463 w 1706"/>
                  <a:gd name="T33" fmla="*/ 82 h 2819"/>
                  <a:gd name="T34" fmla="*/ 1481 w 1706"/>
                  <a:gd name="T35" fmla="*/ 109 h 2819"/>
                  <a:gd name="T36" fmla="*/ 1472 w 1706"/>
                  <a:gd name="T37" fmla="*/ 137 h 2819"/>
                  <a:gd name="T38" fmla="*/ 1454 w 1706"/>
                  <a:gd name="T39" fmla="*/ 209 h 2819"/>
                  <a:gd name="T40" fmla="*/ 1390 w 1706"/>
                  <a:gd name="T41" fmla="*/ 400 h 2819"/>
                  <a:gd name="T42" fmla="*/ 1336 w 1706"/>
                  <a:gd name="T43" fmla="*/ 773 h 2819"/>
                  <a:gd name="T44" fmla="*/ 1372 w 1706"/>
                  <a:gd name="T45" fmla="*/ 1128 h 2819"/>
                  <a:gd name="T46" fmla="*/ 1409 w 1706"/>
                  <a:gd name="T47" fmla="*/ 1237 h 2819"/>
                  <a:gd name="T48" fmla="*/ 1427 w 1706"/>
                  <a:gd name="T49" fmla="*/ 1291 h 2819"/>
                  <a:gd name="T50" fmla="*/ 1454 w 1706"/>
                  <a:gd name="T51" fmla="*/ 1419 h 2819"/>
                  <a:gd name="T52" fmla="*/ 1472 w 1706"/>
                  <a:gd name="T53" fmla="*/ 1473 h 2819"/>
                  <a:gd name="T54" fmla="*/ 1609 w 1706"/>
                  <a:gd name="T55" fmla="*/ 1991 h 2819"/>
                  <a:gd name="T56" fmla="*/ 1663 w 1706"/>
                  <a:gd name="T57" fmla="*/ 2291 h 2819"/>
                  <a:gd name="T58" fmla="*/ 1618 w 1706"/>
                  <a:gd name="T59" fmla="*/ 2664 h 2819"/>
                  <a:gd name="T60" fmla="*/ 1427 w 1706"/>
                  <a:gd name="T61" fmla="*/ 2764 h 2819"/>
                  <a:gd name="T62" fmla="*/ 1354 w 1706"/>
                  <a:gd name="T63" fmla="*/ 2819 h 2819"/>
                  <a:gd name="T64" fmla="*/ 1245 w 1706"/>
                  <a:gd name="T65" fmla="*/ 2637 h 2819"/>
                  <a:gd name="T66" fmla="*/ 1209 w 1706"/>
                  <a:gd name="T67" fmla="*/ 2600 h 2819"/>
                  <a:gd name="T68" fmla="*/ 1145 w 1706"/>
                  <a:gd name="T69" fmla="*/ 2537 h 2819"/>
                  <a:gd name="T70" fmla="*/ 1063 w 1706"/>
                  <a:gd name="T71" fmla="*/ 2455 h 2819"/>
                  <a:gd name="T72" fmla="*/ 1027 w 1706"/>
                  <a:gd name="T73" fmla="*/ 2419 h 2819"/>
                  <a:gd name="T74" fmla="*/ 945 w 1706"/>
                  <a:gd name="T75" fmla="*/ 2337 h 2819"/>
                  <a:gd name="T76" fmla="*/ 909 w 1706"/>
                  <a:gd name="T77" fmla="*/ 2300 h 2819"/>
                  <a:gd name="T78" fmla="*/ 872 w 1706"/>
                  <a:gd name="T79" fmla="*/ 2264 h 2819"/>
                  <a:gd name="T80" fmla="*/ 836 w 1706"/>
                  <a:gd name="T81" fmla="*/ 2228 h 2819"/>
                  <a:gd name="T82" fmla="*/ 827 w 1706"/>
                  <a:gd name="T83" fmla="*/ 2200 h 2819"/>
                  <a:gd name="T84" fmla="*/ 800 w 1706"/>
                  <a:gd name="T85" fmla="*/ 2182 h 2819"/>
                  <a:gd name="T86" fmla="*/ 718 w 1706"/>
                  <a:gd name="T87" fmla="*/ 2028 h 2819"/>
                  <a:gd name="T88" fmla="*/ 690 w 1706"/>
                  <a:gd name="T89" fmla="*/ 1973 h 2819"/>
                  <a:gd name="T90" fmla="*/ 627 w 1706"/>
                  <a:gd name="T91" fmla="*/ 1810 h 2819"/>
                  <a:gd name="T92" fmla="*/ 627 w 1706"/>
                  <a:gd name="T93" fmla="*/ 1619 h 2819"/>
                  <a:gd name="T94" fmla="*/ 554 w 1706"/>
                  <a:gd name="T95" fmla="*/ 1328 h 2819"/>
                  <a:gd name="T96" fmla="*/ 509 w 1706"/>
                  <a:gd name="T97" fmla="*/ 1237 h 2819"/>
                  <a:gd name="T98" fmla="*/ 490 w 1706"/>
                  <a:gd name="T99" fmla="*/ 1209 h 2819"/>
                  <a:gd name="T100" fmla="*/ 454 w 1706"/>
                  <a:gd name="T101" fmla="*/ 1164 h 2819"/>
                  <a:gd name="T102" fmla="*/ 445 w 1706"/>
                  <a:gd name="T103" fmla="*/ 1137 h 2819"/>
                  <a:gd name="T104" fmla="*/ 390 w 1706"/>
                  <a:gd name="T105" fmla="*/ 1064 h 2819"/>
                  <a:gd name="T106" fmla="*/ 327 w 1706"/>
                  <a:gd name="T107" fmla="*/ 873 h 28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06"/>
                  <a:gd name="T163" fmla="*/ 0 h 2819"/>
                  <a:gd name="T164" fmla="*/ 1706 w 1706"/>
                  <a:gd name="T165" fmla="*/ 2819 h 28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06" h="2819">
                    <a:moveTo>
                      <a:pt x="372" y="955"/>
                    </a:moveTo>
                    <a:cubicBezTo>
                      <a:pt x="361" y="939"/>
                      <a:pt x="345" y="926"/>
                      <a:pt x="336" y="909"/>
                    </a:cubicBezTo>
                    <a:cubicBezTo>
                      <a:pt x="326" y="889"/>
                      <a:pt x="325" y="867"/>
                      <a:pt x="318" y="846"/>
                    </a:cubicBezTo>
                    <a:cubicBezTo>
                      <a:pt x="312" y="757"/>
                      <a:pt x="319" y="698"/>
                      <a:pt x="272" y="628"/>
                    </a:cubicBezTo>
                    <a:cubicBezTo>
                      <a:pt x="260" y="592"/>
                      <a:pt x="250" y="576"/>
                      <a:pt x="218" y="555"/>
                    </a:cubicBezTo>
                    <a:cubicBezTo>
                      <a:pt x="193" y="481"/>
                      <a:pt x="228" y="571"/>
                      <a:pt x="190" y="509"/>
                    </a:cubicBezTo>
                    <a:cubicBezTo>
                      <a:pt x="185" y="501"/>
                      <a:pt x="188" y="489"/>
                      <a:pt x="181" y="482"/>
                    </a:cubicBezTo>
                    <a:cubicBezTo>
                      <a:pt x="162" y="463"/>
                      <a:pt x="83" y="410"/>
                      <a:pt x="54" y="391"/>
                    </a:cubicBezTo>
                    <a:cubicBezTo>
                      <a:pt x="34" y="361"/>
                      <a:pt x="11" y="353"/>
                      <a:pt x="0" y="319"/>
                    </a:cubicBezTo>
                    <a:cubicBezTo>
                      <a:pt x="9" y="261"/>
                      <a:pt x="13" y="224"/>
                      <a:pt x="63" y="191"/>
                    </a:cubicBezTo>
                    <a:cubicBezTo>
                      <a:pt x="69" y="173"/>
                      <a:pt x="81" y="137"/>
                      <a:pt x="81" y="137"/>
                    </a:cubicBezTo>
                    <a:cubicBezTo>
                      <a:pt x="77" y="122"/>
                      <a:pt x="59" y="105"/>
                      <a:pt x="68" y="93"/>
                    </a:cubicBezTo>
                    <a:cubicBezTo>
                      <a:pt x="80" y="76"/>
                      <a:pt x="127" y="73"/>
                      <a:pt x="127" y="73"/>
                    </a:cubicBezTo>
                    <a:cubicBezTo>
                      <a:pt x="228" y="107"/>
                      <a:pt x="344" y="86"/>
                      <a:pt x="445" y="82"/>
                    </a:cubicBezTo>
                    <a:cubicBezTo>
                      <a:pt x="666" y="55"/>
                      <a:pt x="886" y="18"/>
                      <a:pt x="1109" y="0"/>
                    </a:cubicBezTo>
                    <a:cubicBezTo>
                      <a:pt x="1218" y="6"/>
                      <a:pt x="1291" y="12"/>
                      <a:pt x="1390" y="37"/>
                    </a:cubicBezTo>
                    <a:cubicBezTo>
                      <a:pt x="1412" y="58"/>
                      <a:pt x="1437" y="65"/>
                      <a:pt x="1463" y="82"/>
                    </a:cubicBezTo>
                    <a:cubicBezTo>
                      <a:pt x="1469" y="91"/>
                      <a:pt x="1479" y="98"/>
                      <a:pt x="1481" y="109"/>
                    </a:cubicBezTo>
                    <a:cubicBezTo>
                      <a:pt x="1483" y="119"/>
                      <a:pt x="1475" y="128"/>
                      <a:pt x="1472" y="137"/>
                    </a:cubicBezTo>
                    <a:cubicBezTo>
                      <a:pt x="1466" y="161"/>
                      <a:pt x="1460" y="185"/>
                      <a:pt x="1454" y="209"/>
                    </a:cubicBezTo>
                    <a:cubicBezTo>
                      <a:pt x="1438" y="274"/>
                      <a:pt x="1411" y="337"/>
                      <a:pt x="1390" y="400"/>
                    </a:cubicBezTo>
                    <a:cubicBezTo>
                      <a:pt x="1384" y="526"/>
                      <a:pt x="1376" y="652"/>
                      <a:pt x="1336" y="773"/>
                    </a:cubicBezTo>
                    <a:cubicBezTo>
                      <a:pt x="1341" y="924"/>
                      <a:pt x="1330" y="1003"/>
                      <a:pt x="1372" y="1128"/>
                    </a:cubicBezTo>
                    <a:cubicBezTo>
                      <a:pt x="1384" y="1164"/>
                      <a:pt x="1396" y="1201"/>
                      <a:pt x="1409" y="1237"/>
                    </a:cubicBezTo>
                    <a:cubicBezTo>
                      <a:pt x="1415" y="1255"/>
                      <a:pt x="1427" y="1291"/>
                      <a:pt x="1427" y="1291"/>
                    </a:cubicBezTo>
                    <a:cubicBezTo>
                      <a:pt x="1433" y="1336"/>
                      <a:pt x="1441" y="1376"/>
                      <a:pt x="1454" y="1419"/>
                    </a:cubicBezTo>
                    <a:cubicBezTo>
                      <a:pt x="1459" y="1437"/>
                      <a:pt x="1472" y="1473"/>
                      <a:pt x="1472" y="1473"/>
                    </a:cubicBezTo>
                    <a:cubicBezTo>
                      <a:pt x="1489" y="1647"/>
                      <a:pt x="1548" y="1826"/>
                      <a:pt x="1609" y="1991"/>
                    </a:cubicBezTo>
                    <a:cubicBezTo>
                      <a:pt x="1625" y="2091"/>
                      <a:pt x="1650" y="2190"/>
                      <a:pt x="1663" y="2291"/>
                    </a:cubicBezTo>
                    <a:cubicBezTo>
                      <a:pt x="1667" y="2389"/>
                      <a:pt x="1706" y="2576"/>
                      <a:pt x="1618" y="2664"/>
                    </a:cubicBezTo>
                    <a:cubicBezTo>
                      <a:pt x="1595" y="2734"/>
                      <a:pt x="1492" y="2742"/>
                      <a:pt x="1427" y="2764"/>
                    </a:cubicBezTo>
                    <a:cubicBezTo>
                      <a:pt x="1401" y="2773"/>
                      <a:pt x="1377" y="2804"/>
                      <a:pt x="1354" y="2819"/>
                    </a:cubicBezTo>
                    <a:cubicBezTo>
                      <a:pt x="1330" y="2743"/>
                      <a:pt x="1316" y="2684"/>
                      <a:pt x="1245" y="2637"/>
                    </a:cubicBezTo>
                    <a:cubicBezTo>
                      <a:pt x="1229" y="2590"/>
                      <a:pt x="1248" y="2624"/>
                      <a:pt x="1209" y="2600"/>
                    </a:cubicBezTo>
                    <a:cubicBezTo>
                      <a:pt x="1183" y="2584"/>
                      <a:pt x="1174" y="2557"/>
                      <a:pt x="1145" y="2537"/>
                    </a:cubicBezTo>
                    <a:cubicBezTo>
                      <a:pt x="1122" y="2502"/>
                      <a:pt x="1098" y="2478"/>
                      <a:pt x="1063" y="2455"/>
                    </a:cubicBezTo>
                    <a:cubicBezTo>
                      <a:pt x="1047" y="2406"/>
                      <a:pt x="1067" y="2444"/>
                      <a:pt x="1027" y="2419"/>
                    </a:cubicBezTo>
                    <a:cubicBezTo>
                      <a:pt x="994" y="2398"/>
                      <a:pt x="978" y="2359"/>
                      <a:pt x="945" y="2337"/>
                    </a:cubicBezTo>
                    <a:cubicBezTo>
                      <a:pt x="921" y="2265"/>
                      <a:pt x="957" y="2349"/>
                      <a:pt x="909" y="2300"/>
                    </a:cubicBezTo>
                    <a:cubicBezTo>
                      <a:pt x="863" y="2253"/>
                      <a:pt x="944" y="2287"/>
                      <a:pt x="872" y="2264"/>
                    </a:cubicBezTo>
                    <a:cubicBezTo>
                      <a:pt x="847" y="2190"/>
                      <a:pt x="885" y="2278"/>
                      <a:pt x="836" y="2228"/>
                    </a:cubicBezTo>
                    <a:cubicBezTo>
                      <a:pt x="829" y="2221"/>
                      <a:pt x="833" y="2208"/>
                      <a:pt x="827" y="2200"/>
                    </a:cubicBezTo>
                    <a:cubicBezTo>
                      <a:pt x="820" y="2191"/>
                      <a:pt x="809" y="2188"/>
                      <a:pt x="800" y="2182"/>
                    </a:cubicBezTo>
                    <a:cubicBezTo>
                      <a:pt x="780" y="2127"/>
                      <a:pt x="768" y="2061"/>
                      <a:pt x="718" y="2028"/>
                    </a:cubicBezTo>
                    <a:cubicBezTo>
                      <a:pt x="687" y="1933"/>
                      <a:pt x="735" y="2072"/>
                      <a:pt x="690" y="1973"/>
                    </a:cubicBezTo>
                    <a:cubicBezTo>
                      <a:pt x="665" y="1919"/>
                      <a:pt x="660" y="1860"/>
                      <a:pt x="627" y="1810"/>
                    </a:cubicBezTo>
                    <a:cubicBezTo>
                      <a:pt x="611" y="1743"/>
                      <a:pt x="604" y="1689"/>
                      <a:pt x="627" y="1619"/>
                    </a:cubicBezTo>
                    <a:cubicBezTo>
                      <a:pt x="616" y="1516"/>
                      <a:pt x="578" y="1428"/>
                      <a:pt x="554" y="1328"/>
                    </a:cubicBezTo>
                    <a:cubicBezTo>
                      <a:pt x="540" y="1270"/>
                      <a:pt x="552" y="1301"/>
                      <a:pt x="509" y="1237"/>
                    </a:cubicBezTo>
                    <a:cubicBezTo>
                      <a:pt x="503" y="1228"/>
                      <a:pt x="490" y="1209"/>
                      <a:pt x="490" y="1209"/>
                    </a:cubicBezTo>
                    <a:cubicBezTo>
                      <a:pt x="467" y="1141"/>
                      <a:pt x="501" y="1222"/>
                      <a:pt x="454" y="1164"/>
                    </a:cubicBezTo>
                    <a:cubicBezTo>
                      <a:pt x="448" y="1157"/>
                      <a:pt x="449" y="1146"/>
                      <a:pt x="445" y="1137"/>
                    </a:cubicBezTo>
                    <a:cubicBezTo>
                      <a:pt x="429" y="1104"/>
                      <a:pt x="420" y="1084"/>
                      <a:pt x="390" y="1064"/>
                    </a:cubicBezTo>
                    <a:cubicBezTo>
                      <a:pt x="374" y="1001"/>
                      <a:pt x="356" y="932"/>
                      <a:pt x="327" y="873"/>
                    </a:cubicBezTo>
                  </a:path>
                </a:pathLst>
              </a:custGeom>
              <a:solidFill>
                <a:schemeClr val="tx1"/>
              </a:solidFill>
              <a:ln w="9525">
                <a:solidFill>
                  <a:srgbClr val="000000"/>
                </a:solidFill>
                <a:round/>
                <a:headEnd/>
                <a:tailEnd/>
              </a:ln>
            </p:spPr>
            <p:txBody>
              <a:bodyPr wrap="none" anchor="ctr"/>
              <a:lstStyle/>
              <a:p>
                <a:endParaRPr lang="it-IT"/>
              </a:p>
            </p:txBody>
          </p:sp>
          <p:grpSp>
            <p:nvGrpSpPr>
              <p:cNvPr id="25681" name="Group 126"/>
              <p:cNvGrpSpPr>
                <a:grpSpLocks/>
              </p:cNvGrpSpPr>
              <p:nvPr/>
            </p:nvGrpSpPr>
            <p:grpSpPr bwMode="auto">
              <a:xfrm rot="3721410">
                <a:off x="2715" y="2997"/>
                <a:ext cx="377" cy="432"/>
                <a:chOff x="3008" y="1263"/>
                <a:chExt cx="377" cy="577"/>
              </a:xfrm>
            </p:grpSpPr>
            <p:sp>
              <p:nvSpPr>
                <p:cNvPr id="25697" name="Freeform 127"/>
                <p:cNvSpPr>
                  <a:spLocks/>
                </p:cNvSpPr>
                <p:nvPr/>
              </p:nvSpPr>
              <p:spPr bwMode="auto">
                <a:xfrm>
                  <a:off x="3008" y="1263"/>
                  <a:ext cx="377" cy="577"/>
                </a:xfrm>
                <a:custGeom>
                  <a:avLst/>
                  <a:gdLst>
                    <a:gd name="T0" fmla="*/ 23 w 377"/>
                    <a:gd name="T1" fmla="*/ 577 h 577"/>
                    <a:gd name="T2" fmla="*/ 0 w 377"/>
                    <a:gd name="T3" fmla="*/ 261 h 577"/>
                    <a:gd name="T4" fmla="*/ 15 w 377"/>
                    <a:gd name="T5" fmla="*/ 103 h 577"/>
                    <a:gd name="T6" fmla="*/ 71 w 377"/>
                    <a:gd name="T7" fmla="*/ 48 h 577"/>
                    <a:gd name="T8" fmla="*/ 142 w 377"/>
                    <a:gd name="T9" fmla="*/ 0 h 577"/>
                    <a:gd name="T10" fmla="*/ 268 w 377"/>
                    <a:gd name="T11" fmla="*/ 24 h 577"/>
                    <a:gd name="T12" fmla="*/ 339 w 377"/>
                    <a:gd name="T13" fmla="*/ 127 h 577"/>
                    <a:gd name="T14" fmla="*/ 371 w 377"/>
                    <a:gd name="T15" fmla="*/ 363 h 577"/>
                    <a:gd name="T16" fmla="*/ 363 w 377"/>
                    <a:gd name="T17" fmla="*/ 498 h 577"/>
                    <a:gd name="T18" fmla="*/ 315 w 377"/>
                    <a:gd name="T19" fmla="*/ 529 h 577"/>
                    <a:gd name="T20" fmla="*/ 126 w 377"/>
                    <a:gd name="T21" fmla="*/ 561 h 577"/>
                    <a:gd name="T22" fmla="*/ 23 w 377"/>
                    <a:gd name="T23" fmla="*/ 577 h 5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7"/>
                    <a:gd name="T37" fmla="*/ 0 h 577"/>
                    <a:gd name="T38" fmla="*/ 377 w 377"/>
                    <a:gd name="T39" fmla="*/ 577 h 5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7" h="577">
                      <a:moveTo>
                        <a:pt x="23" y="577"/>
                      </a:moveTo>
                      <a:cubicBezTo>
                        <a:pt x="18" y="446"/>
                        <a:pt x="13" y="376"/>
                        <a:pt x="0" y="261"/>
                      </a:cubicBezTo>
                      <a:cubicBezTo>
                        <a:pt x="3" y="222"/>
                        <a:pt x="5" y="149"/>
                        <a:pt x="15" y="103"/>
                      </a:cubicBezTo>
                      <a:cubicBezTo>
                        <a:pt x="20" y="77"/>
                        <a:pt x="71" y="48"/>
                        <a:pt x="71" y="48"/>
                      </a:cubicBezTo>
                      <a:cubicBezTo>
                        <a:pt x="93" y="12"/>
                        <a:pt x="108" y="23"/>
                        <a:pt x="142" y="0"/>
                      </a:cubicBezTo>
                      <a:cubicBezTo>
                        <a:pt x="189" y="5"/>
                        <a:pt x="224" y="9"/>
                        <a:pt x="268" y="24"/>
                      </a:cubicBezTo>
                      <a:cubicBezTo>
                        <a:pt x="299" y="55"/>
                        <a:pt x="320" y="88"/>
                        <a:pt x="339" y="127"/>
                      </a:cubicBezTo>
                      <a:cubicBezTo>
                        <a:pt x="348" y="206"/>
                        <a:pt x="361" y="284"/>
                        <a:pt x="371" y="363"/>
                      </a:cubicBezTo>
                      <a:cubicBezTo>
                        <a:pt x="368" y="408"/>
                        <a:pt x="377" y="455"/>
                        <a:pt x="363" y="498"/>
                      </a:cubicBezTo>
                      <a:cubicBezTo>
                        <a:pt x="357" y="516"/>
                        <a:pt x="331" y="518"/>
                        <a:pt x="315" y="529"/>
                      </a:cubicBezTo>
                      <a:cubicBezTo>
                        <a:pt x="252" y="571"/>
                        <a:pt x="226" y="555"/>
                        <a:pt x="126" y="561"/>
                      </a:cubicBezTo>
                      <a:cubicBezTo>
                        <a:pt x="88" y="569"/>
                        <a:pt x="62" y="577"/>
                        <a:pt x="23" y="577"/>
                      </a:cubicBezTo>
                      <a:close/>
                    </a:path>
                  </a:pathLst>
                </a:custGeom>
                <a:gradFill rotWithShape="0">
                  <a:gsLst>
                    <a:gs pos="0">
                      <a:srgbClr val="FF6699"/>
                    </a:gs>
                    <a:gs pos="100000">
                      <a:srgbClr val="762F47"/>
                    </a:gs>
                  </a:gsLst>
                  <a:path path="rect">
                    <a:fillToRect l="50000" t="50000" r="50000" b="50000"/>
                  </a:path>
                </a:gradFill>
                <a:ln w="9525">
                  <a:solidFill>
                    <a:schemeClr val="tx1"/>
                  </a:solidFill>
                  <a:round/>
                  <a:headEnd/>
                  <a:tailEnd/>
                </a:ln>
              </p:spPr>
              <p:txBody>
                <a:bodyPr rot="10800000" vert="eaVert" wrap="none" anchor="ctr"/>
                <a:lstStyle/>
                <a:p>
                  <a:endParaRPr lang="it-IT"/>
                </a:p>
              </p:txBody>
            </p:sp>
            <p:sp>
              <p:nvSpPr>
                <p:cNvPr id="25698" name="Oval 128"/>
                <p:cNvSpPr>
                  <a:spLocks noChangeArrowheads="1"/>
                </p:cNvSpPr>
                <p:nvPr/>
              </p:nvSpPr>
              <p:spPr bwMode="auto">
                <a:xfrm>
                  <a:off x="3120" y="1632"/>
                  <a:ext cx="144" cy="96"/>
                </a:xfrm>
                <a:prstGeom prst="ellipse">
                  <a:avLst/>
                </a:prstGeom>
                <a:solidFill>
                  <a:schemeClr val="tx1">
                    <a:alpha val="50195"/>
                  </a:schemeClr>
                </a:solidFill>
                <a:ln w="9525">
                  <a:solidFill>
                    <a:schemeClr val="tx1"/>
                  </a:solidFill>
                  <a:round/>
                  <a:headEnd/>
                  <a:tailEnd/>
                </a:ln>
              </p:spPr>
              <p:txBody>
                <a:bodyPr rot="10800000" vert="eaVert" wrap="none" anchor="ctr"/>
                <a:lstStyle/>
                <a:p>
                  <a:endParaRPr lang="it-IT" sz="1200" b="1">
                    <a:latin typeface="Times New Roman" pitchFamily="18" charset="0"/>
                  </a:endParaRPr>
                </a:p>
              </p:txBody>
            </p:sp>
          </p:grpSp>
          <p:grpSp>
            <p:nvGrpSpPr>
              <p:cNvPr id="25682" name="Group 129"/>
              <p:cNvGrpSpPr>
                <a:grpSpLocks/>
              </p:cNvGrpSpPr>
              <p:nvPr/>
            </p:nvGrpSpPr>
            <p:grpSpPr bwMode="auto">
              <a:xfrm rot="3721410">
                <a:off x="2475" y="2709"/>
                <a:ext cx="377" cy="432"/>
                <a:chOff x="3008" y="1263"/>
                <a:chExt cx="377" cy="577"/>
              </a:xfrm>
            </p:grpSpPr>
            <p:sp>
              <p:nvSpPr>
                <p:cNvPr id="25695" name="Freeform 130"/>
                <p:cNvSpPr>
                  <a:spLocks/>
                </p:cNvSpPr>
                <p:nvPr/>
              </p:nvSpPr>
              <p:spPr bwMode="auto">
                <a:xfrm>
                  <a:off x="3008" y="1263"/>
                  <a:ext cx="377" cy="577"/>
                </a:xfrm>
                <a:custGeom>
                  <a:avLst/>
                  <a:gdLst>
                    <a:gd name="T0" fmla="*/ 23 w 377"/>
                    <a:gd name="T1" fmla="*/ 577 h 577"/>
                    <a:gd name="T2" fmla="*/ 0 w 377"/>
                    <a:gd name="T3" fmla="*/ 261 h 577"/>
                    <a:gd name="T4" fmla="*/ 15 w 377"/>
                    <a:gd name="T5" fmla="*/ 103 h 577"/>
                    <a:gd name="T6" fmla="*/ 71 w 377"/>
                    <a:gd name="T7" fmla="*/ 48 h 577"/>
                    <a:gd name="T8" fmla="*/ 142 w 377"/>
                    <a:gd name="T9" fmla="*/ 0 h 577"/>
                    <a:gd name="T10" fmla="*/ 268 w 377"/>
                    <a:gd name="T11" fmla="*/ 24 h 577"/>
                    <a:gd name="T12" fmla="*/ 339 w 377"/>
                    <a:gd name="T13" fmla="*/ 127 h 577"/>
                    <a:gd name="T14" fmla="*/ 371 w 377"/>
                    <a:gd name="T15" fmla="*/ 363 h 577"/>
                    <a:gd name="T16" fmla="*/ 363 w 377"/>
                    <a:gd name="T17" fmla="*/ 498 h 577"/>
                    <a:gd name="T18" fmla="*/ 315 w 377"/>
                    <a:gd name="T19" fmla="*/ 529 h 577"/>
                    <a:gd name="T20" fmla="*/ 126 w 377"/>
                    <a:gd name="T21" fmla="*/ 561 h 577"/>
                    <a:gd name="T22" fmla="*/ 23 w 377"/>
                    <a:gd name="T23" fmla="*/ 577 h 5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7"/>
                    <a:gd name="T37" fmla="*/ 0 h 577"/>
                    <a:gd name="T38" fmla="*/ 377 w 377"/>
                    <a:gd name="T39" fmla="*/ 577 h 5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7" h="577">
                      <a:moveTo>
                        <a:pt x="23" y="577"/>
                      </a:moveTo>
                      <a:cubicBezTo>
                        <a:pt x="18" y="446"/>
                        <a:pt x="13" y="376"/>
                        <a:pt x="0" y="261"/>
                      </a:cubicBezTo>
                      <a:cubicBezTo>
                        <a:pt x="3" y="222"/>
                        <a:pt x="5" y="149"/>
                        <a:pt x="15" y="103"/>
                      </a:cubicBezTo>
                      <a:cubicBezTo>
                        <a:pt x="20" y="77"/>
                        <a:pt x="71" y="48"/>
                        <a:pt x="71" y="48"/>
                      </a:cubicBezTo>
                      <a:cubicBezTo>
                        <a:pt x="93" y="12"/>
                        <a:pt x="108" y="23"/>
                        <a:pt x="142" y="0"/>
                      </a:cubicBezTo>
                      <a:cubicBezTo>
                        <a:pt x="189" y="5"/>
                        <a:pt x="224" y="9"/>
                        <a:pt x="268" y="24"/>
                      </a:cubicBezTo>
                      <a:cubicBezTo>
                        <a:pt x="299" y="55"/>
                        <a:pt x="320" y="88"/>
                        <a:pt x="339" y="127"/>
                      </a:cubicBezTo>
                      <a:cubicBezTo>
                        <a:pt x="348" y="206"/>
                        <a:pt x="361" y="284"/>
                        <a:pt x="371" y="363"/>
                      </a:cubicBezTo>
                      <a:cubicBezTo>
                        <a:pt x="368" y="408"/>
                        <a:pt x="377" y="455"/>
                        <a:pt x="363" y="498"/>
                      </a:cubicBezTo>
                      <a:cubicBezTo>
                        <a:pt x="357" y="516"/>
                        <a:pt x="331" y="518"/>
                        <a:pt x="315" y="529"/>
                      </a:cubicBezTo>
                      <a:cubicBezTo>
                        <a:pt x="252" y="571"/>
                        <a:pt x="226" y="555"/>
                        <a:pt x="126" y="561"/>
                      </a:cubicBezTo>
                      <a:cubicBezTo>
                        <a:pt x="88" y="569"/>
                        <a:pt x="62" y="577"/>
                        <a:pt x="23" y="577"/>
                      </a:cubicBezTo>
                      <a:close/>
                    </a:path>
                  </a:pathLst>
                </a:custGeom>
                <a:gradFill rotWithShape="0">
                  <a:gsLst>
                    <a:gs pos="0">
                      <a:srgbClr val="FF6699"/>
                    </a:gs>
                    <a:gs pos="100000">
                      <a:srgbClr val="762F47"/>
                    </a:gs>
                  </a:gsLst>
                  <a:path path="rect">
                    <a:fillToRect l="50000" t="50000" r="50000" b="50000"/>
                  </a:path>
                </a:gradFill>
                <a:ln w="9525">
                  <a:solidFill>
                    <a:schemeClr val="tx1"/>
                  </a:solidFill>
                  <a:round/>
                  <a:headEnd/>
                  <a:tailEnd/>
                </a:ln>
              </p:spPr>
              <p:txBody>
                <a:bodyPr rot="10800000" vert="eaVert" wrap="none" anchor="ctr"/>
                <a:lstStyle/>
                <a:p>
                  <a:endParaRPr lang="it-IT"/>
                </a:p>
              </p:txBody>
            </p:sp>
            <p:sp>
              <p:nvSpPr>
                <p:cNvPr id="25696" name="Oval 131"/>
                <p:cNvSpPr>
                  <a:spLocks noChangeArrowheads="1"/>
                </p:cNvSpPr>
                <p:nvPr/>
              </p:nvSpPr>
              <p:spPr bwMode="auto">
                <a:xfrm>
                  <a:off x="3120" y="1632"/>
                  <a:ext cx="144" cy="96"/>
                </a:xfrm>
                <a:prstGeom prst="ellipse">
                  <a:avLst/>
                </a:prstGeom>
                <a:solidFill>
                  <a:schemeClr val="tx1">
                    <a:alpha val="50195"/>
                  </a:schemeClr>
                </a:solidFill>
                <a:ln w="9525">
                  <a:solidFill>
                    <a:schemeClr val="tx1"/>
                  </a:solidFill>
                  <a:round/>
                  <a:headEnd/>
                  <a:tailEnd/>
                </a:ln>
              </p:spPr>
              <p:txBody>
                <a:bodyPr rot="10800000" vert="eaVert" wrap="none" anchor="ctr"/>
                <a:lstStyle/>
                <a:p>
                  <a:endParaRPr lang="it-IT" sz="1200" b="1">
                    <a:latin typeface="Times New Roman" pitchFamily="18" charset="0"/>
                  </a:endParaRPr>
                </a:p>
              </p:txBody>
            </p:sp>
          </p:grpSp>
          <p:grpSp>
            <p:nvGrpSpPr>
              <p:cNvPr id="25683" name="Group 132"/>
              <p:cNvGrpSpPr>
                <a:grpSpLocks/>
              </p:cNvGrpSpPr>
              <p:nvPr/>
            </p:nvGrpSpPr>
            <p:grpSpPr bwMode="auto">
              <a:xfrm rot="4427185">
                <a:off x="2235" y="2469"/>
                <a:ext cx="377" cy="432"/>
                <a:chOff x="3008" y="1263"/>
                <a:chExt cx="377" cy="577"/>
              </a:xfrm>
            </p:grpSpPr>
            <p:sp>
              <p:nvSpPr>
                <p:cNvPr id="25693" name="Freeform 133"/>
                <p:cNvSpPr>
                  <a:spLocks/>
                </p:cNvSpPr>
                <p:nvPr/>
              </p:nvSpPr>
              <p:spPr bwMode="auto">
                <a:xfrm>
                  <a:off x="3008" y="1263"/>
                  <a:ext cx="377" cy="577"/>
                </a:xfrm>
                <a:custGeom>
                  <a:avLst/>
                  <a:gdLst>
                    <a:gd name="T0" fmla="*/ 23 w 377"/>
                    <a:gd name="T1" fmla="*/ 577 h 577"/>
                    <a:gd name="T2" fmla="*/ 0 w 377"/>
                    <a:gd name="T3" fmla="*/ 261 h 577"/>
                    <a:gd name="T4" fmla="*/ 15 w 377"/>
                    <a:gd name="T5" fmla="*/ 103 h 577"/>
                    <a:gd name="T6" fmla="*/ 71 w 377"/>
                    <a:gd name="T7" fmla="*/ 48 h 577"/>
                    <a:gd name="T8" fmla="*/ 142 w 377"/>
                    <a:gd name="T9" fmla="*/ 0 h 577"/>
                    <a:gd name="T10" fmla="*/ 268 w 377"/>
                    <a:gd name="T11" fmla="*/ 24 h 577"/>
                    <a:gd name="T12" fmla="*/ 339 w 377"/>
                    <a:gd name="T13" fmla="*/ 127 h 577"/>
                    <a:gd name="T14" fmla="*/ 371 w 377"/>
                    <a:gd name="T15" fmla="*/ 363 h 577"/>
                    <a:gd name="T16" fmla="*/ 363 w 377"/>
                    <a:gd name="T17" fmla="*/ 498 h 577"/>
                    <a:gd name="T18" fmla="*/ 315 w 377"/>
                    <a:gd name="T19" fmla="*/ 529 h 577"/>
                    <a:gd name="T20" fmla="*/ 126 w 377"/>
                    <a:gd name="T21" fmla="*/ 561 h 577"/>
                    <a:gd name="T22" fmla="*/ 23 w 377"/>
                    <a:gd name="T23" fmla="*/ 577 h 5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7"/>
                    <a:gd name="T37" fmla="*/ 0 h 577"/>
                    <a:gd name="T38" fmla="*/ 377 w 377"/>
                    <a:gd name="T39" fmla="*/ 577 h 5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7" h="577">
                      <a:moveTo>
                        <a:pt x="23" y="577"/>
                      </a:moveTo>
                      <a:cubicBezTo>
                        <a:pt x="18" y="446"/>
                        <a:pt x="13" y="376"/>
                        <a:pt x="0" y="261"/>
                      </a:cubicBezTo>
                      <a:cubicBezTo>
                        <a:pt x="3" y="222"/>
                        <a:pt x="5" y="149"/>
                        <a:pt x="15" y="103"/>
                      </a:cubicBezTo>
                      <a:cubicBezTo>
                        <a:pt x="20" y="77"/>
                        <a:pt x="71" y="48"/>
                        <a:pt x="71" y="48"/>
                      </a:cubicBezTo>
                      <a:cubicBezTo>
                        <a:pt x="93" y="12"/>
                        <a:pt x="108" y="23"/>
                        <a:pt x="142" y="0"/>
                      </a:cubicBezTo>
                      <a:cubicBezTo>
                        <a:pt x="189" y="5"/>
                        <a:pt x="224" y="9"/>
                        <a:pt x="268" y="24"/>
                      </a:cubicBezTo>
                      <a:cubicBezTo>
                        <a:pt x="299" y="55"/>
                        <a:pt x="320" y="88"/>
                        <a:pt x="339" y="127"/>
                      </a:cubicBezTo>
                      <a:cubicBezTo>
                        <a:pt x="348" y="206"/>
                        <a:pt x="361" y="284"/>
                        <a:pt x="371" y="363"/>
                      </a:cubicBezTo>
                      <a:cubicBezTo>
                        <a:pt x="368" y="408"/>
                        <a:pt x="377" y="455"/>
                        <a:pt x="363" y="498"/>
                      </a:cubicBezTo>
                      <a:cubicBezTo>
                        <a:pt x="357" y="516"/>
                        <a:pt x="331" y="518"/>
                        <a:pt x="315" y="529"/>
                      </a:cubicBezTo>
                      <a:cubicBezTo>
                        <a:pt x="252" y="571"/>
                        <a:pt x="226" y="555"/>
                        <a:pt x="126" y="561"/>
                      </a:cubicBezTo>
                      <a:cubicBezTo>
                        <a:pt x="88" y="569"/>
                        <a:pt x="62" y="577"/>
                        <a:pt x="23" y="577"/>
                      </a:cubicBezTo>
                      <a:close/>
                    </a:path>
                  </a:pathLst>
                </a:custGeom>
                <a:gradFill rotWithShape="0">
                  <a:gsLst>
                    <a:gs pos="0">
                      <a:srgbClr val="FF6699"/>
                    </a:gs>
                    <a:gs pos="100000">
                      <a:srgbClr val="762F47"/>
                    </a:gs>
                  </a:gsLst>
                  <a:path path="rect">
                    <a:fillToRect l="50000" t="50000" r="50000" b="50000"/>
                  </a:path>
                </a:gradFill>
                <a:ln w="9525">
                  <a:solidFill>
                    <a:schemeClr val="tx1"/>
                  </a:solidFill>
                  <a:round/>
                  <a:headEnd/>
                  <a:tailEnd/>
                </a:ln>
              </p:spPr>
              <p:txBody>
                <a:bodyPr rot="10800000" vert="eaVert" wrap="none" anchor="ctr"/>
                <a:lstStyle/>
                <a:p>
                  <a:endParaRPr lang="it-IT"/>
                </a:p>
              </p:txBody>
            </p:sp>
            <p:sp>
              <p:nvSpPr>
                <p:cNvPr id="25694" name="Oval 134"/>
                <p:cNvSpPr>
                  <a:spLocks noChangeArrowheads="1"/>
                </p:cNvSpPr>
                <p:nvPr/>
              </p:nvSpPr>
              <p:spPr bwMode="auto">
                <a:xfrm>
                  <a:off x="3120" y="1632"/>
                  <a:ext cx="144" cy="96"/>
                </a:xfrm>
                <a:prstGeom prst="ellipse">
                  <a:avLst/>
                </a:prstGeom>
                <a:solidFill>
                  <a:schemeClr val="tx1">
                    <a:alpha val="50195"/>
                  </a:schemeClr>
                </a:solidFill>
                <a:ln w="9525">
                  <a:solidFill>
                    <a:schemeClr val="tx1"/>
                  </a:solidFill>
                  <a:round/>
                  <a:headEnd/>
                  <a:tailEnd/>
                </a:ln>
              </p:spPr>
              <p:txBody>
                <a:bodyPr rot="10800000" vert="eaVert" wrap="none" anchor="ctr"/>
                <a:lstStyle/>
                <a:p>
                  <a:endParaRPr lang="it-IT" sz="1200" b="1">
                    <a:latin typeface="Times New Roman" pitchFamily="18" charset="0"/>
                  </a:endParaRPr>
                </a:p>
              </p:txBody>
            </p:sp>
          </p:grpSp>
          <p:grpSp>
            <p:nvGrpSpPr>
              <p:cNvPr id="25684" name="Group 135"/>
              <p:cNvGrpSpPr>
                <a:grpSpLocks/>
              </p:cNvGrpSpPr>
              <p:nvPr/>
            </p:nvGrpSpPr>
            <p:grpSpPr bwMode="auto">
              <a:xfrm rot="4931637">
                <a:off x="2091" y="2133"/>
                <a:ext cx="377" cy="432"/>
                <a:chOff x="3008" y="1263"/>
                <a:chExt cx="377" cy="577"/>
              </a:xfrm>
            </p:grpSpPr>
            <p:sp>
              <p:nvSpPr>
                <p:cNvPr id="25691" name="Freeform 136"/>
                <p:cNvSpPr>
                  <a:spLocks/>
                </p:cNvSpPr>
                <p:nvPr/>
              </p:nvSpPr>
              <p:spPr bwMode="auto">
                <a:xfrm>
                  <a:off x="3008" y="1263"/>
                  <a:ext cx="377" cy="577"/>
                </a:xfrm>
                <a:custGeom>
                  <a:avLst/>
                  <a:gdLst>
                    <a:gd name="T0" fmla="*/ 23 w 377"/>
                    <a:gd name="T1" fmla="*/ 577 h 577"/>
                    <a:gd name="T2" fmla="*/ 0 w 377"/>
                    <a:gd name="T3" fmla="*/ 261 h 577"/>
                    <a:gd name="T4" fmla="*/ 15 w 377"/>
                    <a:gd name="T5" fmla="*/ 103 h 577"/>
                    <a:gd name="T6" fmla="*/ 71 w 377"/>
                    <a:gd name="T7" fmla="*/ 48 h 577"/>
                    <a:gd name="T8" fmla="*/ 142 w 377"/>
                    <a:gd name="T9" fmla="*/ 0 h 577"/>
                    <a:gd name="T10" fmla="*/ 268 w 377"/>
                    <a:gd name="T11" fmla="*/ 24 h 577"/>
                    <a:gd name="T12" fmla="*/ 339 w 377"/>
                    <a:gd name="T13" fmla="*/ 127 h 577"/>
                    <a:gd name="T14" fmla="*/ 371 w 377"/>
                    <a:gd name="T15" fmla="*/ 363 h 577"/>
                    <a:gd name="T16" fmla="*/ 363 w 377"/>
                    <a:gd name="T17" fmla="*/ 498 h 577"/>
                    <a:gd name="T18" fmla="*/ 315 w 377"/>
                    <a:gd name="T19" fmla="*/ 529 h 577"/>
                    <a:gd name="T20" fmla="*/ 126 w 377"/>
                    <a:gd name="T21" fmla="*/ 561 h 577"/>
                    <a:gd name="T22" fmla="*/ 23 w 377"/>
                    <a:gd name="T23" fmla="*/ 577 h 5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7"/>
                    <a:gd name="T37" fmla="*/ 0 h 577"/>
                    <a:gd name="T38" fmla="*/ 377 w 377"/>
                    <a:gd name="T39" fmla="*/ 577 h 5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7" h="577">
                      <a:moveTo>
                        <a:pt x="23" y="577"/>
                      </a:moveTo>
                      <a:cubicBezTo>
                        <a:pt x="18" y="446"/>
                        <a:pt x="13" y="376"/>
                        <a:pt x="0" y="261"/>
                      </a:cubicBezTo>
                      <a:cubicBezTo>
                        <a:pt x="3" y="222"/>
                        <a:pt x="5" y="149"/>
                        <a:pt x="15" y="103"/>
                      </a:cubicBezTo>
                      <a:cubicBezTo>
                        <a:pt x="20" y="77"/>
                        <a:pt x="71" y="48"/>
                        <a:pt x="71" y="48"/>
                      </a:cubicBezTo>
                      <a:cubicBezTo>
                        <a:pt x="93" y="12"/>
                        <a:pt x="108" y="23"/>
                        <a:pt x="142" y="0"/>
                      </a:cubicBezTo>
                      <a:cubicBezTo>
                        <a:pt x="189" y="5"/>
                        <a:pt x="224" y="9"/>
                        <a:pt x="268" y="24"/>
                      </a:cubicBezTo>
                      <a:cubicBezTo>
                        <a:pt x="299" y="55"/>
                        <a:pt x="320" y="88"/>
                        <a:pt x="339" y="127"/>
                      </a:cubicBezTo>
                      <a:cubicBezTo>
                        <a:pt x="348" y="206"/>
                        <a:pt x="361" y="284"/>
                        <a:pt x="371" y="363"/>
                      </a:cubicBezTo>
                      <a:cubicBezTo>
                        <a:pt x="368" y="408"/>
                        <a:pt x="377" y="455"/>
                        <a:pt x="363" y="498"/>
                      </a:cubicBezTo>
                      <a:cubicBezTo>
                        <a:pt x="357" y="516"/>
                        <a:pt x="331" y="518"/>
                        <a:pt x="315" y="529"/>
                      </a:cubicBezTo>
                      <a:cubicBezTo>
                        <a:pt x="252" y="571"/>
                        <a:pt x="226" y="555"/>
                        <a:pt x="126" y="561"/>
                      </a:cubicBezTo>
                      <a:cubicBezTo>
                        <a:pt x="88" y="569"/>
                        <a:pt x="62" y="577"/>
                        <a:pt x="23" y="577"/>
                      </a:cubicBezTo>
                      <a:close/>
                    </a:path>
                  </a:pathLst>
                </a:custGeom>
                <a:gradFill rotWithShape="0">
                  <a:gsLst>
                    <a:gs pos="0">
                      <a:srgbClr val="FF6699"/>
                    </a:gs>
                    <a:gs pos="100000">
                      <a:srgbClr val="762F47"/>
                    </a:gs>
                  </a:gsLst>
                  <a:path path="rect">
                    <a:fillToRect l="50000" t="50000" r="50000" b="50000"/>
                  </a:path>
                </a:gradFill>
                <a:ln w="9525">
                  <a:solidFill>
                    <a:schemeClr val="tx1"/>
                  </a:solidFill>
                  <a:round/>
                  <a:headEnd/>
                  <a:tailEnd/>
                </a:ln>
              </p:spPr>
              <p:txBody>
                <a:bodyPr rot="10800000" vert="eaVert" wrap="none" anchor="ctr"/>
                <a:lstStyle/>
                <a:p>
                  <a:endParaRPr lang="it-IT"/>
                </a:p>
              </p:txBody>
            </p:sp>
            <p:sp>
              <p:nvSpPr>
                <p:cNvPr id="25692" name="Oval 137"/>
                <p:cNvSpPr>
                  <a:spLocks noChangeArrowheads="1"/>
                </p:cNvSpPr>
                <p:nvPr/>
              </p:nvSpPr>
              <p:spPr bwMode="auto">
                <a:xfrm>
                  <a:off x="3120" y="1632"/>
                  <a:ext cx="144" cy="96"/>
                </a:xfrm>
                <a:prstGeom prst="ellipse">
                  <a:avLst/>
                </a:prstGeom>
                <a:solidFill>
                  <a:schemeClr val="tx1">
                    <a:alpha val="50195"/>
                  </a:schemeClr>
                </a:solidFill>
                <a:ln w="9525">
                  <a:solidFill>
                    <a:schemeClr val="tx1"/>
                  </a:solidFill>
                  <a:round/>
                  <a:headEnd/>
                  <a:tailEnd/>
                </a:ln>
              </p:spPr>
              <p:txBody>
                <a:bodyPr rot="10800000" vert="eaVert" wrap="none" anchor="ctr"/>
                <a:lstStyle/>
                <a:p>
                  <a:endParaRPr lang="it-IT" sz="1200" b="1">
                    <a:latin typeface="Times New Roman" pitchFamily="18" charset="0"/>
                  </a:endParaRPr>
                </a:p>
              </p:txBody>
            </p:sp>
          </p:grpSp>
          <p:grpSp>
            <p:nvGrpSpPr>
              <p:cNvPr id="25685" name="Group 138"/>
              <p:cNvGrpSpPr>
                <a:grpSpLocks/>
              </p:cNvGrpSpPr>
              <p:nvPr/>
            </p:nvGrpSpPr>
            <p:grpSpPr bwMode="auto">
              <a:xfrm rot="5143443">
                <a:off x="1995" y="1797"/>
                <a:ext cx="377" cy="432"/>
                <a:chOff x="3008" y="1263"/>
                <a:chExt cx="377" cy="577"/>
              </a:xfrm>
            </p:grpSpPr>
            <p:sp>
              <p:nvSpPr>
                <p:cNvPr id="25689" name="Freeform 139"/>
                <p:cNvSpPr>
                  <a:spLocks/>
                </p:cNvSpPr>
                <p:nvPr/>
              </p:nvSpPr>
              <p:spPr bwMode="auto">
                <a:xfrm>
                  <a:off x="3008" y="1263"/>
                  <a:ext cx="377" cy="577"/>
                </a:xfrm>
                <a:custGeom>
                  <a:avLst/>
                  <a:gdLst>
                    <a:gd name="T0" fmla="*/ 23 w 377"/>
                    <a:gd name="T1" fmla="*/ 577 h 577"/>
                    <a:gd name="T2" fmla="*/ 0 w 377"/>
                    <a:gd name="T3" fmla="*/ 261 h 577"/>
                    <a:gd name="T4" fmla="*/ 15 w 377"/>
                    <a:gd name="T5" fmla="*/ 103 h 577"/>
                    <a:gd name="T6" fmla="*/ 71 w 377"/>
                    <a:gd name="T7" fmla="*/ 48 h 577"/>
                    <a:gd name="T8" fmla="*/ 142 w 377"/>
                    <a:gd name="T9" fmla="*/ 0 h 577"/>
                    <a:gd name="T10" fmla="*/ 268 w 377"/>
                    <a:gd name="T11" fmla="*/ 24 h 577"/>
                    <a:gd name="T12" fmla="*/ 339 w 377"/>
                    <a:gd name="T13" fmla="*/ 127 h 577"/>
                    <a:gd name="T14" fmla="*/ 371 w 377"/>
                    <a:gd name="T15" fmla="*/ 363 h 577"/>
                    <a:gd name="T16" fmla="*/ 363 w 377"/>
                    <a:gd name="T17" fmla="*/ 498 h 577"/>
                    <a:gd name="T18" fmla="*/ 315 w 377"/>
                    <a:gd name="T19" fmla="*/ 529 h 577"/>
                    <a:gd name="T20" fmla="*/ 126 w 377"/>
                    <a:gd name="T21" fmla="*/ 561 h 577"/>
                    <a:gd name="T22" fmla="*/ 23 w 377"/>
                    <a:gd name="T23" fmla="*/ 577 h 5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7"/>
                    <a:gd name="T37" fmla="*/ 0 h 577"/>
                    <a:gd name="T38" fmla="*/ 377 w 377"/>
                    <a:gd name="T39" fmla="*/ 577 h 5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7" h="577">
                      <a:moveTo>
                        <a:pt x="23" y="577"/>
                      </a:moveTo>
                      <a:cubicBezTo>
                        <a:pt x="18" y="446"/>
                        <a:pt x="13" y="376"/>
                        <a:pt x="0" y="261"/>
                      </a:cubicBezTo>
                      <a:cubicBezTo>
                        <a:pt x="3" y="222"/>
                        <a:pt x="5" y="149"/>
                        <a:pt x="15" y="103"/>
                      </a:cubicBezTo>
                      <a:cubicBezTo>
                        <a:pt x="20" y="77"/>
                        <a:pt x="71" y="48"/>
                        <a:pt x="71" y="48"/>
                      </a:cubicBezTo>
                      <a:cubicBezTo>
                        <a:pt x="93" y="12"/>
                        <a:pt x="108" y="23"/>
                        <a:pt x="142" y="0"/>
                      </a:cubicBezTo>
                      <a:cubicBezTo>
                        <a:pt x="189" y="5"/>
                        <a:pt x="224" y="9"/>
                        <a:pt x="268" y="24"/>
                      </a:cubicBezTo>
                      <a:cubicBezTo>
                        <a:pt x="299" y="55"/>
                        <a:pt x="320" y="88"/>
                        <a:pt x="339" y="127"/>
                      </a:cubicBezTo>
                      <a:cubicBezTo>
                        <a:pt x="348" y="206"/>
                        <a:pt x="361" y="284"/>
                        <a:pt x="371" y="363"/>
                      </a:cubicBezTo>
                      <a:cubicBezTo>
                        <a:pt x="368" y="408"/>
                        <a:pt x="377" y="455"/>
                        <a:pt x="363" y="498"/>
                      </a:cubicBezTo>
                      <a:cubicBezTo>
                        <a:pt x="357" y="516"/>
                        <a:pt x="331" y="518"/>
                        <a:pt x="315" y="529"/>
                      </a:cubicBezTo>
                      <a:cubicBezTo>
                        <a:pt x="252" y="571"/>
                        <a:pt x="226" y="555"/>
                        <a:pt x="126" y="561"/>
                      </a:cubicBezTo>
                      <a:cubicBezTo>
                        <a:pt x="88" y="569"/>
                        <a:pt x="62" y="577"/>
                        <a:pt x="23" y="577"/>
                      </a:cubicBezTo>
                      <a:close/>
                    </a:path>
                  </a:pathLst>
                </a:custGeom>
                <a:gradFill rotWithShape="0">
                  <a:gsLst>
                    <a:gs pos="0">
                      <a:srgbClr val="FF6699"/>
                    </a:gs>
                    <a:gs pos="100000">
                      <a:srgbClr val="762F47"/>
                    </a:gs>
                  </a:gsLst>
                  <a:path path="rect">
                    <a:fillToRect l="50000" t="50000" r="50000" b="50000"/>
                  </a:path>
                </a:gradFill>
                <a:ln w="9525">
                  <a:solidFill>
                    <a:schemeClr val="tx1"/>
                  </a:solidFill>
                  <a:round/>
                  <a:headEnd/>
                  <a:tailEnd/>
                </a:ln>
              </p:spPr>
              <p:txBody>
                <a:bodyPr rot="10800000" vert="eaVert" wrap="none" anchor="ctr"/>
                <a:lstStyle/>
                <a:p>
                  <a:endParaRPr lang="it-IT"/>
                </a:p>
              </p:txBody>
            </p:sp>
            <p:sp>
              <p:nvSpPr>
                <p:cNvPr id="25690" name="Oval 140"/>
                <p:cNvSpPr>
                  <a:spLocks noChangeArrowheads="1"/>
                </p:cNvSpPr>
                <p:nvPr/>
              </p:nvSpPr>
              <p:spPr bwMode="auto">
                <a:xfrm>
                  <a:off x="3120" y="1632"/>
                  <a:ext cx="144" cy="96"/>
                </a:xfrm>
                <a:prstGeom prst="ellipse">
                  <a:avLst/>
                </a:prstGeom>
                <a:solidFill>
                  <a:schemeClr val="tx1">
                    <a:alpha val="50195"/>
                  </a:schemeClr>
                </a:solidFill>
                <a:ln w="9525">
                  <a:solidFill>
                    <a:schemeClr val="tx1"/>
                  </a:solidFill>
                  <a:round/>
                  <a:headEnd/>
                  <a:tailEnd/>
                </a:ln>
              </p:spPr>
              <p:txBody>
                <a:bodyPr rot="10800000" vert="eaVert" wrap="none" anchor="ctr"/>
                <a:lstStyle/>
                <a:p>
                  <a:endParaRPr lang="it-IT" sz="1200" b="1">
                    <a:latin typeface="Times New Roman" pitchFamily="18" charset="0"/>
                  </a:endParaRPr>
                </a:p>
              </p:txBody>
            </p:sp>
          </p:grpSp>
          <p:grpSp>
            <p:nvGrpSpPr>
              <p:cNvPr id="25686" name="Group 141"/>
              <p:cNvGrpSpPr>
                <a:grpSpLocks/>
              </p:cNvGrpSpPr>
              <p:nvPr/>
            </p:nvGrpSpPr>
            <p:grpSpPr bwMode="auto">
              <a:xfrm rot="3721410">
                <a:off x="1851" y="1461"/>
                <a:ext cx="377" cy="432"/>
                <a:chOff x="3008" y="1263"/>
                <a:chExt cx="377" cy="577"/>
              </a:xfrm>
            </p:grpSpPr>
            <p:sp>
              <p:nvSpPr>
                <p:cNvPr id="25687" name="Freeform 142"/>
                <p:cNvSpPr>
                  <a:spLocks/>
                </p:cNvSpPr>
                <p:nvPr/>
              </p:nvSpPr>
              <p:spPr bwMode="auto">
                <a:xfrm>
                  <a:off x="3008" y="1263"/>
                  <a:ext cx="377" cy="577"/>
                </a:xfrm>
                <a:custGeom>
                  <a:avLst/>
                  <a:gdLst>
                    <a:gd name="T0" fmla="*/ 23 w 377"/>
                    <a:gd name="T1" fmla="*/ 577 h 577"/>
                    <a:gd name="T2" fmla="*/ 0 w 377"/>
                    <a:gd name="T3" fmla="*/ 261 h 577"/>
                    <a:gd name="T4" fmla="*/ 15 w 377"/>
                    <a:gd name="T5" fmla="*/ 103 h 577"/>
                    <a:gd name="T6" fmla="*/ 71 w 377"/>
                    <a:gd name="T7" fmla="*/ 48 h 577"/>
                    <a:gd name="T8" fmla="*/ 142 w 377"/>
                    <a:gd name="T9" fmla="*/ 0 h 577"/>
                    <a:gd name="T10" fmla="*/ 268 w 377"/>
                    <a:gd name="T11" fmla="*/ 24 h 577"/>
                    <a:gd name="T12" fmla="*/ 339 w 377"/>
                    <a:gd name="T13" fmla="*/ 127 h 577"/>
                    <a:gd name="T14" fmla="*/ 371 w 377"/>
                    <a:gd name="T15" fmla="*/ 363 h 577"/>
                    <a:gd name="T16" fmla="*/ 363 w 377"/>
                    <a:gd name="T17" fmla="*/ 498 h 577"/>
                    <a:gd name="T18" fmla="*/ 315 w 377"/>
                    <a:gd name="T19" fmla="*/ 529 h 577"/>
                    <a:gd name="T20" fmla="*/ 126 w 377"/>
                    <a:gd name="T21" fmla="*/ 561 h 577"/>
                    <a:gd name="T22" fmla="*/ 23 w 377"/>
                    <a:gd name="T23" fmla="*/ 577 h 5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7"/>
                    <a:gd name="T37" fmla="*/ 0 h 577"/>
                    <a:gd name="T38" fmla="*/ 377 w 377"/>
                    <a:gd name="T39" fmla="*/ 577 h 5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7" h="577">
                      <a:moveTo>
                        <a:pt x="23" y="577"/>
                      </a:moveTo>
                      <a:cubicBezTo>
                        <a:pt x="18" y="446"/>
                        <a:pt x="13" y="376"/>
                        <a:pt x="0" y="261"/>
                      </a:cubicBezTo>
                      <a:cubicBezTo>
                        <a:pt x="3" y="222"/>
                        <a:pt x="5" y="149"/>
                        <a:pt x="15" y="103"/>
                      </a:cubicBezTo>
                      <a:cubicBezTo>
                        <a:pt x="20" y="77"/>
                        <a:pt x="71" y="48"/>
                        <a:pt x="71" y="48"/>
                      </a:cubicBezTo>
                      <a:cubicBezTo>
                        <a:pt x="93" y="12"/>
                        <a:pt x="108" y="23"/>
                        <a:pt x="142" y="0"/>
                      </a:cubicBezTo>
                      <a:cubicBezTo>
                        <a:pt x="189" y="5"/>
                        <a:pt x="224" y="9"/>
                        <a:pt x="268" y="24"/>
                      </a:cubicBezTo>
                      <a:cubicBezTo>
                        <a:pt x="299" y="55"/>
                        <a:pt x="320" y="88"/>
                        <a:pt x="339" y="127"/>
                      </a:cubicBezTo>
                      <a:cubicBezTo>
                        <a:pt x="348" y="206"/>
                        <a:pt x="361" y="284"/>
                        <a:pt x="371" y="363"/>
                      </a:cubicBezTo>
                      <a:cubicBezTo>
                        <a:pt x="368" y="408"/>
                        <a:pt x="377" y="455"/>
                        <a:pt x="363" y="498"/>
                      </a:cubicBezTo>
                      <a:cubicBezTo>
                        <a:pt x="357" y="516"/>
                        <a:pt x="331" y="518"/>
                        <a:pt x="315" y="529"/>
                      </a:cubicBezTo>
                      <a:cubicBezTo>
                        <a:pt x="252" y="571"/>
                        <a:pt x="226" y="555"/>
                        <a:pt x="126" y="561"/>
                      </a:cubicBezTo>
                      <a:cubicBezTo>
                        <a:pt x="88" y="569"/>
                        <a:pt x="62" y="577"/>
                        <a:pt x="23" y="577"/>
                      </a:cubicBezTo>
                      <a:close/>
                    </a:path>
                  </a:pathLst>
                </a:custGeom>
                <a:gradFill rotWithShape="0">
                  <a:gsLst>
                    <a:gs pos="0">
                      <a:srgbClr val="FF6699"/>
                    </a:gs>
                    <a:gs pos="100000">
                      <a:srgbClr val="762F47"/>
                    </a:gs>
                  </a:gsLst>
                  <a:path path="rect">
                    <a:fillToRect l="50000" t="50000" r="50000" b="50000"/>
                  </a:path>
                </a:gradFill>
                <a:ln w="9525">
                  <a:solidFill>
                    <a:schemeClr val="tx1"/>
                  </a:solidFill>
                  <a:round/>
                  <a:headEnd/>
                  <a:tailEnd/>
                </a:ln>
              </p:spPr>
              <p:txBody>
                <a:bodyPr rot="10800000" vert="eaVert" wrap="none" anchor="ctr"/>
                <a:lstStyle/>
                <a:p>
                  <a:endParaRPr lang="it-IT"/>
                </a:p>
              </p:txBody>
            </p:sp>
            <p:sp>
              <p:nvSpPr>
                <p:cNvPr id="25688" name="Oval 143"/>
                <p:cNvSpPr>
                  <a:spLocks noChangeArrowheads="1"/>
                </p:cNvSpPr>
                <p:nvPr/>
              </p:nvSpPr>
              <p:spPr bwMode="auto">
                <a:xfrm>
                  <a:off x="3120" y="1632"/>
                  <a:ext cx="144" cy="96"/>
                </a:xfrm>
                <a:prstGeom prst="ellipse">
                  <a:avLst/>
                </a:prstGeom>
                <a:solidFill>
                  <a:schemeClr val="tx1">
                    <a:alpha val="50195"/>
                  </a:schemeClr>
                </a:solidFill>
                <a:ln w="9525">
                  <a:solidFill>
                    <a:schemeClr val="tx1"/>
                  </a:solidFill>
                  <a:round/>
                  <a:headEnd/>
                  <a:tailEnd/>
                </a:ln>
              </p:spPr>
              <p:txBody>
                <a:bodyPr rot="10800000" vert="eaVert" wrap="none" anchor="ctr"/>
                <a:lstStyle/>
                <a:p>
                  <a:endParaRPr lang="it-IT" sz="1200" b="1">
                    <a:latin typeface="Times New Roman" pitchFamily="18" charset="0"/>
                  </a:endParaRPr>
                </a:p>
              </p:txBody>
            </p:sp>
          </p:grpSp>
        </p:grpSp>
        <p:sp>
          <p:nvSpPr>
            <p:cNvPr id="25678" name="Text Box 144"/>
            <p:cNvSpPr txBox="1">
              <a:spLocks noChangeArrowheads="1"/>
            </p:cNvSpPr>
            <p:nvPr/>
          </p:nvSpPr>
          <p:spPr bwMode="auto">
            <a:xfrm>
              <a:off x="874" y="1488"/>
              <a:ext cx="1153" cy="903"/>
            </a:xfrm>
            <a:prstGeom prst="rect">
              <a:avLst/>
            </a:prstGeom>
            <a:noFill/>
            <a:ln w="9525">
              <a:noFill/>
              <a:miter lim="800000"/>
              <a:headEnd/>
              <a:tailEnd/>
            </a:ln>
          </p:spPr>
          <p:txBody>
            <a:bodyPr wrap="none" lIns="91404" tIns="45702" rIns="91404" bIns="45702" anchor="ctr">
              <a:spAutoFit/>
            </a:bodyPr>
            <a:lstStyle/>
            <a:p>
              <a:pPr algn="ctr" eaLnBrk="0" hangingPunct="0"/>
              <a:r>
                <a:rPr lang="it-IT" sz="2000" b="1">
                  <a:solidFill>
                    <a:schemeClr val="bg1"/>
                  </a:solidFill>
                  <a:latin typeface="Times New Roman" pitchFamily="18" charset="0"/>
                </a:rPr>
                <a:t>Osteocalcina </a:t>
              </a:r>
            </a:p>
            <a:p>
              <a:pPr algn="ctr" eaLnBrk="0" hangingPunct="0"/>
              <a:r>
                <a:rPr lang="it-IT" sz="2000" b="1">
                  <a:solidFill>
                    <a:schemeClr val="bg1"/>
                  </a:solidFill>
                  <a:latin typeface="Times New Roman" pitchFamily="18" charset="0"/>
                </a:rPr>
                <a:t>ALP</a:t>
              </a:r>
            </a:p>
            <a:p>
              <a:pPr algn="ctr" eaLnBrk="0" hangingPunct="0"/>
              <a:r>
                <a:rPr lang="it-IT" sz="2000" b="1">
                  <a:solidFill>
                    <a:schemeClr val="bg1"/>
                  </a:solidFill>
                  <a:latin typeface="Times New Roman" pitchFamily="18" charset="0"/>
                </a:rPr>
                <a:t>TGF-</a:t>
              </a:r>
              <a:r>
                <a:rPr lang="it-IT" sz="2000" b="1">
                  <a:solidFill>
                    <a:schemeClr val="bg1"/>
                  </a:solidFill>
                  <a:latin typeface="Symbol" pitchFamily="18" charset="2"/>
                </a:rPr>
                <a:t>b</a:t>
              </a:r>
              <a:r>
                <a:rPr lang="it-IT" sz="2000" b="1">
                  <a:solidFill>
                    <a:schemeClr val="bg1"/>
                  </a:solidFill>
                  <a:latin typeface="Times New Roman" pitchFamily="18" charset="0"/>
                </a:rPr>
                <a:t>1</a:t>
              </a:r>
              <a:endParaRPr lang="it-IT" sz="2800">
                <a:solidFill>
                  <a:schemeClr val="bg1"/>
                </a:solidFill>
                <a:latin typeface="Times New Roman" pitchFamily="18" charset="0"/>
              </a:endParaRPr>
            </a:p>
            <a:p>
              <a:pPr algn="ctr" eaLnBrk="0" hangingPunct="0"/>
              <a:endParaRPr lang="it-IT" sz="2800">
                <a:solidFill>
                  <a:schemeClr val="bg1"/>
                </a:solidFill>
                <a:latin typeface="Times New Roman" pitchFamily="18" charset="0"/>
              </a:endParaRPr>
            </a:p>
          </p:txBody>
        </p:sp>
      </p:grpSp>
      <p:grpSp>
        <p:nvGrpSpPr>
          <p:cNvPr id="12352" name="Group 145"/>
          <p:cNvGrpSpPr>
            <a:grpSpLocks/>
          </p:cNvGrpSpPr>
          <p:nvPr/>
        </p:nvGrpSpPr>
        <p:grpSpPr bwMode="auto">
          <a:xfrm>
            <a:off x="1897063" y="914400"/>
            <a:ext cx="839787" cy="1295400"/>
            <a:chOff x="1344" y="576"/>
            <a:chExt cx="596" cy="816"/>
          </a:xfrm>
        </p:grpSpPr>
        <p:grpSp>
          <p:nvGrpSpPr>
            <p:cNvPr id="25662" name="Group 146"/>
            <p:cNvGrpSpPr>
              <a:grpSpLocks/>
            </p:cNvGrpSpPr>
            <p:nvPr/>
          </p:nvGrpSpPr>
          <p:grpSpPr bwMode="auto">
            <a:xfrm rot="3223542">
              <a:off x="1342" y="578"/>
              <a:ext cx="340" cy="336"/>
              <a:chOff x="868" y="1240"/>
              <a:chExt cx="713" cy="869"/>
            </a:xfrm>
          </p:grpSpPr>
          <p:sp>
            <p:nvSpPr>
              <p:cNvPr id="25673" name="Freeform 147"/>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tx1"/>
                </a:solidFill>
                <a:round/>
                <a:headEnd/>
                <a:tailEnd/>
              </a:ln>
            </p:spPr>
            <p:txBody>
              <a:bodyPr rot="10800000" vert="eaVert" wrap="none" anchor="ctr"/>
              <a:lstStyle/>
              <a:p>
                <a:endParaRPr lang="it-IT"/>
              </a:p>
            </p:txBody>
          </p:sp>
          <p:sp>
            <p:nvSpPr>
              <p:cNvPr id="25674" name="Freeform 148"/>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tx1"/>
                </a:solidFill>
                <a:round/>
                <a:headEnd/>
                <a:tailEnd/>
              </a:ln>
            </p:spPr>
            <p:txBody>
              <a:bodyPr rot="10800000" vert="eaVert" wrap="none" anchor="ctr"/>
              <a:lstStyle/>
              <a:p>
                <a:endParaRPr lang="it-IT"/>
              </a:p>
            </p:txBody>
          </p:sp>
          <p:sp>
            <p:nvSpPr>
              <p:cNvPr id="25675" name="Freeform 149"/>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tx1"/>
                </a:solidFill>
                <a:round/>
                <a:headEnd/>
                <a:tailEnd/>
              </a:ln>
            </p:spPr>
            <p:txBody>
              <a:bodyPr rot="10800000" vert="eaVert" wrap="none" anchor="ctr"/>
              <a:lstStyle/>
              <a:p>
                <a:endParaRPr lang="it-IT"/>
              </a:p>
            </p:txBody>
          </p:sp>
          <p:sp>
            <p:nvSpPr>
              <p:cNvPr id="25676" name="Freeform 150"/>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tx1"/>
                </a:solidFill>
                <a:round/>
                <a:headEnd/>
                <a:tailEnd/>
              </a:ln>
            </p:spPr>
            <p:txBody>
              <a:bodyPr rot="10800000" vert="eaVert" wrap="none" anchor="ctr"/>
              <a:lstStyle/>
              <a:p>
                <a:endParaRPr lang="it-IT"/>
              </a:p>
            </p:txBody>
          </p:sp>
        </p:grpSp>
        <p:grpSp>
          <p:nvGrpSpPr>
            <p:cNvPr id="25663" name="Group 151"/>
            <p:cNvGrpSpPr>
              <a:grpSpLocks/>
            </p:cNvGrpSpPr>
            <p:nvPr/>
          </p:nvGrpSpPr>
          <p:grpSpPr bwMode="auto">
            <a:xfrm rot="3989223">
              <a:off x="1482" y="828"/>
              <a:ext cx="288" cy="356"/>
              <a:chOff x="868" y="1240"/>
              <a:chExt cx="713" cy="869"/>
            </a:xfrm>
          </p:grpSpPr>
          <p:sp>
            <p:nvSpPr>
              <p:cNvPr id="25669" name="Freeform 152"/>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tx1"/>
                </a:solidFill>
                <a:round/>
                <a:headEnd/>
                <a:tailEnd/>
              </a:ln>
            </p:spPr>
            <p:txBody>
              <a:bodyPr rot="10800000" vert="eaVert" wrap="none" anchor="ctr"/>
              <a:lstStyle/>
              <a:p>
                <a:endParaRPr lang="it-IT"/>
              </a:p>
            </p:txBody>
          </p:sp>
          <p:sp>
            <p:nvSpPr>
              <p:cNvPr id="25670" name="Freeform 153"/>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tx1"/>
                </a:solidFill>
                <a:round/>
                <a:headEnd/>
                <a:tailEnd/>
              </a:ln>
            </p:spPr>
            <p:txBody>
              <a:bodyPr rot="10800000" vert="eaVert" wrap="none" anchor="ctr"/>
              <a:lstStyle/>
              <a:p>
                <a:endParaRPr lang="it-IT"/>
              </a:p>
            </p:txBody>
          </p:sp>
          <p:sp>
            <p:nvSpPr>
              <p:cNvPr id="25671" name="Freeform 154"/>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tx1"/>
                </a:solidFill>
                <a:round/>
                <a:headEnd/>
                <a:tailEnd/>
              </a:ln>
            </p:spPr>
            <p:txBody>
              <a:bodyPr rot="10800000" vert="eaVert" wrap="none" anchor="ctr"/>
              <a:lstStyle/>
              <a:p>
                <a:endParaRPr lang="it-IT"/>
              </a:p>
            </p:txBody>
          </p:sp>
          <p:sp>
            <p:nvSpPr>
              <p:cNvPr id="25672" name="Freeform 155"/>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tx1"/>
                </a:solidFill>
                <a:round/>
                <a:headEnd/>
                <a:tailEnd/>
              </a:ln>
            </p:spPr>
            <p:txBody>
              <a:bodyPr rot="10800000" vert="eaVert" wrap="none" anchor="ctr"/>
              <a:lstStyle/>
              <a:p>
                <a:endParaRPr lang="it-IT"/>
              </a:p>
            </p:txBody>
          </p:sp>
        </p:grpSp>
        <p:grpSp>
          <p:nvGrpSpPr>
            <p:cNvPr id="25664" name="Group 156"/>
            <p:cNvGrpSpPr>
              <a:grpSpLocks/>
            </p:cNvGrpSpPr>
            <p:nvPr/>
          </p:nvGrpSpPr>
          <p:grpSpPr bwMode="auto">
            <a:xfrm rot="3989223">
              <a:off x="1618" y="1070"/>
              <a:ext cx="288" cy="356"/>
              <a:chOff x="868" y="1240"/>
              <a:chExt cx="713" cy="869"/>
            </a:xfrm>
          </p:grpSpPr>
          <p:sp>
            <p:nvSpPr>
              <p:cNvPr id="25665" name="Freeform 157"/>
              <p:cNvSpPr>
                <a:spLocks/>
              </p:cNvSpPr>
              <p:nvPr/>
            </p:nvSpPr>
            <p:spPr bwMode="auto">
              <a:xfrm>
                <a:off x="868" y="1240"/>
                <a:ext cx="713" cy="869"/>
              </a:xfrm>
              <a:custGeom>
                <a:avLst/>
                <a:gdLst>
                  <a:gd name="T0" fmla="*/ 0 w 713"/>
                  <a:gd name="T1" fmla="*/ 852 h 869"/>
                  <a:gd name="T2" fmla="*/ 24 w 713"/>
                  <a:gd name="T3" fmla="*/ 718 h 869"/>
                  <a:gd name="T4" fmla="*/ 24 w 713"/>
                  <a:gd name="T5" fmla="*/ 331 h 869"/>
                  <a:gd name="T6" fmla="*/ 71 w 713"/>
                  <a:gd name="T7" fmla="*/ 197 h 869"/>
                  <a:gd name="T8" fmla="*/ 103 w 713"/>
                  <a:gd name="T9" fmla="*/ 150 h 869"/>
                  <a:gd name="T10" fmla="*/ 158 w 713"/>
                  <a:gd name="T11" fmla="*/ 86 h 869"/>
                  <a:gd name="T12" fmla="*/ 221 w 713"/>
                  <a:gd name="T13" fmla="*/ 47 h 869"/>
                  <a:gd name="T14" fmla="*/ 245 w 713"/>
                  <a:gd name="T15" fmla="*/ 31 h 869"/>
                  <a:gd name="T16" fmla="*/ 292 w 713"/>
                  <a:gd name="T17" fmla="*/ 15 h 869"/>
                  <a:gd name="T18" fmla="*/ 316 w 713"/>
                  <a:gd name="T19" fmla="*/ 7 h 869"/>
                  <a:gd name="T20" fmla="*/ 458 w 713"/>
                  <a:gd name="T21" fmla="*/ 23 h 869"/>
                  <a:gd name="T22" fmla="*/ 553 w 713"/>
                  <a:gd name="T23" fmla="*/ 86 h 869"/>
                  <a:gd name="T24" fmla="*/ 608 w 713"/>
                  <a:gd name="T25" fmla="*/ 157 h 869"/>
                  <a:gd name="T26" fmla="*/ 679 w 713"/>
                  <a:gd name="T27" fmla="*/ 323 h 869"/>
                  <a:gd name="T28" fmla="*/ 671 w 713"/>
                  <a:gd name="T29" fmla="*/ 734 h 869"/>
                  <a:gd name="T30" fmla="*/ 616 w 713"/>
                  <a:gd name="T31" fmla="*/ 836 h 869"/>
                  <a:gd name="T32" fmla="*/ 553 w 713"/>
                  <a:gd name="T33" fmla="*/ 702 h 869"/>
                  <a:gd name="T34" fmla="*/ 529 w 713"/>
                  <a:gd name="T35" fmla="*/ 710 h 869"/>
                  <a:gd name="T36" fmla="*/ 498 w 713"/>
                  <a:gd name="T37" fmla="*/ 836 h 869"/>
                  <a:gd name="T38" fmla="*/ 450 w 713"/>
                  <a:gd name="T39" fmla="*/ 710 h 869"/>
                  <a:gd name="T40" fmla="*/ 403 w 713"/>
                  <a:gd name="T41" fmla="*/ 686 h 869"/>
                  <a:gd name="T42" fmla="*/ 356 w 713"/>
                  <a:gd name="T43" fmla="*/ 765 h 869"/>
                  <a:gd name="T44" fmla="*/ 348 w 713"/>
                  <a:gd name="T45" fmla="*/ 821 h 869"/>
                  <a:gd name="T46" fmla="*/ 324 w 713"/>
                  <a:gd name="T47" fmla="*/ 797 h 869"/>
                  <a:gd name="T48" fmla="*/ 300 w 713"/>
                  <a:gd name="T49" fmla="*/ 726 h 869"/>
                  <a:gd name="T50" fmla="*/ 292 w 713"/>
                  <a:gd name="T51" fmla="*/ 702 h 869"/>
                  <a:gd name="T52" fmla="*/ 237 w 713"/>
                  <a:gd name="T53" fmla="*/ 765 h 869"/>
                  <a:gd name="T54" fmla="*/ 229 w 713"/>
                  <a:gd name="T55" fmla="*/ 860 h 869"/>
                  <a:gd name="T56" fmla="*/ 206 w 713"/>
                  <a:gd name="T57" fmla="*/ 844 h 869"/>
                  <a:gd name="T58" fmla="*/ 174 w 713"/>
                  <a:gd name="T59" fmla="*/ 742 h 869"/>
                  <a:gd name="T60" fmla="*/ 150 w 713"/>
                  <a:gd name="T61" fmla="*/ 750 h 869"/>
                  <a:gd name="T62" fmla="*/ 119 w 713"/>
                  <a:gd name="T63" fmla="*/ 852 h 869"/>
                  <a:gd name="T64" fmla="*/ 87 w 713"/>
                  <a:gd name="T65" fmla="*/ 836 h 869"/>
                  <a:gd name="T66" fmla="*/ 79 w 713"/>
                  <a:gd name="T67" fmla="*/ 781 h 869"/>
                  <a:gd name="T68" fmla="*/ 63 w 713"/>
                  <a:gd name="T69" fmla="*/ 829 h 869"/>
                  <a:gd name="T70" fmla="*/ 32 w 713"/>
                  <a:gd name="T71" fmla="*/ 868 h 869"/>
                  <a:gd name="T72" fmla="*/ 24 w 713"/>
                  <a:gd name="T73" fmla="*/ 813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tx1"/>
                </a:solidFill>
                <a:round/>
                <a:headEnd/>
                <a:tailEnd/>
              </a:ln>
            </p:spPr>
            <p:txBody>
              <a:bodyPr rot="10800000" vert="eaVert" wrap="none" anchor="ctr"/>
              <a:lstStyle/>
              <a:p>
                <a:endParaRPr lang="it-IT"/>
              </a:p>
            </p:txBody>
          </p:sp>
          <p:sp>
            <p:nvSpPr>
              <p:cNvPr id="25666" name="Freeform 158"/>
              <p:cNvSpPr>
                <a:spLocks/>
              </p:cNvSpPr>
              <p:nvPr/>
            </p:nvSpPr>
            <p:spPr bwMode="auto">
              <a:xfrm>
                <a:off x="1296" y="1680"/>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tx1"/>
                </a:solidFill>
                <a:round/>
                <a:headEnd/>
                <a:tailEnd/>
              </a:ln>
            </p:spPr>
            <p:txBody>
              <a:bodyPr rot="10800000" vert="eaVert" wrap="none" anchor="ctr"/>
              <a:lstStyle/>
              <a:p>
                <a:endParaRPr lang="it-IT"/>
              </a:p>
            </p:txBody>
          </p:sp>
          <p:sp>
            <p:nvSpPr>
              <p:cNvPr id="25667" name="Freeform 159"/>
              <p:cNvSpPr>
                <a:spLocks/>
              </p:cNvSpPr>
              <p:nvPr/>
            </p:nvSpPr>
            <p:spPr bwMode="auto">
              <a:xfrm>
                <a:off x="1104" y="1488"/>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tx1"/>
                </a:solidFill>
                <a:round/>
                <a:headEnd/>
                <a:tailEnd/>
              </a:ln>
            </p:spPr>
            <p:txBody>
              <a:bodyPr rot="10800000" vert="eaVert" wrap="none" anchor="ctr"/>
              <a:lstStyle/>
              <a:p>
                <a:endParaRPr lang="it-IT"/>
              </a:p>
            </p:txBody>
          </p:sp>
          <p:sp>
            <p:nvSpPr>
              <p:cNvPr id="25668" name="Freeform 160"/>
              <p:cNvSpPr>
                <a:spLocks/>
              </p:cNvSpPr>
              <p:nvPr/>
            </p:nvSpPr>
            <p:spPr bwMode="auto">
              <a:xfrm>
                <a:off x="1056" y="1632"/>
                <a:ext cx="180" cy="122"/>
              </a:xfrm>
              <a:custGeom>
                <a:avLst/>
                <a:gdLst>
                  <a:gd name="T0" fmla="*/ 17 w 180"/>
                  <a:gd name="T1" fmla="*/ 51 h 122"/>
                  <a:gd name="T2" fmla="*/ 17 w 180"/>
                  <a:gd name="T3" fmla="*/ 98 h 122"/>
                  <a:gd name="T4" fmla="*/ 64 w 180"/>
                  <a:gd name="T5" fmla="*/ 114 h 122"/>
                  <a:gd name="T6" fmla="*/ 96 w 180"/>
                  <a:gd name="T7" fmla="*/ 106 h 122"/>
                  <a:gd name="T8" fmla="*/ 120 w 180"/>
                  <a:gd name="T9" fmla="*/ 122 h 122"/>
                  <a:gd name="T10" fmla="*/ 159 w 180"/>
                  <a:gd name="T11" fmla="*/ 106 h 122"/>
                  <a:gd name="T12" fmla="*/ 143 w 180"/>
                  <a:gd name="T13" fmla="*/ 51 h 122"/>
                  <a:gd name="T14" fmla="*/ 104 w 180"/>
                  <a:gd name="T15" fmla="*/ 35 h 122"/>
                  <a:gd name="T16" fmla="*/ 72 w 180"/>
                  <a:gd name="T17" fmla="*/ 11 h 122"/>
                  <a:gd name="T18" fmla="*/ 41 w 180"/>
                  <a:gd name="T19" fmla="*/ 27 h 122"/>
                  <a:gd name="T20" fmla="*/ 17 w 180"/>
                  <a:gd name="T21" fmla="*/ 5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tx1"/>
                </a:solidFill>
                <a:round/>
                <a:headEnd/>
                <a:tailEnd/>
              </a:ln>
            </p:spPr>
            <p:txBody>
              <a:bodyPr rot="10800000" vert="eaVert" wrap="none" anchor="ctr"/>
              <a:lstStyle/>
              <a:p>
                <a:endParaRPr lang="it-IT"/>
              </a:p>
            </p:txBody>
          </p:sp>
        </p:grpSp>
      </p:grpSp>
      <p:grpSp>
        <p:nvGrpSpPr>
          <p:cNvPr id="12371" name="Group 161"/>
          <p:cNvGrpSpPr>
            <a:grpSpLocks/>
          </p:cNvGrpSpPr>
          <p:nvPr/>
        </p:nvGrpSpPr>
        <p:grpSpPr bwMode="auto">
          <a:xfrm>
            <a:off x="2641600" y="1295400"/>
            <a:ext cx="2303463" cy="1981200"/>
            <a:chOff x="1872" y="816"/>
            <a:chExt cx="1632" cy="1248"/>
          </a:xfrm>
        </p:grpSpPr>
        <p:sp>
          <p:nvSpPr>
            <p:cNvPr id="25660" name="Line 162"/>
            <p:cNvSpPr>
              <a:spLocks noChangeShapeType="1"/>
            </p:cNvSpPr>
            <p:nvPr/>
          </p:nvSpPr>
          <p:spPr bwMode="auto">
            <a:xfrm>
              <a:off x="3408" y="1632"/>
              <a:ext cx="96" cy="432"/>
            </a:xfrm>
            <a:prstGeom prst="line">
              <a:avLst/>
            </a:prstGeom>
            <a:noFill/>
            <a:ln w="38100">
              <a:solidFill>
                <a:schemeClr val="bg1"/>
              </a:solidFill>
              <a:prstDash val="sysDot"/>
              <a:round/>
              <a:headEnd/>
              <a:tailEnd type="triangle" w="med" len="med"/>
            </a:ln>
          </p:spPr>
          <p:txBody>
            <a:bodyPr wrap="none" anchor="ctr"/>
            <a:lstStyle/>
            <a:p>
              <a:endParaRPr lang="it-IT"/>
            </a:p>
          </p:txBody>
        </p:sp>
        <p:sp>
          <p:nvSpPr>
            <p:cNvPr id="25661" name="Freeform 163"/>
            <p:cNvSpPr>
              <a:spLocks/>
            </p:cNvSpPr>
            <p:nvPr/>
          </p:nvSpPr>
          <p:spPr bwMode="auto">
            <a:xfrm>
              <a:off x="1872" y="816"/>
              <a:ext cx="1056" cy="272"/>
            </a:xfrm>
            <a:custGeom>
              <a:avLst/>
              <a:gdLst>
                <a:gd name="T0" fmla="*/ 0 w 1056"/>
                <a:gd name="T1" fmla="*/ 80 h 272"/>
                <a:gd name="T2" fmla="*/ 432 w 1056"/>
                <a:gd name="T3" fmla="*/ 32 h 272"/>
                <a:gd name="T4" fmla="*/ 1056 w 1056"/>
                <a:gd name="T5" fmla="*/ 272 h 272"/>
                <a:gd name="T6" fmla="*/ 0 60000 65536"/>
                <a:gd name="T7" fmla="*/ 0 60000 65536"/>
                <a:gd name="T8" fmla="*/ 0 60000 65536"/>
                <a:gd name="T9" fmla="*/ 0 w 1056"/>
                <a:gd name="T10" fmla="*/ 0 h 272"/>
                <a:gd name="T11" fmla="*/ 1056 w 1056"/>
                <a:gd name="T12" fmla="*/ 272 h 272"/>
              </a:gdLst>
              <a:ahLst/>
              <a:cxnLst>
                <a:cxn ang="T6">
                  <a:pos x="T0" y="T1"/>
                </a:cxn>
                <a:cxn ang="T7">
                  <a:pos x="T2" y="T3"/>
                </a:cxn>
                <a:cxn ang="T8">
                  <a:pos x="T4" y="T5"/>
                </a:cxn>
              </a:cxnLst>
              <a:rect l="T9" t="T10" r="T11" b="T12"/>
              <a:pathLst>
                <a:path w="1056" h="272">
                  <a:moveTo>
                    <a:pt x="0" y="80"/>
                  </a:moveTo>
                  <a:cubicBezTo>
                    <a:pt x="128" y="40"/>
                    <a:pt x="256" y="0"/>
                    <a:pt x="432" y="32"/>
                  </a:cubicBezTo>
                  <a:cubicBezTo>
                    <a:pt x="608" y="64"/>
                    <a:pt x="952" y="232"/>
                    <a:pt x="1056" y="272"/>
                  </a:cubicBezTo>
                </a:path>
              </a:pathLst>
            </a:custGeom>
            <a:noFill/>
            <a:ln w="28575">
              <a:solidFill>
                <a:schemeClr val="bg1"/>
              </a:solidFill>
              <a:round/>
              <a:headEnd/>
              <a:tailEnd type="triangle" w="med" len="med"/>
            </a:ln>
          </p:spPr>
          <p:txBody>
            <a:bodyPr wrap="none" anchor="ctr"/>
            <a:lstStyle/>
            <a:p>
              <a:endParaRPr lang="it-IT"/>
            </a:p>
          </p:txBody>
        </p:sp>
      </p:grpSp>
      <p:grpSp>
        <p:nvGrpSpPr>
          <p:cNvPr id="12372" name="Group 164"/>
          <p:cNvGrpSpPr>
            <a:grpSpLocks/>
          </p:cNvGrpSpPr>
          <p:nvPr/>
        </p:nvGrpSpPr>
        <p:grpSpPr bwMode="auto">
          <a:xfrm>
            <a:off x="4876800" y="609600"/>
            <a:ext cx="3070225" cy="3708400"/>
            <a:chOff x="3456" y="384"/>
            <a:chExt cx="2176" cy="2336"/>
          </a:xfrm>
        </p:grpSpPr>
        <p:grpSp>
          <p:nvGrpSpPr>
            <p:cNvPr id="25628" name="Group 165"/>
            <p:cNvGrpSpPr>
              <a:grpSpLocks/>
            </p:cNvGrpSpPr>
            <p:nvPr/>
          </p:nvGrpSpPr>
          <p:grpSpPr bwMode="auto">
            <a:xfrm>
              <a:off x="3456" y="384"/>
              <a:ext cx="2176" cy="1676"/>
              <a:chOff x="3456" y="384"/>
              <a:chExt cx="2176" cy="1676"/>
            </a:xfrm>
          </p:grpSpPr>
          <p:grpSp>
            <p:nvGrpSpPr>
              <p:cNvPr id="25630" name="Group 166"/>
              <p:cNvGrpSpPr>
                <a:grpSpLocks/>
              </p:cNvGrpSpPr>
              <p:nvPr/>
            </p:nvGrpSpPr>
            <p:grpSpPr bwMode="auto">
              <a:xfrm>
                <a:off x="3936" y="720"/>
                <a:ext cx="736" cy="620"/>
                <a:chOff x="3392" y="1536"/>
                <a:chExt cx="736" cy="620"/>
              </a:xfrm>
            </p:grpSpPr>
            <p:sp>
              <p:nvSpPr>
                <p:cNvPr id="25656" name="Freeform 167"/>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657" name="Freeform 168"/>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58" name="Freeform 169"/>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59" name="Freeform 170"/>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631" name="Group 171"/>
              <p:cNvGrpSpPr>
                <a:grpSpLocks/>
              </p:cNvGrpSpPr>
              <p:nvPr/>
            </p:nvGrpSpPr>
            <p:grpSpPr bwMode="auto">
              <a:xfrm>
                <a:off x="3456" y="528"/>
                <a:ext cx="736" cy="620"/>
                <a:chOff x="3392" y="1536"/>
                <a:chExt cx="736" cy="620"/>
              </a:xfrm>
            </p:grpSpPr>
            <p:sp>
              <p:nvSpPr>
                <p:cNvPr id="25652" name="Freeform 172"/>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653" name="Freeform 173"/>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54" name="Freeform 174"/>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55" name="Freeform 175"/>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632" name="Group 176"/>
              <p:cNvGrpSpPr>
                <a:grpSpLocks/>
              </p:cNvGrpSpPr>
              <p:nvPr/>
            </p:nvGrpSpPr>
            <p:grpSpPr bwMode="auto">
              <a:xfrm>
                <a:off x="4512" y="768"/>
                <a:ext cx="736" cy="620"/>
                <a:chOff x="3392" y="1536"/>
                <a:chExt cx="736" cy="620"/>
              </a:xfrm>
            </p:grpSpPr>
            <p:sp>
              <p:nvSpPr>
                <p:cNvPr id="25648" name="Freeform 177"/>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649" name="Freeform 178"/>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50" name="Freeform 179"/>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51" name="Freeform 180"/>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633" name="Group 181"/>
              <p:cNvGrpSpPr>
                <a:grpSpLocks/>
              </p:cNvGrpSpPr>
              <p:nvPr/>
            </p:nvGrpSpPr>
            <p:grpSpPr bwMode="auto">
              <a:xfrm>
                <a:off x="3600" y="1440"/>
                <a:ext cx="736" cy="620"/>
                <a:chOff x="3392" y="1536"/>
                <a:chExt cx="736" cy="620"/>
              </a:xfrm>
            </p:grpSpPr>
            <p:sp>
              <p:nvSpPr>
                <p:cNvPr id="25644" name="Freeform 182"/>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645" name="Freeform 183"/>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46" name="Freeform 184"/>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47" name="Freeform 185"/>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634" name="Group 186"/>
              <p:cNvGrpSpPr>
                <a:grpSpLocks/>
              </p:cNvGrpSpPr>
              <p:nvPr/>
            </p:nvGrpSpPr>
            <p:grpSpPr bwMode="auto">
              <a:xfrm>
                <a:off x="4896" y="1104"/>
                <a:ext cx="736" cy="620"/>
                <a:chOff x="3392" y="1536"/>
                <a:chExt cx="736" cy="620"/>
              </a:xfrm>
            </p:grpSpPr>
            <p:sp>
              <p:nvSpPr>
                <p:cNvPr id="25640" name="Freeform 187"/>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641" name="Freeform 188"/>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42" name="Freeform 189"/>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43" name="Freeform 190"/>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nvGrpSpPr>
              <p:cNvPr id="25635" name="Group 191"/>
              <p:cNvGrpSpPr>
                <a:grpSpLocks/>
              </p:cNvGrpSpPr>
              <p:nvPr/>
            </p:nvGrpSpPr>
            <p:grpSpPr bwMode="auto">
              <a:xfrm>
                <a:off x="4080" y="384"/>
                <a:ext cx="736" cy="620"/>
                <a:chOff x="3392" y="1536"/>
                <a:chExt cx="736" cy="620"/>
              </a:xfrm>
            </p:grpSpPr>
            <p:sp>
              <p:nvSpPr>
                <p:cNvPr id="25636" name="Freeform 192"/>
                <p:cNvSpPr>
                  <a:spLocks/>
                </p:cNvSpPr>
                <p:nvPr/>
              </p:nvSpPr>
              <p:spPr bwMode="auto">
                <a:xfrm>
                  <a:off x="3392" y="1536"/>
                  <a:ext cx="736" cy="620"/>
                </a:xfrm>
                <a:custGeom>
                  <a:avLst/>
                  <a:gdLst>
                    <a:gd name="T0" fmla="*/ 160 w 736"/>
                    <a:gd name="T1" fmla="*/ 36 h 620"/>
                    <a:gd name="T2" fmla="*/ 88 w 736"/>
                    <a:gd name="T3" fmla="*/ 72 h 620"/>
                    <a:gd name="T4" fmla="*/ 100 w 736"/>
                    <a:gd name="T5" fmla="*/ 108 h 620"/>
                    <a:gd name="T6" fmla="*/ 88 w 736"/>
                    <a:gd name="T7" fmla="*/ 144 h 620"/>
                    <a:gd name="T8" fmla="*/ 52 w 736"/>
                    <a:gd name="T9" fmla="*/ 180 h 620"/>
                    <a:gd name="T10" fmla="*/ 28 w 736"/>
                    <a:gd name="T11" fmla="*/ 264 h 620"/>
                    <a:gd name="T12" fmla="*/ 64 w 736"/>
                    <a:gd name="T13" fmla="*/ 300 h 620"/>
                    <a:gd name="T14" fmla="*/ 40 w 736"/>
                    <a:gd name="T15" fmla="*/ 372 h 620"/>
                    <a:gd name="T16" fmla="*/ 244 w 736"/>
                    <a:gd name="T17" fmla="*/ 528 h 620"/>
                    <a:gd name="T18" fmla="*/ 268 w 736"/>
                    <a:gd name="T19" fmla="*/ 576 h 620"/>
                    <a:gd name="T20" fmla="*/ 304 w 736"/>
                    <a:gd name="T21" fmla="*/ 600 h 620"/>
                    <a:gd name="T22" fmla="*/ 580 w 736"/>
                    <a:gd name="T23" fmla="*/ 588 h 620"/>
                    <a:gd name="T24" fmla="*/ 604 w 736"/>
                    <a:gd name="T25" fmla="*/ 552 h 620"/>
                    <a:gd name="T26" fmla="*/ 640 w 736"/>
                    <a:gd name="T27" fmla="*/ 528 h 620"/>
                    <a:gd name="T28" fmla="*/ 736 w 736"/>
                    <a:gd name="T29" fmla="*/ 504 h 620"/>
                    <a:gd name="T30" fmla="*/ 736 w 736"/>
                    <a:gd name="T31" fmla="*/ 372 h 620"/>
                    <a:gd name="T32" fmla="*/ 652 w 736"/>
                    <a:gd name="T33" fmla="*/ 264 h 620"/>
                    <a:gd name="T34" fmla="*/ 664 w 736"/>
                    <a:gd name="T35" fmla="*/ 180 h 620"/>
                    <a:gd name="T36" fmla="*/ 688 w 736"/>
                    <a:gd name="T37" fmla="*/ 144 h 620"/>
                    <a:gd name="T38" fmla="*/ 448 w 736"/>
                    <a:gd name="T39" fmla="*/ 108 h 620"/>
                    <a:gd name="T40" fmla="*/ 412 w 736"/>
                    <a:gd name="T41" fmla="*/ 72 h 620"/>
                    <a:gd name="T42" fmla="*/ 388 w 736"/>
                    <a:gd name="T43" fmla="*/ 0 h 620"/>
                    <a:gd name="T44" fmla="*/ 316 w 736"/>
                    <a:gd name="T45" fmla="*/ 12 h 620"/>
                    <a:gd name="T46" fmla="*/ 268 w 736"/>
                    <a:gd name="T47" fmla="*/ 36 h 620"/>
                    <a:gd name="T48" fmla="*/ 184 w 736"/>
                    <a:gd name="T49" fmla="*/ 12 h 620"/>
                    <a:gd name="T50" fmla="*/ 160 w 736"/>
                    <a:gd name="T51" fmla="*/ 36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25637" name="Freeform 193"/>
                <p:cNvSpPr>
                  <a:spLocks/>
                </p:cNvSpPr>
                <p:nvPr/>
              </p:nvSpPr>
              <p:spPr bwMode="auto">
                <a:xfrm>
                  <a:off x="3744" y="1920"/>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38" name="Freeform 194"/>
                <p:cNvSpPr>
                  <a:spLocks/>
                </p:cNvSpPr>
                <p:nvPr/>
              </p:nvSpPr>
              <p:spPr bwMode="auto">
                <a:xfrm>
                  <a:off x="3840" y="1776"/>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sp>
              <p:nvSpPr>
                <p:cNvPr id="25639" name="Freeform 195"/>
                <p:cNvSpPr>
                  <a:spLocks/>
                </p:cNvSpPr>
                <p:nvPr/>
              </p:nvSpPr>
              <p:spPr bwMode="auto">
                <a:xfrm>
                  <a:off x="3648" y="1824"/>
                  <a:ext cx="72" cy="120"/>
                </a:xfrm>
                <a:custGeom>
                  <a:avLst/>
                  <a:gdLst>
                    <a:gd name="T0" fmla="*/ 0 w 72"/>
                    <a:gd name="T1" fmla="*/ 45 h 120"/>
                    <a:gd name="T2" fmla="*/ 24 w 72"/>
                    <a:gd name="T3" fmla="*/ 81 h 120"/>
                    <a:gd name="T4" fmla="*/ 36 w 72"/>
                    <a:gd name="T5" fmla="*/ 117 h 120"/>
                    <a:gd name="T6" fmla="*/ 72 w 72"/>
                    <a:gd name="T7" fmla="*/ 93 h 120"/>
                    <a:gd name="T8" fmla="*/ 24 w 72"/>
                    <a:gd name="T9" fmla="*/ 9 h 120"/>
                    <a:gd name="T10" fmla="*/ 0 w 72"/>
                    <a:gd name="T11" fmla="*/ 45 h 120"/>
                    <a:gd name="T12" fmla="*/ 0 60000 65536"/>
                    <a:gd name="T13" fmla="*/ 0 60000 65536"/>
                    <a:gd name="T14" fmla="*/ 0 60000 65536"/>
                    <a:gd name="T15" fmla="*/ 0 60000 65536"/>
                    <a:gd name="T16" fmla="*/ 0 60000 65536"/>
                    <a:gd name="T17" fmla="*/ 0 60000 65536"/>
                    <a:gd name="T18" fmla="*/ 0 w 72"/>
                    <a:gd name="T19" fmla="*/ 0 h 120"/>
                    <a:gd name="T20" fmla="*/ 72 w 72"/>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72" h="120">
                      <a:moveTo>
                        <a:pt x="0" y="45"/>
                      </a:moveTo>
                      <a:cubicBezTo>
                        <a:pt x="8" y="57"/>
                        <a:pt x="18" y="68"/>
                        <a:pt x="24" y="81"/>
                      </a:cubicBezTo>
                      <a:cubicBezTo>
                        <a:pt x="30" y="92"/>
                        <a:pt x="24" y="114"/>
                        <a:pt x="36" y="117"/>
                      </a:cubicBezTo>
                      <a:cubicBezTo>
                        <a:pt x="50" y="120"/>
                        <a:pt x="60" y="101"/>
                        <a:pt x="72" y="93"/>
                      </a:cubicBezTo>
                      <a:cubicBezTo>
                        <a:pt x="70" y="81"/>
                        <a:pt x="68" y="0"/>
                        <a:pt x="24" y="9"/>
                      </a:cubicBezTo>
                      <a:cubicBezTo>
                        <a:pt x="10" y="12"/>
                        <a:pt x="0" y="45"/>
                        <a:pt x="0" y="45"/>
                      </a:cubicBezTo>
                      <a:close/>
                    </a:path>
                  </a:pathLst>
                </a:custGeom>
                <a:solidFill>
                  <a:srgbClr val="663300"/>
                </a:solidFill>
                <a:ln w="9525">
                  <a:solidFill>
                    <a:srgbClr val="000000"/>
                  </a:solidFill>
                  <a:round/>
                  <a:headEnd/>
                  <a:tailEnd/>
                </a:ln>
              </p:spPr>
              <p:txBody>
                <a:bodyPr wrap="none" anchor="ctr"/>
                <a:lstStyle/>
                <a:p>
                  <a:endParaRPr lang="it-IT"/>
                </a:p>
              </p:txBody>
            </p:sp>
          </p:grpSp>
        </p:grpSp>
        <p:sp>
          <p:nvSpPr>
            <p:cNvPr id="25629" name="Freeform 196"/>
            <p:cNvSpPr>
              <a:spLocks/>
            </p:cNvSpPr>
            <p:nvPr/>
          </p:nvSpPr>
          <p:spPr bwMode="auto">
            <a:xfrm>
              <a:off x="3552" y="2496"/>
              <a:ext cx="432" cy="224"/>
            </a:xfrm>
            <a:custGeom>
              <a:avLst/>
              <a:gdLst>
                <a:gd name="T0" fmla="*/ 0 w 432"/>
                <a:gd name="T1" fmla="*/ 0 h 224"/>
                <a:gd name="T2" fmla="*/ 96 w 432"/>
                <a:gd name="T3" fmla="*/ 192 h 224"/>
                <a:gd name="T4" fmla="*/ 288 w 432"/>
                <a:gd name="T5" fmla="*/ 192 h 224"/>
                <a:gd name="T6" fmla="*/ 432 w 432"/>
                <a:gd name="T7" fmla="*/ 144 h 224"/>
                <a:gd name="T8" fmla="*/ 0 60000 65536"/>
                <a:gd name="T9" fmla="*/ 0 60000 65536"/>
                <a:gd name="T10" fmla="*/ 0 60000 65536"/>
                <a:gd name="T11" fmla="*/ 0 60000 65536"/>
                <a:gd name="T12" fmla="*/ 0 w 432"/>
                <a:gd name="T13" fmla="*/ 0 h 224"/>
                <a:gd name="T14" fmla="*/ 432 w 432"/>
                <a:gd name="T15" fmla="*/ 224 h 224"/>
              </a:gdLst>
              <a:ahLst/>
              <a:cxnLst>
                <a:cxn ang="T8">
                  <a:pos x="T0" y="T1"/>
                </a:cxn>
                <a:cxn ang="T9">
                  <a:pos x="T2" y="T3"/>
                </a:cxn>
                <a:cxn ang="T10">
                  <a:pos x="T4" y="T5"/>
                </a:cxn>
                <a:cxn ang="T11">
                  <a:pos x="T6" y="T7"/>
                </a:cxn>
              </a:cxnLst>
              <a:rect l="T12" t="T13" r="T14" b="T15"/>
              <a:pathLst>
                <a:path w="432" h="224">
                  <a:moveTo>
                    <a:pt x="0" y="0"/>
                  </a:moveTo>
                  <a:cubicBezTo>
                    <a:pt x="24" y="80"/>
                    <a:pt x="48" y="160"/>
                    <a:pt x="96" y="192"/>
                  </a:cubicBezTo>
                  <a:cubicBezTo>
                    <a:pt x="144" y="224"/>
                    <a:pt x="232" y="200"/>
                    <a:pt x="288" y="192"/>
                  </a:cubicBezTo>
                  <a:cubicBezTo>
                    <a:pt x="344" y="184"/>
                    <a:pt x="388" y="164"/>
                    <a:pt x="432" y="144"/>
                  </a:cubicBezTo>
                </a:path>
              </a:pathLst>
            </a:custGeom>
            <a:noFill/>
            <a:ln w="38100">
              <a:solidFill>
                <a:schemeClr val="bg1"/>
              </a:solidFill>
              <a:round/>
              <a:headEnd/>
              <a:tailEnd type="triangle" w="med" len="med"/>
            </a:ln>
          </p:spPr>
          <p:txBody>
            <a:bodyPr wrap="none" anchor="ctr"/>
            <a:lstStyle/>
            <a:p>
              <a:endParaRPr lang="it-IT"/>
            </a:p>
          </p:txBody>
        </p:sp>
      </p:grpSp>
      <p:sp>
        <p:nvSpPr>
          <p:cNvPr id="25613" name="Rectangle 197"/>
          <p:cNvSpPr>
            <a:spLocks noChangeArrowheads="1"/>
          </p:cNvSpPr>
          <p:nvPr/>
        </p:nvSpPr>
        <p:spPr bwMode="auto">
          <a:xfrm>
            <a:off x="0" y="6497638"/>
            <a:ext cx="4906963" cy="336550"/>
          </a:xfrm>
          <a:prstGeom prst="rect">
            <a:avLst/>
          </a:prstGeom>
          <a:solidFill>
            <a:schemeClr val="tx1"/>
          </a:solidFill>
          <a:ln w="9525">
            <a:noFill/>
            <a:miter lim="800000"/>
            <a:headEnd/>
            <a:tailEnd/>
          </a:ln>
        </p:spPr>
        <p:txBody>
          <a:bodyPr wrap="none" lIns="91404" tIns="45702" rIns="91404" bIns="45702">
            <a:spAutoFit/>
          </a:bodyPr>
          <a:lstStyle/>
          <a:p>
            <a:pPr eaLnBrk="0" hangingPunct="0"/>
            <a:r>
              <a:rPr lang="it-IT" sz="1600" b="1">
                <a:solidFill>
                  <a:schemeClr val="hlink"/>
                </a:solidFill>
                <a:latin typeface="Times New Roman" pitchFamily="18" charset="0"/>
              </a:rPr>
              <a:t>Bertoldo F, Santini D   Textbook of Osteoncology 2010</a:t>
            </a:r>
          </a:p>
        </p:txBody>
      </p:sp>
      <p:grpSp>
        <p:nvGrpSpPr>
          <p:cNvPr id="12394" name="Group 199"/>
          <p:cNvGrpSpPr>
            <a:grpSpLocks/>
          </p:cNvGrpSpPr>
          <p:nvPr/>
        </p:nvGrpSpPr>
        <p:grpSpPr bwMode="auto">
          <a:xfrm>
            <a:off x="4572000" y="3886200"/>
            <a:ext cx="5053013" cy="2514600"/>
            <a:chOff x="3512" y="2432"/>
            <a:chExt cx="3581" cy="1607"/>
          </a:xfrm>
        </p:grpSpPr>
        <p:sp>
          <p:nvSpPr>
            <p:cNvPr id="25625" name="Text Box 200"/>
            <p:cNvSpPr>
              <a:spLocks noChangeArrowheads="1"/>
            </p:cNvSpPr>
            <p:nvPr/>
          </p:nvSpPr>
          <p:spPr bwMode="auto">
            <a:xfrm>
              <a:off x="4177" y="3714"/>
              <a:ext cx="2916" cy="325"/>
            </a:xfrm>
            <a:prstGeom prst="upArrow">
              <a:avLst>
                <a:gd name="adj1" fmla="val 50000"/>
                <a:gd name="adj2" fmla="val 25000"/>
              </a:avLst>
            </a:prstGeom>
            <a:noFill/>
            <a:ln w="9525">
              <a:noFill/>
              <a:miter lim="800000"/>
              <a:headEnd/>
              <a:tailEnd/>
            </a:ln>
          </p:spPr>
          <p:txBody>
            <a:bodyPr wrap="none" lIns="91404" tIns="45702" rIns="91404" bIns="45702">
              <a:spAutoFit/>
            </a:bodyPr>
            <a:lstStyle/>
            <a:p>
              <a:pPr eaLnBrk="0" hangingPunct="0"/>
              <a:r>
                <a:rPr lang="it-IT" sz="2400" b="1">
                  <a:solidFill>
                    <a:schemeClr val="bg1"/>
                  </a:solidFill>
                  <a:latin typeface="Times New Roman" pitchFamily="18" charset="0"/>
                </a:rPr>
                <a:t> </a:t>
              </a:r>
              <a:r>
                <a:rPr lang="it-IT" sz="2400" b="1">
                  <a:solidFill>
                    <a:srgbClr val="00FF00"/>
                  </a:solidFill>
                  <a:latin typeface="Times New Roman" pitchFamily="18" charset="0"/>
                </a:rPr>
                <a:t>Wnt     DDK-1</a:t>
              </a:r>
            </a:p>
          </p:txBody>
        </p:sp>
        <p:sp>
          <p:nvSpPr>
            <p:cNvPr id="25626" name="Freeform 201"/>
            <p:cNvSpPr>
              <a:spLocks/>
            </p:cNvSpPr>
            <p:nvPr/>
          </p:nvSpPr>
          <p:spPr bwMode="auto">
            <a:xfrm>
              <a:off x="5327" y="2432"/>
              <a:ext cx="929" cy="1406"/>
            </a:xfrm>
            <a:custGeom>
              <a:avLst/>
              <a:gdLst>
                <a:gd name="T0" fmla="*/ 0 w 929"/>
                <a:gd name="T1" fmla="*/ 0 h 1406"/>
                <a:gd name="T2" fmla="*/ 771 w 929"/>
                <a:gd name="T3" fmla="*/ 363 h 1406"/>
                <a:gd name="T4" fmla="*/ 861 w 929"/>
                <a:gd name="T5" fmla="*/ 1043 h 1406"/>
                <a:gd name="T6" fmla="*/ 362 w 929"/>
                <a:gd name="T7" fmla="*/ 1406 h 1406"/>
                <a:gd name="T8" fmla="*/ 0 60000 65536"/>
                <a:gd name="T9" fmla="*/ 0 60000 65536"/>
                <a:gd name="T10" fmla="*/ 0 60000 65536"/>
                <a:gd name="T11" fmla="*/ 0 60000 65536"/>
                <a:gd name="T12" fmla="*/ 0 w 929"/>
                <a:gd name="T13" fmla="*/ 0 h 1406"/>
                <a:gd name="T14" fmla="*/ 929 w 929"/>
                <a:gd name="T15" fmla="*/ 1406 h 1406"/>
              </a:gdLst>
              <a:ahLst/>
              <a:cxnLst>
                <a:cxn ang="T8">
                  <a:pos x="T0" y="T1"/>
                </a:cxn>
                <a:cxn ang="T9">
                  <a:pos x="T2" y="T3"/>
                </a:cxn>
                <a:cxn ang="T10">
                  <a:pos x="T4" y="T5"/>
                </a:cxn>
                <a:cxn ang="T11">
                  <a:pos x="T6" y="T7"/>
                </a:cxn>
              </a:cxnLst>
              <a:rect l="T12" t="T13" r="T14" b="T15"/>
              <a:pathLst>
                <a:path w="929" h="1406">
                  <a:moveTo>
                    <a:pt x="0" y="0"/>
                  </a:moveTo>
                  <a:cubicBezTo>
                    <a:pt x="314" y="94"/>
                    <a:pt x="628" y="189"/>
                    <a:pt x="771" y="363"/>
                  </a:cubicBezTo>
                  <a:cubicBezTo>
                    <a:pt x="914" y="537"/>
                    <a:pt x="929" y="869"/>
                    <a:pt x="861" y="1043"/>
                  </a:cubicBezTo>
                  <a:cubicBezTo>
                    <a:pt x="793" y="1217"/>
                    <a:pt x="577" y="1311"/>
                    <a:pt x="362" y="1406"/>
                  </a:cubicBezTo>
                </a:path>
              </a:pathLst>
            </a:custGeom>
            <a:noFill/>
            <a:ln w="38100">
              <a:solidFill>
                <a:schemeClr val="bg1"/>
              </a:solidFill>
              <a:round/>
              <a:headEnd/>
              <a:tailEnd/>
            </a:ln>
          </p:spPr>
          <p:txBody>
            <a:bodyPr/>
            <a:lstStyle/>
            <a:p>
              <a:endParaRPr lang="it-IT"/>
            </a:p>
          </p:txBody>
        </p:sp>
        <p:sp>
          <p:nvSpPr>
            <p:cNvPr id="25627" name="Line 202"/>
            <p:cNvSpPr>
              <a:spLocks noChangeShapeType="1"/>
            </p:cNvSpPr>
            <p:nvPr/>
          </p:nvSpPr>
          <p:spPr bwMode="auto">
            <a:xfrm flipH="1">
              <a:off x="3512" y="3884"/>
              <a:ext cx="1316" cy="45"/>
            </a:xfrm>
            <a:prstGeom prst="line">
              <a:avLst/>
            </a:prstGeom>
            <a:noFill/>
            <a:ln w="38100">
              <a:solidFill>
                <a:schemeClr val="bg1"/>
              </a:solidFill>
              <a:round/>
              <a:headEnd/>
              <a:tailEnd type="triangle" w="med" len="med"/>
            </a:ln>
          </p:spPr>
          <p:txBody>
            <a:bodyPr/>
            <a:lstStyle/>
            <a:p>
              <a:endParaRPr lang="it-IT"/>
            </a:p>
          </p:txBody>
        </p:sp>
      </p:grpSp>
      <p:sp>
        <p:nvSpPr>
          <p:cNvPr id="122060" name="AutoShape 204"/>
          <p:cNvSpPr>
            <a:spLocks noChangeArrowheads="1"/>
          </p:cNvSpPr>
          <p:nvPr/>
        </p:nvSpPr>
        <p:spPr bwMode="auto">
          <a:xfrm>
            <a:off x="6400800" y="5867400"/>
            <a:ext cx="304800" cy="609600"/>
          </a:xfrm>
          <a:prstGeom prst="upArrow">
            <a:avLst>
              <a:gd name="adj1" fmla="val 50000"/>
              <a:gd name="adj2" fmla="val 50000"/>
            </a:avLst>
          </a:prstGeom>
          <a:solidFill>
            <a:srgbClr val="FF0000"/>
          </a:solidFill>
          <a:ln w="9525">
            <a:noFill/>
            <a:miter lim="800000"/>
            <a:headEnd/>
            <a:tailEnd/>
          </a:ln>
          <a:effectLst>
            <a:prstShdw prst="shdw17" dist="17961" dir="2700000">
              <a:srgbClr val="990000">
                <a:alpha val="74997"/>
              </a:srgbClr>
            </a:prstShdw>
          </a:effectLst>
        </p:spPr>
        <p:txBody>
          <a:bodyPr wrap="none" anchor="ctr"/>
          <a:lstStyle/>
          <a:p>
            <a:endParaRPr lang="it-IT">
              <a:latin typeface="Garamond" pitchFamily="18" charset="0"/>
            </a:endParaRPr>
          </a:p>
        </p:txBody>
      </p:sp>
      <p:sp>
        <p:nvSpPr>
          <p:cNvPr id="122061" name="AutoShape 205"/>
          <p:cNvSpPr>
            <a:spLocks noChangeArrowheads="1"/>
          </p:cNvSpPr>
          <p:nvPr/>
        </p:nvSpPr>
        <p:spPr bwMode="auto">
          <a:xfrm rot="10769416" flipH="1">
            <a:off x="7239000" y="5948363"/>
            <a:ext cx="379413" cy="533400"/>
          </a:xfrm>
          <a:prstGeom prst="upArrow">
            <a:avLst>
              <a:gd name="adj1" fmla="val 50000"/>
              <a:gd name="adj2" fmla="val 35146"/>
            </a:avLst>
          </a:prstGeom>
          <a:solidFill>
            <a:srgbClr val="FF0000"/>
          </a:solidFill>
          <a:ln w="9525">
            <a:noFill/>
            <a:miter lim="800000"/>
            <a:headEnd/>
            <a:tailEnd/>
          </a:ln>
          <a:effectLst>
            <a:prstShdw prst="shdw17" dist="17961" dir="2700000">
              <a:srgbClr val="990000">
                <a:alpha val="74997"/>
              </a:srgbClr>
            </a:prstShdw>
          </a:effectLst>
        </p:spPr>
        <p:txBody>
          <a:bodyPr wrap="none" anchor="ctr"/>
          <a:lstStyle/>
          <a:p>
            <a:endParaRPr lang="it-IT">
              <a:latin typeface="Garamond" pitchFamily="18" charset="0"/>
            </a:endParaRPr>
          </a:p>
        </p:txBody>
      </p:sp>
      <p:sp>
        <p:nvSpPr>
          <p:cNvPr id="122062" name="Text Box 206"/>
          <p:cNvSpPr txBox="1">
            <a:spLocks noChangeArrowheads="1"/>
          </p:cNvSpPr>
          <p:nvPr/>
        </p:nvSpPr>
        <p:spPr bwMode="auto">
          <a:xfrm>
            <a:off x="2971800" y="5791200"/>
            <a:ext cx="914400" cy="366713"/>
          </a:xfrm>
          <a:prstGeom prst="rect">
            <a:avLst/>
          </a:prstGeom>
          <a:noFill/>
          <a:ln w="9525">
            <a:noFill/>
            <a:miter lim="800000"/>
            <a:headEnd/>
            <a:tailEnd/>
          </a:ln>
          <a:effectLst>
            <a:prstShdw prst="shdw17" dist="17961" dir="2700000">
              <a:srgbClr val="005C7A"/>
            </a:prstShdw>
          </a:effectLst>
        </p:spPr>
        <p:txBody>
          <a:bodyPr>
            <a:spAutoFit/>
          </a:bodyPr>
          <a:lstStyle/>
          <a:p>
            <a:pPr>
              <a:spcBef>
                <a:spcPct val="50000"/>
              </a:spcBef>
            </a:pPr>
            <a:r>
              <a:rPr lang="it-IT" b="1">
                <a:solidFill>
                  <a:schemeClr val="bg1"/>
                </a:solidFill>
                <a:cs typeface="Arial" charset="0"/>
              </a:rPr>
              <a:t>OPG</a:t>
            </a:r>
          </a:p>
        </p:txBody>
      </p:sp>
      <p:sp>
        <p:nvSpPr>
          <p:cNvPr id="122063" name="AutoShape 207"/>
          <p:cNvSpPr>
            <a:spLocks noChangeArrowheads="1"/>
          </p:cNvSpPr>
          <p:nvPr/>
        </p:nvSpPr>
        <p:spPr bwMode="auto">
          <a:xfrm>
            <a:off x="2743200" y="5715000"/>
            <a:ext cx="304800" cy="609600"/>
          </a:xfrm>
          <a:prstGeom prst="upArrow">
            <a:avLst>
              <a:gd name="adj1" fmla="val 50000"/>
              <a:gd name="adj2" fmla="val 50000"/>
            </a:avLst>
          </a:prstGeom>
          <a:solidFill>
            <a:srgbClr val="FF0000"/>
          </a:solidFill>
          <a:ln w="9525">
            <a:noFill/>
            <a:miter lim="800000"/>
            <a:headEnd/>
            <a:tailEnd/>
          </a:ln>
          <a:effectLst>
            <a:prstShdw prst="shdw17" dist="17961" dir="2700000">
              <a:srgbClr val="990000">
                <a:alpha val="74997"/>
              </a:srgbClr>
            </a:prstShdw>
          </a:effectLst>
        </p:spPr>
        <p:txBody>
          <a:bodyPr wrap="none" anchor="ctr"/>
          <a:lstStyle/>
          <a:p>
            <a:endParaRPr lang="it-IT">
              <a:latin typeface="Garamond" pitchFamily="18" charset="0"/>
            </a:endParaRPr>
          </a:p>
        </p:txBody>
      </p:sp>
      <p:sp>
        <p:nvSpPr>
          <p:cNvPr id="122065" name="AutoShape 209"/>
          <p:cNvSpPr>
            <a:spLocks noChangeArrowheads="1"/>
          </p:cNvSpPr>
          <p:nvPr/>
        </p:nvSpPr>
        <p:spPr bwMode="auto">
          <a:xfrm rot="8522098">
            <a:off x="4194175" y="4367213"/>
            <a:ext cx="582613" cy="1212850"/>
          </a:xfrm>
          <a:prstGeom prst="curvedRightArrow">
            <a:avLst>
              <a:gd name="adj1" fmla="val 41635"/>
              <a:gd name="adj2" fmla="val 83270"/>
              <a:gd name="adj3" fmla="val 33333"/>
            </a:avLst>
          </a:prstGeom>
          <a:solidFill>
            <a:schemeClr val="accent1"/>
          </a:solidFill>
          <a:ln w="9525">
            <a:noFill/>
            <a:miter lim="800000"/>
            <a:headEnd/>
            <a:tailEnd/>
          </a:ln>
          <a:effectLst>
            <a:prstShdw prst="shdw17" dist="17961" dir="2700000">
              <a:srgbClr val="005C7A"/>
            </a:prstShdw>
          </a:effectLst>
        </p:spPr>
        <p:txBody>
          <a:bodyPr wrap="none" anchor="ctr"/>
          <a:lstStyle/>
          <a:p>
            <a:pPr>
              <a:defRPr/>
            </a:pPr>
            <a:endParaRPr lang="it-IT">
              <a:latin typeface="Garamond" pitchFamily="18" charset="0"/>
              <a:ea typeface="+mn-ea"/>
              <a:cs typeface="Arial" pitchFamily="34" charset="0"/>
            </a:endParaRPr>
          </a:p>
        </p:txBody>
      </p:sp>
      <p:sp>
        <p:nvSpPr>
          <p:cNvPr id="122066" name="Text Box 210"/>
          <p:cNvSpPr txBox="1">
            <a:spLocks noChangeArrowheads="1"/>
          </p:cNvSpPr>
          <p:nvPr/>
        </p:nvSpPr>
        <p:spPr bwMode="auto">
          <a:xfrm>
            <a:off x="2133600" y="4572000"/>
            <a:ext cx="1822450" cy="366713"/>
          </a:xfrm>
          <a:prstGeom prst="rect">
            <a:avLst/>
          </a:prstGeom>
          <a:solidFill>
            <a:srgbClr val="FFFF00"/>
          </a:solidFill>
          <a:ln w="9525">
            <a:noFill/>
            <a:miter lim="800000"/>
            <a:headEnd/>
            <a:tailEnd/>
          </a:ln>
          <a:effectLst>
            <a:prstShdw prst="shdw17" dist="17961" dir="2700000">
              <a:srgbClr val="999900">
                <a:alpha val="74997"/>
              </a:srgbClr>
            </a:prstShdw>
          </a:effectLst>
        </p:spPr>
        <p:txBody>
          <a:bodyPr wrap="none">
            <a:spAutoFit/>
          </a:bodyPr>
          <a:lstStyle/>
          <a:p>
            <a:r>
              <a:rPr lang="it-IT" b="1">
                <a:solidFill>
                  <a:srgbClr val="3366FF"/>
                </a:solidFill>
              </a:rPr>
              <a:t>&gt;RANKL/&lt;OPG</a:t>
            </a:r>
          </a:p>
        </p:txBody>
      </p:sp>
      <p:sp>
        <p:nvSpPr>
          <p:cNvPr id="25621" name="Line 211"/>
          <p:cNvSpPr>
            <a:spLocks noChangeShapeType="1"/>
          </p:cNvSpPr>
          <p:nvPr/>
        </p:nvSpPr>
        <p:spPr bwMode="auto">
          <a:xfrm flipH="1">
            <a:off x="4648200" y="5410200"/>
            <a:ext cx="457200" cy="381000"/>
          </a:xfrm>
          <a:prstGeom prst="line">
            <a:avLst/>
          </a:prstGeom>
          <a:noFill/>
          <a:ln w="76200">
            <a:solidFill>
              <a:srgbClr val="00FFFF"/>
            </a:solidFill>
            <a:round/>
            <a:headEnd/>
            <a:tailEnd type="triangle" w="med" len="med"/>
          </a:ln>
          <a:effectLst>
            <a:prstShdw prst="shdw17" dist="17961" dir="2700000">
              <a:schemeClr val="bg2">
                <a:alpha val="74997"/>
              </a:schemeClr>
            </a:prstShdw>
          </a:effectLst>
        </p:spPr>
        <p:txBody>
          <a:bodyPr/>
          <a:lstStyle/>
          <a:p>
            <a:endParaRPr lang="it-IT"/>
          </a:p>
        </p:txBody>
      </p:sp>
      <p:sp>
        <p:nvSpPr>
          <p:cNvPr id="25622" name="Line 212"/>
          <p:cNvSpPr>
            <a:spLocks noChangeShapeType="1"/>
          </p:cNvSpPr>
          <p:nvPr/>
        </p:nvSpPr>
        <p:spPr bwMode="auto">
          <a:xfrm flipH="1">
            <a:off x="5943600" y="4800600"/>
            <a:ext cx="457200" cy="381000"/>
          </a:xfrm>
          <a:prstGeom prst="line">
            <a:avLst/>
          </a:prstGeom>
          <a:noFill/>
          <a:ln w="76200">
            <a:solidFill>
              <a:srgbClr val="00FFFF"/>
            </a:solidFill>
            <a:round/>
            <a:headEnd/>
            <a:tailEnd type="triangle" w="med" len="med"/>
          </a:ln>
          <a:effectLst>
            <a:prstShdw prst="shdw17" dist="17961" dir="2700000">
              <a:schemeClr val="bg2">
                <a:alpha val="74997"/>
              </a:schemeClr>
            </a:prstShdw>
          </a:effectLst>
        </p:spPr>
        <p:txBody>
          <a:bodyPr/>
          <a:lstStyle/>
          <a:p>
            <a:endParaRPr lang="it-IT"/>
          </a:p>
        </p:txBody>
      </p:sp>
      <p:sp>
        <p:nvSpPr>
          <p:cNvPr id="122069" name="AutoShape 213"/>
          <p:cNvSpPr>
            <a:spLocks noChangeArrowheads="1"/>
          </p:cNvSpPr>
          <p:nvPr/>
        </p:nvSpPr>
        <p:spPr bwMode="auto">
          <a:xfrm>
            <a:off x="7467600" y="3962400"/>
            <a:ext cx="457200" cy="1981200"/>
          </a:xfrm>
          <a:prstGeom prst="curvedLeftArrow">
            <a:avLst>
              <a:gd name="adj1" fmla="val 86667"/>
              <a:gd name="adj2" fmla="val 173333"/>
              <a:gd name="adj3" fmla="val 33333"/>
            </a:avLst>
          </a:prstGeom>
          <a:solidFill>
            <a:srgbClr val="00FF00"/>
          </a:solidFill>
          <a:ln w="9525">
            <a:noFill/>
            <a:miter lim="800000"/>
            <a:headEnd/>
            <a:tailEnd/>
          </a:ln>
          <a:effectLst>
            <a:prstShdw prst="shdw17" dist="17961" dir="2700000">
              <a:schemeClr val="bg2">
                <a:alpha val="74997"/>
              </a:schemeClr>
            </a:prstShdw>
          </a:effectLst>
        </p:spPr>
        <p:txBody>
          <a:bodyPr wrap="none" anchor="ctr"/>
          <a:lstStyle/>
          <a:p>
            <a:endParaRPr lang="it-IT">
              <a:latin typeface="Garamond" pitchFamily="18" charset="0"/>
            </a:endParaRPr>
          </a:p>
        </p:txBody>
      </p:sp>
    </p:spTree>
    <p:extLst>
      <p:ext uri="{BB962C8B-B14F-4D97-AF65-F5344CB8AC3E}">
        <p14:creationId xmlns:p14="http://schemas.microsoft.com/office/powerpoint/2010/main" val="364316490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7" presetClass="entr" presetSubtype="2"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0" fill="hold"/>
                                        <p:tgtEl>
                                          <p:spTgt spid="2"/>
                                        </p:tgtEl>
                                        <p:attrNameLst>
                                          <p:attrName>ppt_x</p:attrName>
                                        </p:attrNameLst>
                                      </p:cBhvr>
                                      <p:tavLst>
                                        <p:tav tm="0">
                                          <p:val>
                                            <p:strVal val="1+#ppt_w/2"/>
                                          </p:val>
                                        </p:tav>
                                        <p:tav tm="100000">
                                          <p:val>
                                            <p:strVal val="#ppt_x"/>
                                          </p:val>
                                        </p:tav>
                                      </p:tavLst>
                                    </p:anim>
                                    <p:anim calcmode="lin" valueType="num">
                                      <p:cBhvr additive="base">
                                        <p:cTn id="8" dur="50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4" presetClass="entr" presetSubtype="16"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box(in)">
                                      <p:cBhvr>
                                        <p:cTn id="13" dur="500"/>
                                        <p:tgtEl>
                                          <p:spTgt spid="13"/>
                                        </p:tgtEl>
                                      </p:cBhvr>
                                    </p:animEffect>
                                  </p:childTnLst>
                                </p:cTn>
                              </p:par>
                            </p:childTnLst>
                          </p:cTn>
                        </p:par>
                      </p:childTnLst>
                    </p:cTn>
                  </p:par>
                  <p:par>
                    <p:cTn id="14" fill="hold" nodeType="clickPar">
                      <p:stCondLst>
                        <p:cond delay="indefinite"/>
                      </p:stCondLst>
                      <p:childTnLst>
                        <p:par>
                          <p:cTn id="15" fill="hold" nodeType="withGroup">
                            <p:stCondLst>
                              <p:cond delay="0"/>
                            </p:stCondLst>
                            <p:childTnLst>
                              <p:par>
                                <p:cTn id="16" presetID="4" presetClass="entr" presetSubtype="16" fill="hold" grpId="0" nodeType="clickEffect">
                                  <p:stCondLst>
                                    <p:cond delay="0"/>
                                  </p:stCondLst>
                                  <p:childTnLst>
                                    <p:set>
                                      <p:cBhvr>
                                        <p:cTn id="17" dur="1" fill="hold">
                                          <p:stCondLst>
                                            <p:cond delay="0"/>
                                          </p:stCondLst>
                                        </p:cTn>
                                        <p:tgtEl>
                                          <p:spTgt spid="122065"/>
                                        </p:tgtEl>
                                        <p:attrNameLst>
                                          <p:attrName>style.visibility</p:attrName>
                                        </p:attrNameLst>
                                      </p:cBhvr>
                                      <p:to>
                                        <p:strVal val="visible"/>
                                      </p:to>
                                    </p:set>
                                    <p:animEffect transition="in" filter="box(in)">
                                      <p:cBhvr>
                                        <p:cTn id="18" dur="500"/>
                                        <p:tgtEl>
                                          <p:spTgt spid="122065"/>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4" presetClass="entr" presetSubtype="16" fill="hold" grpId="0" nodeType="clickEffect">
                                  <p:stCondLst>
                                    <p:cond delay="0"/>
                                  </p:stCondLst>
                                  <p:childTnLst>
                                    <p:set>
                                      <p:cBhvr>
                                        <p:cTn id="22" dur="1" fill="hold">
                                          <p:stCondLst>
                                            <p:cond delay="0"/>
                                          </p:stCondLst>
                                        </p:cTn>
                                        <p:tgtEl>
                                          <p:spTgt spid="122066"/>
                                        </p:tgtEl>
                                        <p:attrNameLst>
                                          <p:attrName>style.visibility</p:attrName>
                                        </p:attrNameLst>
                                      </p:cBhvr>
                                      <p:to>
                                        <p:strVal val="visible"/>
                                      </p:to>
                                    </p:set>
                                    <p:animEffect transition="in" filter="box(in)">
                                      <p:cBhvr>
                                        <p:cTn id="23" dur="500"/>
                                        <p:tgtEl>
                                          <p:spTgt spid="122066"/>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4" presetClass="entr" presetSubtype="16" fill="hold" nodeType="click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box(in)">
                                      <p:cBhvr>
                                        <p:cTn id="28" dur="500"/>
                                        <p:tgtEl>
                                          <p:spTgt spid="14"/>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11" presetClass="entr" presetSubtype="0" fill="hold" nodeType="clickEffect">
                                  <p:stCondLst>
                                    <p:cond delay="0"/>
                                  </p:stCondLst>
                                  <p:childTnLst>
                                    <p:set>
                                      <p:cBhvr>
                                        <p:cTn id="32" dur="1000">
                                          <p:stCondLst>
                                            <p:cond delay="0"/>
                                          </p:stCondLst>
                                        </p:cTn>
                                        <p:tgtEl>
                                          <p:spTgt spid="20"/>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2" presetClass="entr" presetSubtype="8"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slide(fromLeft)">
                                      <p:cBhvr>
                                        <p:cTn id="37" dur="500"/>
                                        <p:tgtEl>
                                          <p:spTgt spid="21"/>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4" presetClass="entr" presetSubtype="32" fill="hold"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box(out)">
                                      <p:cBhvr>
                                        <p:cTn id="42" dur="500"/>
                                        <p:tgtEl>
                                          <p:spTgt spid="23"/>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23" presetClass="entr" presetSubtype="528" fill="hold" nodeType="clickEffect">
                                  <p:stCondLst>
                                    <p:cond delay="0"/>
                                  </p:stCondLst>
                                  <p:childTnLst>
                                    <p:set>
                                      <p:cBhvr>
                                        <p:cTn id="46" dur="1" fill="hold">
                                          <p:stCondLst>
                                            <p:cond delay="0"/>
                                          </p:stCondLst>
                                        </p:cTn>
                                        <p:tgtEl>
                                          <p:spTgt spid="29"/>
                                        </p:tgtEl>
                                        <p:attrNameLst>
                                          <p:attrName>style.visibility</p:attrName>
                                        </p:attrNameLst>
                                      </p:cBhvr>
                                      <p:to>
                                        <p:strVal val="visible"/>
                                      </p:to>
                                    </p:set>
                                    <p:anim calcmode="lin" valueType="num">
                                      <p:cBhvr>
                                        <p:cTn id="47" dur="500" fill="hold"/>
                                        <p:tgtEl>
                                          <p:spTgt spid="29"/>
                                        </p:tgtEl>
                                        <p:attrNameLst>
                                          <p:attrName>ppt_w</p:attrName>
                                        </p:attrNameLst>
                                      </p:cBhvr>
                                      <p:tavLst>
                                        <p:tav tm="0">
                                          <p:val>
                                            <p:fltVal val="0"/>
                                          </p:val>
                                        </p:tav>
                                        <p:tav tm="100000">
                                          <p:val>
                                            <p:strVal val="#ppt_w"/>
                                          </p:val>
                                        </p:tav>
                                      </p:tavLst>
                                    </p:anim>
                                    <p:anim calcmode="lin" valueType="num">
                                      <p:cBhvr>
                                        <p:cTn id="48" dur="500" fill="hold"/>
                                        <p:tgtEl>
                                          <p:spTgt spid="29"/>
                                        </p:tgtEl>
                                        <p:attrNameLst>
                                          <p:attrName>ppt_h</p:attrName>
                                        </p:attrNameLst>
                                      </p:cBhvr>
                                      <p:tavLst>
                                        <p:tav tm="0">
                                          <p:val>
                                            <p:fltVal val="0"/>
                                          </p:val>
                                        </p:tav>
                                        <p:tav tm="100000">
                                          <p:val>
                                            <p:strVal val="#ppt_h"/>
                                          </p:val>
                                        </p:tav>
                                      </p:tavLst>
                                    </p:anim>
                                    <p:anim calcmode="lin" valueType="num">
                                      <p:cBhvr>
                                        <p:cTn id="49" dur="500" fill="hold"/>
                                        <p:tgtEl>
                                          <p:spTgt spid="29"/>
                                        </p:tgtEl>
                                        <p:attrNameLst>
                                          <p:attrName>ppt_x</p:attrName>
                                        </p:attrNameLst>
                                      </p:cBhvr>
                                      <p:tavLst>
                                        <p:tav tm="0">
                                          <p:val>
                                            <p:fltVal val="0.5"/>
                                          </p:val>
                                        </p:tav>
                                        <p:tav tm="100000">
                                          <p:val>
                                            <p:strVal val="#ppt_x"/>
                                          </p:val>
                                        </p:tav>
                                      </p:tavLst>
                                    </p:anim>
                                    <p:anim calcmode="lin" valueType="num">
                                      <p:cBhvr>
                                        <p:cTn id="50" dur="500" fill="hold"/>
                                        <p:tgtEl>
                                          <p:spTgt spid="29"/>
                                        </p:tgtEl>
                                        <p:attrNameLst>
                                          <p:attrName>ppt_y</p:attrName>
                                        </p:attrNameLst>
                                      </p:cBhvr>
                                      <p:tavLst>
                                        <p:tav tm="0">
                                          <p:val>
                                            <p:fltVal val="0.5"/>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4" presetClass="entr" presetSubtype="16" fill="hold" grpId="0" nodeType="clickEffect">
                                  <p:stCondLst>
                                    <p:cond delay="0"/>
                                  </p:stCondLst>
                                  <p:childTnLst>
                                    <p:set>
                                      <p:cBhvr>
                                        <p:cTn id="54" dur="1" fill="hold">
                                          <p:stCondLst>
                                            <p:cond delay="0"/>
                                          </p:stCondLst>
                                        </p:cTn>
                                        <p:tgtEl>
                                          <p:spTgt spid="122069"/>
                                        </p:tgtEl>
                                        <p:attrNameLst>
                                          <p:attrName>style.visibility</p:attrName>
                                        </p:attrNameLst>
                                      </p:cBhvr>
                                      <p:to>
                                        <p:strVal val="visible"/>
                                      </p:to>
                                    </p:set>
                                    <p:animEffect transition="in" filter="box(in)">
                                      <p:cBhvr>
                                        <p:cTn id="55" dur="500"/>
                                        <p:tgtEl>
                                          <p:spTgt spid="122069"/>
                                        </p:tgtEl>
                                      </p:cBhvr>
                                    </p:animEffect>
                                  </p:childTnLst>
                                </p:cTn>
                              </p:par>
                            </p:childTnLst>
                          </p:cTn>
                        </p:par>
                      </p:childTnLst>
                    </p:cTn>
                  </p:par>
                  <p:par>
                    <p:cTn id="56" fill="hold" nodeType="clickPar">
                      <p:stCondLst>
                        <p:cond delay="indefinite"/>
                      </p:stCondLst>
                      <p:childTnLst>
                        <p:par>
                          <p:cTn id="57" fill="hold" nodeType="withGroup">
                            <p:stCondLst>
                              <p:cond delay="0"/>
                            </p:stCondLst>
                            <p:childTnLst>
                              <p:par>
                                <p:cTn id="58" presetID="10" presetClass="entr" presetSubtype="0" fill="hold" nodeType="clickEffect">
                                  <p:stCondLst>
                                    <p:cond delay="0"/>
                                  </p:stCondLst>
                                  <p:childTnLst>
                                    <p:set>
                                      <p:cBhvr>
                                        <p:cTn id="59" dur="1" fill="hold">
                                          <p:stCondLst>
                                            <p:cond delay="0"/>
                                          </p:stCondLst>
                                        </p:cTn>
                                        <p:tgtEl>
                                          <p:spTgt spid="12394"/>
                                        </p:tgtEl>
                                        <p:attrNameLst>
                                          <p:attrName>style.visibility</p:attrName>
                                        </p:attrNameLst>
                                      </p:cBhvr>
                                      <p:to>
                                        <p:strVal val="visible"/>
                                      </p:to>
                                    </p:set>
                                    <p:animEffect transition="in" filter="fade">
                                      <p:cBhvr>
                                        <p:cTn id="60" dur="2000"/>
                                        <p:tgtEl>
                                          <p:spTgt spid="12394"/>
                                        </p:tgtEl>
                                      </p:cBhvr>
                                    </p:animEffect>
                                  </p:childTnLst>
                                </p:cTn>
                              </p:par>
                            </p:childTnLst>
                          </p:cTn>
                        </p:par>
                      </p:childTnLst>
                    </p:cTn>
                  </p:par>
                  <p:par>
                    <p:cTn id="61" fill="hold" nodeType="clickPar">
                      <p:stCondLst>
                        <p:cond delay="indefinite"/>
                      </p:stCondLst>
                      <p:childTnLst>
                        <p:par>
                          <p:cTn id="62" fill="hold" nodeType="withGroup">
                            <p:stCondLst>
                              <p:cond delay="0"/>
                            </p:stCondLst>
                            <p:childTnLst>
                              <p:par>
                                <p:cTn id="63" presetID="4" presetClass="entr" presetSubtype="16" fill="hold" grpId="0" nodeType="clickEffect">
                                  <p:stCondLst>
                                    <p:cond delay="0"/>
                                  </p:stCondLst>
                                  <p:childTnLst>
                                    <p:set>
                                      <p:cBhvr>
                                        <p:cTn id="64" dur="1" fill="hold">
                                          <p:stCondLst>
                                            <p:cond delay="0"/>
                                          </p:stCondLst>
                                        </p:cTn>
                                        <p:tgtEl>
                                          <p:spTgt spid="122060"/>
                                        </p:tgtEl>
                                        <p:attrNameLst>
                                          <p:attrName>style.visibility</p:attrName>
                                        </p:attrNameLst>
                                      </p:cBhvr>
                                      <p:to>
                                        <p:strVal val="visible"/>
                                      </p:to>
                                    </p:set>
                                    <p:animEffect transition="in" filter="box(in)">
                                      <p:cBhvr>
                                        <p:cTn id="65" dur="500"/>
                                        <p:tgtEl>
                                          <p:spTgt spid="122060"/>
                                        </p:tgtEl>
                                      </p:cBhvr>
                                    </p:animEffect>
                                  </p:childTnLst>
                                </p:cTn>
                              </p:par>
                            </p:childTnLst>
                          </p:cTn>
                        </p:par>
                      </p:childTnLst>
                    </p:cTn>
                  </p:par>
                  <p:par>
                    <p:cTn id="66" fill="hold" nodeType="clickPar">
                      <p:stCondLst>
                        <p:cond delay="indefinite"/>
                      </p:stCondLst>
                      <p:childTnLst>
                        <p:par>
                          <p:cTn id="67" fill="hold" nodeType="withGroup">
                            <p:stCondLst>
                              <p:cond delay="0"/>
                            </p:stCondLst>
                            <p:childTnLst>
                              <p:par>
                                <p:cTn id="68" presetID="4" presetClass="entr" presetSubtype="16" fill="hold" grpId="0" nodeType="clickEffect">
                                  <p:stCondLst>
                                    <p:cond delay="0"/>
                                  </p:stCondLst>
                                  <p:childTnLst>
                                    <p:set>
                                      <p:cBhvr>
                                        <p:cTn id="69" dur="1" fill="hold">
                                          <p:stCondLst>
                                            <p:cond delay="0"/>
                                          </p:stCondLst>
                                        </p:cTn>
                                        <p:tgtEl>
                                          <p:spTgt spid="122061"/>
                                        </p:tgtEl>
                                        <p:attrNameLst>
                                          <p:attrName>style.visibility</p:attrName>
                                        </p:attrNameLst>
                                      </p:cBhvr>
                                      <p:to>
                                        <p:strVal val="visible"/>
                                      </p:to>
                                    </p:set>
                                    <p:animEffect transition="in" filter="box(in)">
                                      <p:cBhvr>
                                        <p:cTn id="70" dur="500"/>
                                        <p:tgtEl>
                                          <p:spTgt spid="122061"/>
                                        </p:tgtEl>
                                      </p:cBhvr>
                                    </p:animEffect>
                                  </p:childTnLst>
                                </p:cTn>
                              </p:par>
                            </p:childTnLst>
                          </p:cTn>
                        </p:par>
                      </p:childTnLst>
                    </p:cTn>
                  </p:par>
                  <p:par>
                    <p:cTn id="71" fill="hold" nodeType="clickPar">
                      <p:stCondLst>
                        <p:cond delay="indefinite"/>
                      </p:stCondLst>
                      <p:childTnLst>
                        <p:par>
                          <p:cTn id="72" fill="hold" nodeType="withGroup">
                            <p:stCondLst>
                              <p:cond delay="0"/>
                            </p:stCondLst>
                            <p:childTnLst>
                              <p:par>
                                <p:cTn id="73" presetID="4" presetClass="entr" presetSubtype="16" fill="hold" grpId="0" nodeType="clickEffect">
                                  <p:stCondLst>
                                    <p:cond delay="0"/>
                                  </p:stCondLst>
                                  <p:childTnLst>
                                    <p:set>
                                      <p:cBhvr>
                                        <p:cTn id="74" dur="1" fill="hold">
                                          <p:stCondLst>
                                            <p:cond delay="0"/>
                                          </p:stCondLst>
                                        </p:cTn>
                                        <p:tgtEl>
                                          <p:spTgt spid="122062"/>
                                        </p:tgtEl>
                                        <p:attrNameLst>
                                          <p:attrName>style.visibility</p:attrName>
                                        </p:attrNameLst>
                                      </p:cBhvr>
                                      <p:to>
                                        <p:strVal val="visible"/>
                                      </p:to>
                                    </p:set>
                                    <p:animEffect transition="in" filter="box(in)">
                                      <p:cBhvr>
                                        <p:cTn id="75" dur="500"/>
                                        <p:tgtEl>
                                          <p:spTgt spid="122062"/>
                                        </p:tgtEl>
                                      </p:cBhvr>
                                    </p:animEffect>
                                  </p:childTnLst>
                                </p:cTn>
                              </p:par>
                            </p:childTnLst>
                          </p:cTn>
                        </p:par>
                      </p:childTnLst>
                    </p:cTn>
                  </p:par>
                  <p:par>
                    <p:cTn id="76" fill="hold" nodeType="clickPar">
                      <p:stCondLst>
                        <p:cond delay="indefinite"/>
                      </p:stCondLst>
                      <p:childTnLst>
                        <p:par>
                          <p:cTn id="77" fill="hold" nodeType="withGroup">
                            <p:stCondLst>
                              <p:cond delay="0"/>
                            </p:stCondLst>
                            <p:childTnLst>
                              <p:par>
                                <p:cTn id="78" presetID="4" presetClass="entr" presetSubtype="16" fill="hold" grpId="0" nodeType="clickEffect">
                                  <p:stCondLst>
                                    <p:cond delay="0"/>
                                  </p:stCondLst>
                                  <p:childTnLst>
                                    <p:set>
                                      <p:cBhvr>
                                        <p:cTn id="79" dur="1" fill="hold">
                                          <p:stCondLst>
                                            <p:cond delay="0"/>
                                          </p:stCondLst>
                                        </p:cTn>
                                        <p:tgtEl>
                                          <p:spTgt spid="122063"/>
                                        </p:tgtEl>
                                        <p:attrNameLst>
                                          <p:attrName>style.visibility</p:attrName>
                                        </p:attrNameLst>
                                      </p:cBhvr>
                                      <p:to>
                                        <p:strVal val="visible"/>
                                      </p:to>
                                    </p:set>
                                    <p:animEffect transition="in" filter="box(in)">
                                      <p:cBhvr>
                                        <p:cTn id="80" dur="500"/>
                                        <p:tgtEl>
                                          <p:spTgt spid="122063"/>
                                        </p:tgtEl>
                                      </p:cBhvr>
                                    </p:animEffect>
                                  </p:childTnLst>
                                </p:cTn>
                              </p:par>
                            </p:childTnLst>
                          </p:cTn>
                        </p:par>
                      </p:childTnLst>
                    </p:cTn>
                  </p:par>
                  <p:par>
                    <p:cTn id="81" fill="hold" nodeType="clickPar">
                      <p:stCondLst>
                        <p:cond delay="indefinite"/>
                      </p:stCondLst>
                      <p:childTnLst>
                        <p:par>
                          <p:cTn id="82" fill="hold" nodeType="withGroup">
                            <p:stCondLst>
                              <p:cond delay="0"/>
                            </p:stCondLst>
                            <p:childTnLst>
                              <p:par>
                                <p:cTn id="83" presetID="4" presetClass="entr" presetSubtype="32" fill="hold" nodeType="clickEffect">
                                  <p:stCondLst>
                                    <p:cond delay="0"/>
                                  </p:stCondLst>
                                  <p:childTnLst>
                                    <p:set>
                                      <p:cBhvr>
                                        <p:cTn id="84" dur="1" fill="hold">
                                          <p:stCondLst>
                                            <p:cond delay="0"/>
                                          </p:stCondLst>
                                        </p:cTn>
                                        <p:tgtEl>
                                          <p:spTgt spid="30"/>
                                        </p:tgtEl>
                                        <p:attrNameLst>
                                          <p:attrName>style.visibility</p:attrName>
                                        </p:attrNameLst>
                                      </p:cBhvr>
                                      <p:to>
                                        <p:strVal val="visible"/>
                                      </p:to>
                                    </p:set>
                                    <p:animEffect transition="in" filter="box(out)">
                                      <p:cBhvr>
                                        <p:cTn id="85" dur="500"/>
                                        <p:tgtEl>
                                          <p:spTgt spid="30"/>
                                        </p:tgtEl>
                                      </p:cBhvr>
                                    </p:animEffect>
                                  </p:childTnLst>
                                </p:cTn>
                              </p:par>
                            </p:childTnLst>
                          </p:cTn>
                        </p:par>
                      </p:childTnLst>
                    </p:cTn>
                  </p:par>
                  <p:par>
                    <p:cTn id="86" fill="hold" nodeType="clickPar">
                      <p:stCondLst>
                        <p:cond delay="indefinite"/>
                      </p:stCondLst>
                      <p:childTnLst>
                        <p:par>
                          <p:cTn id="87" fill="hold" nodeType="withGroup">
                            <p:stCondLst>
                              <p:cond delay="0"/>
                            </p:stCondLst>
                            <p:childTnLst>
                              <p:par>
                                <p:cTn id="88" presetID="4" presetClass="entr" presetSubtype="32" fill="hold" nodeType="clickEffect">
                                  <p:stCondLst>
                                    <p:cond delay="0"/>
                                  </p:stCondLst>
                                  <p:childTnLst>
                                    <p:set>
                                      <p:cBhvr>
                                        <p:cTn id="89" dur="1" fill="hold">
                                          <p:stCondLst>
                                            <p:cond delay="0"/>
                                          </p:stCondLst>
                                        </p:cTn>
                                        <p:tgtEl>
                                          <p:spTgt spid="12352"/>
                                        </p:tgtEl>
                                        <p:attrNameLst>
                                          <p:attrName>style.visibility</p:attrName>
                                        </p:attrNameLst>
                                      </p:cBhvr>
                                      <p:to>
                                        <p:strVal val="visible"/>
                                      </p:to>
                                    </p:set>
                                    <p:animEffect transition="in" filter="box(out)">
                                      <p:cBhvr>
                                        <p:cTn id="90" dur="500"/>
                                        <p:tgtEl>
                                          <p:spTgt spid="12352"/>
                                        </p:tgtEl>
                                      </p:cBhvr>
                                    </p:animEffect>
                                  </p:childTnLst>
                                </p:cTn>
                              </p:par>
                            </p:childTnLst>
                          </p:cTn>
                        </p:par>
                      </p:childTnLst>
                    </p:cTn>
                  </p:par>
                  <p:par>
                    <p:cTn id="91" fill="hold" nodeType="clickPar">
                      <p:stCondLst>
                        <p:cond delay="indefinite"/>
                      </p:stCondLst>
                      <p:childTnLst>
                        <p:par>
                          <p:cTn id="92" fill="hold" nodeType="withGroup">
                            <p:stCondLst>
                              <p:cond delay="0"/>
                            </p:stCondLst>
                            <p:childTnLst>
                              <p:par>
                                <p:cTn id="93" presetID="4" presetClass="entr" presetSubtype="32" fill="hold" nodeType="clickEffect">
                                  <p:stCondLst>
                                    <p:cond delay="0"/>
                                  </p:stCondLst>
                                  <p:childTnLst>
                                    <p:set>
                                      <p:cBhvr>
                                        <p:cTn id="94" dur="1" fill="hold">
                                          <p:stCondLst>
                                            <p:cond delay="0"/>
                                          </p:stCondLst>
                                        </p:cTn>
                                        <p:tgtEl>
                                          <p:spTgt spid="12371"/>
                                        </p:tgtEl>
                                        <p:attrNameLst>
                                          <p:attrName>style.visibility</p:attrName>
                                        </p:attrNameLst>
                                      </p:cBhvr>
                                      <p:to>
                                        <p:strVal val="visible"/>
                                      </p:to>
                                    </p:set>
                                    <p:animEffect transition="in" filter="box(out)">
                                      <p:cBhvr>
                                        <p:cTn id="95" dur="500"/>
                                        <p:tgtEl>
                                          <p:spTgt spid="12371"/>
                                        </p:tgtEl>
                                      </p:cBhvr>
                                    </p:animEffect>
                                  </p:childTnLst>
                                </p:cTn>
                              </p:par>
                            </p:childTnLst>
                          </p:cTn>
                        </p:par>
                      </p:childTnLst>
                    </p:cTn>
                  </p:par>
                  <p:par>
                    <p:cTn id="96" fill="hold" nodeType="clickPar">
                      <p:stCondLst>
                        <p:cond delay="indefinite"/>
                      </p:stCondLst>
                      <p:childTnLst>
                        <p:par>
                          <p:cTn id="97" fill="hold" nodeType="withGroup">
                            <p:stCondLst>
                              <p:cond delay="0"/>
                            </p:stCondLst>
                            <p:childTnLst>
                              <p:par>
                                <p:cTn id="98" presetID="4" presetClass="entr" presetSubtype="32" fill="hold" nodeType="clickEffect">
                                  <p:stCondLst>
                                    <p:cond delay="0"/>
                                  </p:stCondLst>
                                  <p:childTnLst>
                                    <p:set>
                                      <p:cBhvr>
                                        <p:cTn id="99" dur="1" fill="hold">
                                          <p:stCondLst>
                                            <p:cond delay="0"/>
                                          </p:stCondLst>
                                        </p:cTn>
                                        <p:tgtEl>
                                          <p:spTgt spid="12372"/>
                                        </p:tgtEl>
                                        <p:attrNameLst>
                                          <p:attrName>style.visibility</p:attrName>
                                        </p:attrNameLst>
                                      </p:cBhvr>
                                      <p:to>
                                        <p:strVal val="visible"/>
                                      </p:to>
                                    </p:set>
                                    <p:animEffect transition="in" filter="box(out)">
                                      <p:cBhvr>
                                        <p:cTn id="100" dur="500"/>
                                        <p:tgtEl>
                                          <p:spTgt spid="123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060" grpId="0" animBg="1"/>
      <p:bldP spid="122061" grpId="0" animBg="1"/>
      <p:bldP spid="122062" grpId="0"/>
      <p:bldP spid="122063" grpId="0" animBg="1"/>
      <p:bldP spid="122065" grpId="0" animBg="1"/>
      <p:bldP spid="122066" grpId="0" animBg="1"/>
      <p:bldP spid="12206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txBox="1">
            <a:spLocks/>
          </p:cNvSpPr>
          <p:nvPr/>
        </p:nvSpPr>
        <p:spPr>
          <a:xfrm>
            <a:off x="179512" y="-27384"/>
            <a:ext cx="8784976" cy="1470025"/>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a:lstStyle>
          <a:p>
            <a:r>
              <a:rPr lang="it-IT" sz="2800" kern="0" dirty="0"/>
              <a:t>7</a:t>
            </a:r>
            <a:r>
              <a:rPr lang="it-IT" sz="2800" kern="0" dirty="0" smtClean="0"/>
              <a:t>. </a:t>
            </a:r>
            <a:r>
              <a:rPr lang="it-IT" sz="2800" kern="0" dirty="0" err="1" smtClean="0"/>
              <a:t>Our</a:t>
            </a:r>
            <a:r>
              <a:rPr lang="it-IT" sz="2800" kern="0" dirty="0" smtClean="0"/>
              <a:t> “in vitro bone </a:t>
            </a:r>
            <a:r>
              <a:rPr lang="it-IT" sz="2800" kern="0" dirty="0" err="1" smtClean="0"/>
              <a:t>models</a:t>
            </a:r>
            <a:r>
              <a:rPr lang="it-IT" sz="2800" kern="0" dirty="0" smtClean="0"/>
              <a:t>”</a:t>
            </a:r>
          </a:p>
          <a:p>
            <a:r>
              <a:rPr lang="it-IT" sz="2800" kern="0" dirty="0" err="1" smtClean="0"/>
              <a:t>Investigating</a:t>
            </a:r>
            <a:r>
              <a:rPr lang="it-IT" sz="2800" kern="0" dirty="0" smtClean="0"/>
              <a:t> the bone </a:t>
            </a:r>
            <a:r>
              <a:rPr lang="it-IT" sz="2800" kern="0" dirty="0" err="1" smtClean="0"/>
              <a:t>effects</a:t>
            </a:r>
            <a:r>
              <a:rPr lang="it-IT" sz="2800" kern="0" dirty="0" smtClean="0"/>
              <a:t> of new </a:t>
            </a:r>
            <a:r>
              <a:rPr lang="it-IT" sz="2800" kern="0" dirty="0" err="1" smtClean="0"/>
              <a:t>drugs</a:t>
            </a:r>
            <a:endParaRPr lang="it-IT" sz="2800" kern="0" dirty="0"/>
          </a:p>
        </p:txBody>
      </p:sp>
    </p:spTree>
    <p:extLst>
      <p:ext uri="{BB962C8B-B14F-4D97-AF65-F5344CB8AC3E}">
        <p14:creationId xmlns:p14="http://schemas.microsoft.com/office/powerpoint/2010/main" val="210431881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o 2"/>
          <p:cNvGrpSpPr/>
          <p:nvPr/>
        </p:nvGrpSpPr>
        <p:grpSpPr>
          <a:xfrm>
            <a:off x="970602" y="1971352"/>
            <a:ext cx="7210971" cy="3984394"/>
            <a:chOff x="0" y="1054098"/>
            <a:chExt cx="11880695" cy="5817097"/>
          </a:xfrm>
        </p:grpSpPr>
        <p:sp>
          <p:nvSpPr>
            <p:cNvPr id="4" name="CasellaDiTesto 3"/>
            <p:cNvSpPr txBox="1"/>
            <p:nvPr/>
          </p:nvSpPr>
          <p:spPr>
            <a:xfrm>
              <a:off x="1528530" y="3524458"/>
              <a:ext cx="3219045" cy="724756"/>
            </a:xfrm>
            <a:prstGeom prst="rect">
              <a:avLst/>
            </a:prstGeom>
            <a:noFill/>
          </p:spPr>
          <p:txBody>
            <a:bodyPr wrap="square" rtlCol="0">
              <a:spAutoFit/>
            </a:bodyPr>
            <a:lstStyle/>
            <a:p>
              <a:pPr defTabSz="342900">
                <a:defRPr/>
              </a:pPr>
              <a:r>
                <a:rPr lang="it-IT" sz="1313" b="1" dirty="0">
                  <a:solidFill>
                    <a:srgbClr val="002060"/>
                  </a:solidFill>
                  <a:latin typeface="Arial" panose="020B0604020202020204" pitchFamily="34" charset="0"/>
                  <a:cs typeface="Arial" panose="020B0604020202020204" pitchFamily="34" charset="0"/>
                </a:rPr>
                <a:t>DIFFERENTIATION (TRAP ASSAY)</a:t>
              </a:r>
            </a:p>
          </p:txBody>
        </p:sp>
        <p:sp>
          <p:nvSpPr>
            <p:cNvPr id="5" name="CasellaDiTesto 4"/>
            <p:cNvSpPr txBox="1"/>
            <p:nvPr/>
          </p:nvSpPr>
          <p:spPr>
            <a:xfrm>
              <a:off x="6832716" y="3524458"/>
              <a:ext cx="3174070" cy="724756"/>
            </a:xfrm>
            <a:prstGeom prst="rect">
              <a:avLst/>
            </a:prstGeom>
            <a:noFill/>
          </p:spPr>
          <p:txBody>
            <a:bodyPr wrap="square" rtlCol="0">
              <a:spAutoFit/>
            </a:bodyPr>
            <a:lstStyle/>
            <a:p>
              <a:pPr defTabSz="342900">
                <a:defRPr/>
              </a:pPr>
              <a:r>
                <a:rPr lang="it-IT" sz="1313" b="1" dirty="0">
                  <a:solidFill>
                    <a:srgbClr val="002060"/>
                  </a:solidFill>
                  <a:latin typeface="Arial" panose="020B0604020202020204" pitchFamily="34" charset="0"/>
                  <a:cs typeface="Arial" panose="020B0604020202020204" pitchFamily="34" charset="0"/>
                </a:rPr>
                <a:t>ACTIVITY (OSTEOASSAY)</a:t>
              </a:r>
            </a:p>
          </p:txBody>
        </p:sp>
        <p:pic>
          <p:nvPicPr>
            <p:cNvPr id="6" name="Picture 2" descr="http://450grammi.com/wp-content/uploads/2013/09/sacca.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4709" t="21649" r="4695"/>
            <a:stretch/>
          </p:blipFill>
          <p:spPr bwMode="auto">
            <a:xfrm>
              <a:off x="0" y="1054098"/>
              <a:ext cx="1231900" cy="236611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http://i02.yizimg.com/uploads_old/428467/2013092511071529_old.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08224" y="1230430"/>
              <a:ext cx="2019301" cy="201344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https://www.pluriselect.com/tl_files/pluriselect/images/buffycoat.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61402"/>
            <a:stretch/>
          </p:blipFill>
          <p:spPr bwMode="auto">
            <a:xfrm>
              <a:off x="2484176" y="1435099"/>
              <a:ext cx="592623" cy="1575160"/>
            </a:xfrm>
            <a:prstGeom prst="rect">
              <a:avLst/>
            </a:prstGeom>
            <a:noFill/>
            <a:extLst>
              <a:ext uri="{909E8E84-426E-40DD-AFC4-6F175D3DCCD1}">
                <a14:hiddenFill xmlns:a14="http://schemas.microsoft.com/office/drawing/2010/main">
                  <a:solidFill>
                    <a:srgbClr val="FFFFFF"/>
                  </a:solidFill>
                </a14:hiddenFill>
              </a:ext>
            </a:extLst>
          </p:spPr>
        </p:pic>
        <p:pic>
          <p:nvPicPr>
            <p:cNvPr id="9" name="Immagine 8"/>
            <p:cNvPicPr>
              <a:picLocks noChangeAspect="1"/>
            </p:cNvPicPr>
            <p:nvPr/>
          </p:nvPicPr>
          <p:blipFill>
            <a:blip r:embed="rId5"/>
            <a:stretch>
              <a:fillRect/>
            </a:stretch>
          </p:blipFill>
          <p:spPr>
            <a:xfrm flipH="1">
              <a:off x="4253664" y="1440496"/>
              <a:ext cx="1406597" cy="1207281"/>
            </a:xfrm>
            <a:prstGeom prst="rect">
              <a:avLst/>
            </a:prstGeom>
          </p:spPr>
        </p:pic>
        <p:pic>
          <p:nvPicPr>
            <p:cNvPr id="10" name="Picture 12" descr="https://resources.rndsystems.com/images/site/CCM003_grayscale6227.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55070" y="1396169"/>
              <a:ext cx="1825625" cy="1653021"/>
            </a:xfrm>
            <a:prstGeom prst="rect">
              <a:avLst/>
            </a:prstGeom>
            <a:noFill/>
            <a:extLst>
              <a:ext uri="{909E8E84-426E-40DD-AFC4-6F175D3DCCD1}">
                <a14:hiddenFill xmlns:a14="http://schemas.microsoft.com/office/drawing/2010/main">
                  <a:solidFill>
                    <a:srgbClr val="FFFFFF"/>
                  </a:solidFill>
                </a14:hiddenFill>
              </a:ext>
            </a:extLst>
          </p:spPr>
        </p:pic>
        <p:sp>
          <p:nvSpPr>
            <p:cNvPr id="11" name="Figura a mano libera 10"/>
            <p:cNvSpPr/>
            <p:nvPr/>
          </p:nvSpPr>
          <p:spPr>
            <a:xfrm>
              <a:off x="1202520" y="2184705"/>
              <a:ext cx="1295400" cy="336382"/>
            </a:xfrm>
            <a:custGeom>
              <a:avLst/>
              <a:gdLst>
                <a:gd name="connsiteX0" fmla="*/ 0 w 1295400"/>
                <a:gd name="connsiteY0" fmla="*/ 0 h 336382"/>
                <a:gd name="connsiteX1" fmla="*/ 717550 w 1295400"/>
                <a:gd name="connsiteY1" fmla="*/ 292100 h 336382"/>
                <a:gd name="connsiteX2" fmla="*/ 1295400 w 1295400"/>
                <a:gd name="connsiteY2" fmla="*/ 330200 h 336382"/>
              </a:gdLst>
              <a:ahLst/>
              <a:cxnLst>
                <a:cxn ang="0">
                  <a:pos x="connsiteX0" y="connsiteY0"/>
                </a:cxn>
                <a:cxn ang="0">
                  <a:pos x="connsiteX1" y="connsiteY1"/>
                </a:cxn>
                <a:cxn ang="0">
                  <a:pos x="connsiteX2" y="connsiteY2"/>
                </a:cxn>
              </a:cxnLst>
              <a:rect l="l" t="t" r="r" b="b"/>
              <a:pathLst>
                <a:path w="1295400" h="336382">
                  <a:moveTo>
                    <a:pt x="0" y="0"/>
                  </a:moveTo>
                  <a:cubicBezTo>
                    <a:pt x="250825" y="118533"/>
                    <a:pt x="501650" y="237067"/>
                    <a:pt x="717550" y="292100"/>
                  </a:cubicBezTo>
                  <a:cubicBezTo>
                    <a:pt x="933450" y="347133"/>
                    <a:pt x="1114425" y="338666"/>
                    <a:pt x="1295400" y="330200"/>
                  </a:cubicBezTo>
                </a:path>
              </a:pathLst>
            </a:custGeom>
            <a:noFill/>
            <a:ln w="12700" cap="flat" cmpd="sng" algn="ctr">
              <a:solidFill>
                <a:srgbClr val="FF2500"/>
              </a:solidFill>
              <a:prstDash val="solid"/>
              <a:miter lim="800000"/>
              <a:headEnd type="none" w="med" len="med"/>
              <a:tailEnd type="arrow" w="med" len="med"/>
            </a:ln>
            <a:effectLst/>
          </p:spPr>
          <p:txBody>
            <a:bodyPr rtlCol="0" anchor="ctr"/>
            <a:lstStyle/>
            <a:p>
              <a:pPr defTabSz="342900">
                <a:defRPr/>
              </a:pPr>
              <a:endParaRPr lang="it-IT" sz="750">
                <a:solidFill>
                  <a:srgbClr val="002060"/>
                </a:solidFill>
                <a:latin typeface="Arial" panose="020B0604020202020204" pitchFamily="34" charset="0"/>
                <a:cs typeface="Arial" panose="020B0604020202020204" pitchFamily="34" charset="0"/>
              </a:endParaRPr>
            </a:p>
          </p:txBody>
        </p:sp>
        <p:sp>
          <p:nvSpPr>
            <p:cNvPr id="12" name="Figura a mano libera 11"/>
            <p:cNvSpPr/>
            <p:nvPr/>
          </p:nvSpPr>
          <p:spPr>
            <a:xfrm>
              <a:off x="3132571" y="2169620"/>
              <a:ext cx="1158441" cy="317195"/>
            </a:xfrm>
            <a:custGeom>
              <a:avLst/>
              <a:gdLst>
                <a:gd name="connsiteX0" fmla="*/ 0 w 1016000"/>
                <a:gd name="connsiteY0" fmla="*/ 477203 h 477203"/>
                <a:gd name="connsiteX1" fmla="*/ 577850 w 1016000"/>
                <a:gd name="connsiteY1" fmla="*/ 64453 h 477203"/>
                <a:gd name="connsiteX2" fmla="*/ 1016000 w 1016000"/>
                <a:gd name="connsiteY2" fmla="*/ 7303 h 477203"/>
              </a:gdLst>
              <a:ahLst/>
              <a:cxnLst>
                <a:cxn ang="0">
                  <a:pos x="connsiteX0" y="connsiteY0"/>
                </a:cxn>
                <a:cxn ang="0">
                  <a:pos x="connsiteX1" y="connsiteY1"/>
                </a:cxn>
                <a:cxn ang="0">
                  <a:pos x="connsiteX2" y="connsiteY2"/>
                </a:cxn>
              </a:cxnLst>
              <a:rect l="l" t="t" r="r" b="b"/>
              <a:pathLst>
                <a:path w="1016000" h="477203">
                  <a:moveTo>
                    <a:pt x="0" y="477203"/>
                  </a:moveTo>
                  <a:cubicBezTo>
                    <a:pt x="204258" y="309986"/>
                    <a:pt x="408517" y="142770"/>
                    <a:pt x="577850" y="64453"/>
                  </a:cubicBezTo>
                  <a:cubicBezTo>
                    <a:pt x="747183" y="-13864"/>
                    <a:pt x="881591" y="-3281"/>
                    <a:pt x="1016000" y="7303"/>
                  </a:cubicBezTo>
                </a:path>
              </a:pathLst>
            </a:custGeom>
            <a:noFill/>
            <a:ln w="12700" cap="flat" cmpd="sng" algn="ctr">
              <a:solidFill>
                <a:srgbClr val="FF2500"/>
              </a:solidFill>
              <a:prstDash val="solid"/>
              <a:miter lim="800000"/>
              <a:headEnd type="none" w="med" len="med"/>
              <a:tailEnd type="arrow" w="med" len="med"/>
            </a:ln>
            <a:effectLst/>
          </p:spPr>
          <p:txBody>
            <a:bodyPr rtlCol="0" anchor="ctr"/>
            <a:lstStyle/>
            <a:p>
              <a:pPr defTabSz="342900">
                <a:defRPr/>
              </a:pPr>
              <a:endParaRPr lang="it-IT" sz="750">
                <a:solidFill>
                  <a:srgbClr val="002060"/>
                </a:solidFill>
                <a:latin typeface="Arial" panose="020B0604020202020204" pitchFamily="34" charset="0"/>
                <a:cs typeface="Arial" panose="020B0604020202020204" pitchFamily="34" charset="0"/>
              </a:endParaRPr>
            </a:p>
          </p:txBody>
        </p:sp>
        <p:sp>
          <p:nvSpPr>
            <p:cNvPr id="13" name="Figura a mano libera 12"/>
            <p:cNvSpPr/>
            <p:nvPr/>
          </p:nvSpPr>
          <p:spPr>
            <a:xfrm>
              <a:off x="5162550" y="2490788"/>
              <a:ext cx="1745674" cy="318867"/>
            </a:xfrm>
            <a:custGeom>
              <a:avLst/>
              <a:gdLst>
                <a:gd name="connsiteX0" fmla="*/ 0 w 1690688"/>
                <a:gd name="connsiteY0" fmla="*/ 157162 h 318867"/>
                <a:gd name="connsiteX1" fmla="*/ 428625 w 1690688"/>
                <a:gd name="connsiteY1" fmla="*/ 314325 h 318867"/>
                <a:gd name="connsiteX2" fmla="*/ 1690688 w 1690688"/>
                <a:gd name="connsiteY2" fmla="*/ 0 h 318867"/>
              </a:gdLst>
              <a:ahLst/>
              <a:cxnLst>
                <a:cxn ang="0">
                  <a:pos x="connsiteX0" y="connsiteY0"/>
                </a:cxn>
                <a:cxn ang="0">
                  <a:pos x="connsiteX1" y="connsiteY1"/>
                </a:cxn>
                <a:cxn ang="0">
                  <a:pos x="connsiteX2" y="connsiteY2"/>
                </a:cxn>
              </a:cxnLst>
              <a:rect l="l" t="t" r="r" b="b"/>
              <a:pathLst>
                <a:path w="1690688" h="318867">
                  <a:moveTo>
                    <a:pt x="0" y="157162"/>
                  </a:moveTo>
                  <a:cubicBezTo>
                    <a:pt x="73422" y="248840"/>
                    <a:pt x="146844" y="340519"/>
                    <a:pt x="428625" y="314325"/>
                  </a:cubicBezTo>
                  <a:cubicBezTo>
                    <a:pt x="710406" y="288131"/>
                    <a:pt x="1200547" y="144065"/>
                    <a:pt x="1690688" y="0"/>
                  </a:cubicBezTo>
                </a:path>
              </a:pathLst>
            </a:custGeom>
            <a:noFill/>
            <a:ln w="12700" cap="flat" cmpd="sng" algn="ctr">
              <a:solidFill>
                <a:srgbClr val="FF2500"/>
              </a:solidFill>
              <a:prstDash val="solid"/>
              <a:miter lim="800000"/>
              <a:headEnd type="none" w="med" len="med"/>
              <a:tailEnd type="arrow" w="med" len="med"/>
            </a:ln>
            <a:effectLst/>
          </p:spPr>
          <p:txBody>
            <a:bodyPr rtlCol="0" anchor="ctr"/>
            <a:lstStyle/>
            <a:p>
              <a:pPr defTabSz="342900">
                <a:defRPr/>
              </a:pPr>
              <a:endParaRPr lang="it-IT" sz="750">
                <a:solidFill>
                  <a:srgbClr val="002060"/>
                </a:solidFill>
                <a:latin typeface="Arial" panose="020B0604020202020204" pitchFamily="34" charset="0"/>
                <a:cs typeface="Arial" panose="020B0604020202020204" pitchFamily="34" charset="0"/>
              </a:endParaRPr>
            </a:p>
          </p:txBody>
        </p:sp>
        <p:sp>
          <p:nvSpPr>
            <p:cNvPr id="14" name="Figura a mano libera 13"/>
            <p:cNvSpPr/>
            <p:nvPr/>
          </p:nvSpPr>
          <p:spPr>
            <a:xfrm>
              <a:off x="8691563" y="2133600"/>
              <a:ext cx="1295400" cy="333375"/>
            </a:xfrm>
            <a:custGeom>
              <a:avLst/>
              <a:gdLst>
                <a:gd name="connsiteX0" fmla="*/ 0 w 1295400"/>
                <a:gd name="connsiteY0" fmla="*/ 333375 h 333375"/>
                <a:gd name="connsiteX1" fmla="*/ 666750 w 1295400"/>
                <a:gd name="connsiteY1" fmla="*/ 61913 h 333375"/>
                <a:gd name="connsiteX2" fmla="*/ 1295400 w 1295400"/>
                <a:gd name="connsiteY2" fmla="*/ 0 h 333375"/>
              </a:gdLst>
              <a:ahLst/>
              <a:cxnLst>
                <a:cxn ang="0">
                  <a:pos x="connsiteX0" y="connsiteY0"/>
                </a:cxn>
                <a:cxn ang="0">
                  <a:pos x="connsiteX1" y="connsiteY1"/>
                </a:cxn>
                <a:cxn ang="0">
                  <a:pos x="connsiteX2" y="connsiteY2"/>
                </a:cxn>
              </a:cxnLst>
              <a:rect l="l" t="t" r="r" b="b"/>
              <a:pathLst>
                <a:path w="1295400" h="333375">
                  <a:moveTo>
                    <a:pt x="0" y="333375"/>
                  </a:moveTo>
                  <a:cubicBezTo>
                    <a:pt x="225425" y="225425"/>
                    <a:pt x="450850" y="117475"/>
                    <a:pt x="666750" y="61913"/>
                  </a:cubicBezTo>
                  <a:cubicBezTo>
                    <a:pt x="882650" y="6351"/>
                    <a:pt x="1089025" y="3175"/>
                    <a:pt x="1295400" y="0"/>
                  </a:cubicBezTo>
                </a:path>
              </a:pathLst>
            </a:custGeom>
            <a:noFill/>
            <a:ln w="12700" cap="flat" cmpd="sng" algn="ctr">
              <a:solidFill>
                <a:srgbClr val="FF2500"/>
              </a:solidFill>
              <a:prstDash val="solid"/>
              <a:miter lim="800000"/>
              <a:headEnd type="none" w="med" len="med"/>
              <a:tailEnd type="arrow" w="med" len="med"/>
            </a:ln>
            <a:effectLst/>
          </p:spPr>
          <p:txBody>
            <a:bodyPr rtlCol="0" anchor="ctr"/>
            <a:lstStyle/>
            <a:p>
              <a:pPr defTabSz="342900">
                <a:defRPr/>
              </a:pPr>
              <a:endParaRPr lang="it-IT" sz="750">
                <a:solidFill>
                  <a:srgbClr val="002060"/>
                </a:solidFill>
                <a:latin typeface="Arial" panose="020B0604020202020204" pitchFamily="34" charset="0"/>
                <a:cs typeface="Arial" panose="020B0604020202020204" pitchFamily="34" charset="0"/>
              </a:endParaRPr>
            </a:p>
          </p:txBody>
        </p:sp>
        <p:sp>
          <p:nvSpPr>
            <p:cNvPr id="15" name="CasellaDiTesto 14"/>
            <p:cNvSpPr txBox="1"/>
            <p:nvPr/>
          </p:nvSpPr>
          <p:spPr>
            <a:xfrm>
              <a:off x="1336229" y="1898356"/>
              <a:ext cx="1431998" cy="471811"/>
            </a:xfrm>
            <a:prstGeom prst="rect">
              <a:avLst/>
            </a:prstGeom>
            <a:noFill/>
          </p:spPr>
          <p:txBody>
            <a:bodyPr wrap="none" rtlCol="0">
              <a:spAutoFit/>
            </a:bodyPr>
            <a:lstStyle/>
            <a:p>
              <a:pPr defTabSz="342900">
                <a:defRPr/>
              </a:pPr>
              <a:r>
                <a:rPr lang="it-IT" sz="750" b="1" dirty="0" err="1">
                  <a:solidFill>
                    <a:srgbClr val="002060"/>
                  </a:solidFill>
                  <a:latin typeface="Arial" panose="020B0604020202020204" pitchFamily="34" charset="0"/>
                  <a:cs typeface="Arial" panose="020B0604020202020204" pitchFamily="34" charset="0"/>
                </a:rPr>
                <a:t>PBMCs</a:t>
              </a:r>
              <a:endParaRPr lang="it-IT" sz="750" b="1" dirty="0">
                <a:solidFill>
                  <a:srgbClr val="002060"/>
                </a:solidFill>
                <a:latin typeface="Arial" panose="020B0604020202020204" pitchFamily="34" charset="0"/>
                <a:cs typeface="Arial" panose="020B0604020202020204" pitchFamily="34" charset="0"/>
              </a:endParaRPr>
            </a:p>
            <a:p>
              <a:pPr defTabSz="342900">
                <a:defRPr/>
              </a:pPr>
              <a:r>
                <a:rPr lang="it-IT" sz="750" b="1" dirty="0">
                  <a:solidFill>
                    <a:srgbClr val="002060"/>
                  </a:solidFill>
                  <a:latin typeface="Arial" panose="020B0604020202020204" pitchFamily="34" charset="0"/>
                  <a:cs typeface="Arial" panose="020B0604020202020204" pitchFamily="34" charset="0"/>
                </a:rPr>
                <a:t>PURIFICATION</a:t>
              </a:r>
            </a:p>
          </p:txBody>
        </p:sp>
        <p:sp>
          <p:nvSpPr>
            <p:cNvPr id="16" name="CasellaDiTesto 15"/>
            <p:cNvSpPr txBox="1"/>
            <p:nvPr/>
          </p:nvSpPr>
          <p:spPr>
            <a:xfrm>
              <a:off x="3076799" y="1169389"/>
              <a:ext cx="1836083" cy="640317"/>
            </a:xfrm>
            <a:prstGeom prst="rect">
              <a:avLst/>
            </a:prstGeom>
            <a:noFill/>
          </p:spPr>
          <p:txBody>
            <a:bodyPr wrap="none" rtlCol="0">
              <a:spAutoFit/>
            </a:bodyPr>
            <a:lstStyle/>
            <a:p>
              <a:pPr defTabSz="342900">
                <a:defRPr/>
              </a:pPr>
              <a:r>
                <a:rPr lang="it-IT" sz="750" b="1" dirty="0">
                  <a:solidFill>
                    <a:srgbClr val="002060"/>
                  </a:solidFill>
                  <a:latin typeface="Arial" panose="020B0604020202020204" pitchFamily="34" charset="0"/>
                  <a:cs typeface="Arial" panose="020B0604020202020204" pitchFamily="34" charset="0"/>
                </a:rPr>
                <a:t>CD14 + CELLS</a:t>
              </a:r>
            </a:p>
            <a:p>
              <a:pPr defTabSz="342900">
                <a:defRPr/>
              </a:pPr>
              <a:r>
                <a:rPr lang="it-IT" sz="750" b="1" dirty="0">
                  <a:solidFill>
                    <a:srgbClr val="002060"/>
                  </a:solidFill>
                  <a:latin typeface="Arial" panose="020B0604020202020204" pitchFamily="34" charset="0"/>
                  <a:cs typeface="Arial" panose="020B0604020202020204" pitchFamily="34" charset="0"/>
                </a:rPr>
                <a:t>LABELING</a:t>
              </a:r>
            </a:p>
            <a:p>
              <a:pPr defTabSz="342900">
                <a:defRPr/>
              </a:pPr>
              <a:r>
                <a:rPr lang="it-IT" sz="750" b="1" dirty="0">
                  <a:solidFill>
                    <a:srgbClr val="002060"/>
                  </a:solidFill>
                  <a:latin typeface="Arial" panose="020B0604020202020204" pitchFamily="34" charset="0"/>
                  <a:cs typeface="Arial" panose="020B0604020202020204" pitchFamily="34" charset="0"/>
                </a:rPr>
                <a:t>WITH MICROBEADS</a:t>
              </a:r>
            </a:p>
          </p:txBody>
        </p:sp>
        <p:sp>
          <p:nvSpPr>
            <p:cNvPr id="17" name="CasellaDiTesto 16"/>
            <p:cNvSpPr txBox="1"/>
            <p:nvPr/>
          </p:nvSpPr>
          <p:spPr>
            <a:xfrm>
              <a:off x="5777554" y="2198195"/>
              <a:ext cx="1170529" cy="471811"/>
            </a:xfrm>
            <a:prstGeom prst="rect">
              <a:avLst/>
            </a:prstGeom>
            <a:noFill/>
          </p:spPr>
          <p:txBody>
            <a:bodyPr wrap="none" rtlCol="0">
              <a:spAutoFit/>
            </a:bodyPr>
            <a:lstStyle/>
            <a:p>
              <a:pPr defTabSz="342900">
                <a:defRPr/>
              </a:pPr>
              <a:r>
                <a:rPr lang="it-IT" sz="750" b="1" dirty="0">
                  <a:solidFill>
                    <a:srgbClr val="002060"/>
                  </a:solidFill>
                  <a:latin typeface="Arial" panose="020B0604020202020204" pitchFamily="34" charset="0"/>
                  <a:cs typeface="Arial" panose="020B0604020202020204" pitchFamily="34" charset="0"/>
                </a:rPr>
                <a:t>MAGNETIC</a:t>
              </a:r>
            </a:p>
            <a:p>
              <a:pPr defTabSz="342900">
                <a:defRPr/>
              </a:pPr>
              <a:r>
                <a:rPr lang="it-IT" sz="750" b="1" dirty="0">
                  <a:solidFill>
                    <a:srgbClr val="002060"/>
                  </a:solidFill>
                  <a:latin typeface="Arial" panose="020B0604020202020204" pitchFamily="34" charset="0"/>
                  <a:cs typeface="Arial" panose="020B0604020202020204" pitchFamily="34" charset="0"/>
                </a:rPr>
                <a:t>ISOLATION</a:t>
              </a:r>
            </a:p>
          </p:txBody>
        </p:sp>
        <p:sp>
          <p:nvSpPr>
            <p:cNvPr id="18" name="CasellaDiTesto 17"/>
            <p:cNvSpPr txBox="1"/>
            <p:nvPr/>
          </p:nvSpPr>
          <p:spPr>
            <a:xfrm>
              <a:off x="8960665" y="2328217"/>
              <a:ext cx="1062245" cy="303307"/>
            </a:xfrm>
            <a:prstGeom prst="rect">
              <a:avLst/>
            </a:prstGeom>
            <a:noFill/>
          </p:spPr>
          <p:txBody>
            <a:bodyPr wrap="none" rtlCol="0">
              <a:spAutoFit/>
            </a:bodyPr>
            <a:lstStyle/>
            <a:p>
              <a:pPr defTabSz="342900">
                <a:defRPr/>
              </a:pPr>
              <a:r>
                <a:rPr lang="it-IT" sz="750" b="1" dirty="0">
                  <a:solidFill>
                    <a:srgbClr val="002060"/>
                  </a:solidFill>
                  <a:latin typeface="Arial" panose="020B0604020202020204" pitchFamily="34" charset="0"/>
                  <a:cs typeface="Arial" panose="020B0604020202020204" pitchFamily="34" charset="0"/>
                </a:rPr>
                <a:t>SEEDING </a:t>
              </a:r>
            </a:p>
          </p:txBody>
        </p:sp>
        <p:pic>
          <p:nvPicPr>
            <p:cNvPr id="19" name="Immagine 18"/>
            <p:cNvPicPr>
              <a:picLocks noChangeAspect="1"/>
            </p:cNvPicPr>
            <p:nvPr/>
          </p:nvPicPr>
          <p:blipFill rotWithShape="1">
            <a:blip r:embed="rId7" cstate="print">
              <a:extLst>
                <a:ext uri="{28A0092B-C50C-407E-A947-70E740481C1C}">
                  <a14:useLocalDpi xmlns:a14="http://schemas.microsoft.com/office/drawing/2010/main" val="0"/>
                </a:ext>
              </a:extLst>
            </a:blip>
            <a:srcRect l="11591" t="51765" r="71106" b="36274"/>
            <a:stretch/>
          </p:blipFill>
          <p:spPr>
            <a:xfrm>
              <a:off x="6158561" y="4233067"/>
              <a:ext cx="1857995" cy="1435200"/>
            </a:xfrm>
            <a:prstGeom prst="rect">
              <a:avLst/>
            </a:prstGeom>
          </p:spPr>
        </p:pic>
        <p:pic>
          <p:nvPicPr>
            <p:cNvPr id="20" name="Immagine 19"/>
            <p:cNvPicPr>
              <a:picLocks noChangeAspect="1"/>
            </p:cNvPicPr>
            <p:nvPr/>
          </p:nvPicPr>
          <p:blipFill rotWithShape="1">
            <a:blip r:embed="rId8" cstate="print">
              <a:extLst>
                <a:ext uri="{28A0092B-C50C-407E-A947-70E740481C1C}">
                  <a14:useLocalDpi xmlns:a14="http://schemas.microsoft.com/office/drawing/2010/main" val="0"/>
                </a:ext>
              </a:extLst>
            </a:blip>
            <a:srcRect l="47736" t="42745" r="35162" b="45392"/>
            <a:stretch/>
          </p:blipFill>
          <p:spPr>
            <a:xfrm>
              <a:off x="8782114" y="4233067"/>
              <a:ext cx="1851661" cy="1435200"/>
            </a:xfrm>
            <a:prstGeom prst="rect">
              <a:avLst/>
            </a:prstGeom>
          </p:spPr>
        </p:pic>
        <p:sp>
          <p:nvSpPr>
            <p:cNvPr id="21" name="CasellaDiTesto 20"/>
            <p:cNvSpPr txBox="1"/>
            <p:nvPr/>
          </p:nvSpPr>
          <p:spPr>
            <a:xfrm>
              <a:off x="5826810" y="5668268"/>
              <a:ext cx="2694436" cy="387559"/>
            </a:xfrm>
            <a:prstGeom prst="rect">
              <a:avLst/>
            </a:prstGeom>
            <a:noFill/>
          </p:spPr>
          <p:txBody>
            <a:bodyPr wrap="none" rtlCol="0">
              <a:spAutoFit/>
            </a:bodyPr>
            <a:lstStyle/>
            <a:p>
              <a:pPr defTabSz="342900">
                <a:defRPr/>
              </a:pPr>
              <a:r>
                <a:rPr lang="it-IT" sz="1125" b="1" dirty="0">
                  <a:solidFill>
                    <a:srgbClr val="002060"/>
                  </a:solidFill>
                  <a:latin typeface="Arial" panose="020B0604020202020204" pitchFamily="34" charset="0"/>
                  <a:cs typeface="Arial" panose="020B0604020202020204" pitchFamily="34" charset="0"/>
                </a:rPr>
                <a:t>UNDIFFERENTIATED</a:t>
              </a:r>
            </a:p>
          </p:txBody>
        </p:sp>
        <p:sp>
          <p:nvSpPr>
            <p:cNvPr id="22" name="CasellaDiTesto 21"/>
            <p:cNvSpPr txBox="1"/>
            <p:nvPr/>
          </p:nvSpPr>
          <p:spPr>
            <a:xfrm>
              <a:off x="514174" y="5668268"/>
              <a:ext cx="2694436" cy="387559"/>
            </a:xfrm>
            <a:prstGeom prst="rect">
              <a:avLst/>
            </a:prstGeom>
            <a:noFill/>
          </p:spPr>
          <p:txBody>
            <a:bodyPr wrap="none" rtlCol="0">
              <a:spAutoFit/>
            </a:bodyPr>
            <a:lstStyle/>
            <a:p>
              <a:pPr defTabSz="342900">
                <a:defRPr/>
              </a:pPr>
              <a:r>
                <a:rPr lang="it-IT" sz="1125" b="1" dirty="0">
                  <a:solidFill>
                    <a:srgbClr val="002060"/>
                  </a:solidFill>
                  <a:latin typeface="Arial" panose="020B0604020202020204" pitchFamily="34" charset="0"/>
                  <a:cs typeface="Arial" panose="020B0604020202020204" pitchFamily="34" charset="0"/>
                </a:rPr>
                <a:t>UNDIFFERENTIATED</a:t>
              </a:r>
            </a:p>
          </p:txBody>
        </p:sp>
        <p:sp>
          <p:nvSpPr>
            <p:cNvPr id="23" name="CasellaDiTesto 22"/>
            <p:cNvSpPr txBox="1"/>
            <p:nvPr/>
          </p:nvSpPr>
          <p:spPr>
            <a:xfrm>
              <a:off x="3341833" y="5669225"/>
              <a:ext cx="2351095" cy="387559"/>
            </a:xfrm>
            <a:prstGeom prst="rect">
              <a:avLst/>
            </a:prstGeom>
            <a:noFill/>
          </p:spPr>
          <p:txBody>
            <a:bodyPr wrap="none" rtlCol="0">
              <a:spAutoFit/>
            </a:bodyPr>
            <a:lstStyle/>
            <a:p>
              <a:pPr defTabSz="342900">
                <a:defRPr/>
              </a:pPr>
              <a:r>
                <a:rPr lang="it-IT" sz="1125" b="1" dirty="0">
                  <a:solidFill>
                    <a:srgbClr val="002060"/>
                  </a:solidFill>
                  <a:latin typeface="Arial" panose="020B0604020202020204" pitchFamily="34" charset="0"/>
                  <a:cs typeface="Arial" panose="020B0604020202020204" pitchFamily="34" charset="0"/>
                </a:rPr>
                <a:t>DIFFERENTIATED</a:t>
              </a:r>
            </a:p>
          </p:txBody>
        </p:sp>
        <p:sp>
          <p:nvSpPr>
            <p:cNvPr id="24" name="CasellaDiTesto 23"/>
            <p:cNvSpPr txBox="1"/>
            <p:nvPr/>
          </p:nvSpPr>
          <p:spPr>
            <a:xfrm>
              <a:off x="8649003" y="5668268"/>
              <a:ext cx="2351095" cy="387559"/>
            </a:xfrm>
            <a:prstGeom prst="rect">
              <a:avLst/>
            </a:prstGeom>
            <a:noFill/>
          </p:spPr>
          <p:txBody>
            <a:bodyPr wrap="none" rtlCol="0">
              <a:spAutoFit/>
            </a:bodyPr>
            <a:lstStyle/>
            <a:p>
              <a:pPr defTabSz="342900">
                <a:defRPr/>
              </a:pPr>
              <a:r>
                <a:rPr lang="it-IT" sz="1125" b="1" dirty="0">
                  <a:solidFill>
                    <a:srgbClr val="002060"/>
                  </a:solidFill>
                  <a:latin typeface="Arial" panose="020B0604020202020204" pitchFamily="34" charset="0"/>
                  <a:cs typeface="Arial" panose="020B0604020202020204" pitchFamily="34" charset="0"/>
                </a:rPr>
                <a:t>DIFFERENTIATED</a:t>
              </a:r>
            </a:p>
          </p:txBody>
        </p:sp>
        <p:cxnSp>
          <p:nvCxnSpPr>
            <p:cNvPr id="25" name="Connettore 2 24"/>
            <p:cNvCxnSpPr/>
            <p:nvPr/>
          </p:nvCxnSpPr>
          <p:spPr>
            <a:xfrm flipH="1" flipV="1">
              <a:off x="10256447" y="4995322"/>
              <a:ext cx="160976" cy="364331"/>
            </a:xfrm>
            <a:prstGeom prst="straightConnector1">
              <a:avLst/>
            </a:prstGeom>
            <a:noFill/>
            <a:ln w="19050" cap="flat" cmpd="sng" algn="ctr">
              <a:solidFill>
                <a:sysClr val="windowText" lastClr="000000"/>
              </a:solidFill>
              <a:prstDash val="solid"/>
              <a:miter lim="800000"/>
              <a:tailEnd type="triangle"/>
            </a:ln>
            <a:effectLst/>
          </p:spPr>
        </p:cxnSp>
        <p:cxnSp>
          <p:nvCxnSpPr>
            <p:cNvPr id="26" name="Connettore 2 25"/>
            <p:cNvCxnSpPr/>
            <p:nvPr/>
          </p:nvCxnSpPr>
          <p:spPr>
            <a:xfrm flipH="1" flipV="1">
              <a:off x="9627456" y="5177487"/>
              <a:ext cx="160976" cy="364331"/>
            </a:xfrm>
            <a:prstGeom prst="straightConnector1">
              <a:avLst/>
            </a:prstGeom>
            <a:noFill/>
            <a:ln w="19050" cap="flat" cmpd="sng" algn="ctr">
              <a:solidFill>
                <a:srgbClr val="C00000"/>
              </a:solidFill>
              <a:prstDash val="solid"/>
              <a:miter lim="800000"/>
              <a:tailEnd type="triangle"/>
            </a:ln>
            <a:effectLst/>
          </p:spPr>
        </p:cxnSp>
        <p:sp>
          <p:nvSpPr>
            <p:cNvPr id="27" name="CasellaDiTesto 26"/>
            <p:cNvSpPr txBox="1"/>
            <p:nvPr/>
          </p:nvSpPr>
          <p:spPr>
            <a:xfrm>
              <a:off x="9377775" y="6567888"/>
              <a:ext cx="1690824" cy="303307"/>
            </a:xfrm>
            <a:prstGeom prst="rect">
              <a:avLst/>
            </a:prstGeom>
            <a:noFill/>
          </p:spPr>
          <p:txBody>
            <a:bodyPr wrap="none" rtlCol="0">
              <a:spAutoFit/>
            </a:bodyPr>
            <a:lstStyle/>
            <a:p>
              <a:pPr defTabSz="342900">
                <a:defRPr/>
              </a:pPr>
              <a:r>
                <a:rPr lang="it-IT" sz="750" b="1" dirty="0">
                  <a:solidFill>
                    <a:srgbClr val="002060"/>
                  </a:solidFill>
                  <a:latin typeface="Arial" panose="020B0604020202020204" pitchFamily="34" charset="0"/>
                  <a:cs typeface="Arial" panose="020B0604020202020204" pitchFamily="34" charset="0"/>
                </a:rPr>
                <a:t>RESORBED AREA</a:t>
              </a:r>
            </a:p>
          </p:txBody>
        </p:sp>
        <p:sp>
          <p:nvSpPr>
            <p:cNvPr id="28" name="Rettangolo 27"/>
            <p:cNvSpPr/>
            <p:nvPr/>
          </p:nvSpPr>
          <p:spPr>
            <a:xfrm>
              <a:off x="8737153" y="6278900"/>
              <a:ext cx="2188958" cy="554159"/>
            </a:xfrm>
            <a:prstGeom prst="rect">
              <a:avLst/>
            </a:prstGeom>
            <a:noFill/>
            <a:ln w="12700" cap="flat" cmpd="sng" algn="ctr">
              <a:solidFill>
                <a:schemeClr val="bg1"/>
              </a:solidFill>
              <a:prstDash val="solid"/>
              <a:miter lim="800000"/>
            </a:ln>
            <a:effectLst/>
          </p:spPr>
          <p:txBody>
            <a:bodyPr rtlCol="0" anchor="ctr"/>
            <a:lstStyle/>
            <a:p>
              <a:pPr defTabSz="342900">
                <a:defRPr/>
              </a:pPr>
              <a:endParaRPr lang="it-IT" sz="750">
                <a:solidFill>
                  <a:srgbClr val="002060"/>
                </a:solidFill>
                <a:latin typeface="Arial" panose="020B0604020202020204" pitchFamily="34" charset="0"/>
                <a:cs typeface="Arial" panose="020B0604020202020204" pitchFamily="34" charset="0"/>
              </a:endParaRPr>
            </a:p>
          </p:txBody>
        </p:sp>
        <p:cxnSp>
          <p:nvCxnSpPr>
            <p:cNvPr id="29" name="Connettore 2 28"/>
            <p:cNvCxnSpPr/>
            <p:nvPr/>
          </p:nvCxnSpPr>
          <p:spPr>
            <a:xfrm>
              <a:off x="8896809" y="6697709"/>
              <a:ext cx="484253" cy="0"/>
            </a:xfrm>
            <a:prstGeom prst="straightConnector1">
              <a:avLst/>
            </a:prstGeom>
            <a:noFill/>
            <a:ln w="6350" cap="flat" cmpd="sng" algn="ctr">
              <a:solidFill>
                <a:srgbClr val="C00000"/>
              </a:solidFill>
              <a:prstDash val="solid"/>
              <a:miter lim="800000"/>
              <a:tailEnd type="arrow"/>
            </a:ln>
            <a:effectLst/>
          </p:spPr>
        </p:cxnSp>
        <p:cxnSp>
          <p:nvCxnSpPr>
            <p:cNvPr id="30" name="Connettore 2 29"/>
            <p:cNvCxnSpPr/>
            <p:nvPr/>
          </p:nvCxnSpPr>
          <p:spPr>
            <a:xfrm>
              <a:off x="8896809" y="6516587"/>
              <a:ext cx="484253" cy="0"/>
            </a:xfrm>
            <a:prstGeom prst="straightConnector1">
              <a:avLst/>
            </a:prstGeom>
            <a:noFill/>
            <a:ln w="6350" cap="flat" cmpd="sng" algn="ctr">
              <a:solidFill>
                <a:sysClr val="windowText" lastClr="000000"/>
              </a:solidFill>
              <a:prstDash val="solid"/>
              <a:miter lim="800000"/>
              <a:tailEnd type="arrow"/>
            </a:ln>
            <a:effectLst/>
          </p:spPr>
        </p:cxnSp>
        <p:sp>
          <p:nvSpPr>
            <p:cNvPr id="31" name="CasellaDiTesto 30"/>
            <p:cNvSpPr txBox="1"/>
            <p:nvPr/>
          </p:nvSpPr>
          <p:spPr>
            <a:xfrm>
              <a:off x="9377775" y="6350495"/>
              <a:ext cx="1342201" cy="303307"/>
            </a:xfrm>
            <a:prstGeom prst="rect">
              <a:avLst/>
            </a:prstGeom>
            <a:noFill/>
          </p:spPr>
          <p:txBody>
            <a:bodyPr wrap="none" rtlCol="0">
              <a:spAutoFit/>
            </a:bodyPr>
            <a:lstStyle/>
            <a:p>
              <a:pPr defTabSz="342900">
                <a:defRPr/>
              </a:pPr>
              <a:r>
                <a:rPr lang="it-IT" sz="750" b="1" dirty="0">
                  <a:solidFill>
                    <a:srgbClr val="002060"/>
                  </a:solidFill>
                  <a:latin typeface="Arial" panose="020B0604020202020204" pitchFamily="34" charset="0"/>
                  <a:cs typeface="Arial" panose="020B0604020202020204" pitchFamily="34" charset="0"/>
                </a:rPr>
                <a:t>BONE LAYER</a:t>
              </a:r>
            </a:p>
          </p:txBody>
        </p:sp>
        <p:pic>
          <p:nvPicPr>
            <p:cNvPr id="33" name="Immagin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89670" y="4219334"/>
              <a:ext cx="1903333" cy="1427500"/>
            </a:xfrm>
            <a:prstGeom prst="rect">
              <a:avLst/>
            </a:prstGeom>
          </p:spPr>
        </p:pic>
        <p:pic>
          <p:nvPicPr>
            <p:cNvPr id="34" name="Immagine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4376" y="4202520"/>
              <a:ext cx="1869736" cy="1407591"/>
            </a:xfrm>
            <a:prstGeom prst="rect">
              <a:avLst/>
            </a:prstGeom>
          </p:spPr>
        </p:pic>
      </p:grpSp>
      <p:sp>
        <p:nvSpPr>
          <p:cNvPr id="35" name="CasellaDiTesto 34"/>
          <p:cNvSpPr txBox="1"/>
          <p:nvPr/>
        </p:nvSpPr>
        <p:spPr>
          <a:xfrm>
            <a:off x="323528" y="227425"/>
            <a:ext cx="7992888" cy="533223"/>
          </a:xfrm>
          <a:prstGeom prst="rect">
            <a:avLst/>
          </a:prstGeom>
        </p:spPr>
        <p:txBody>
          <a:bodyPr>
            <a:normAutofit lnSpcReduction="10000"/>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914400" eaLnBrk="1" hangingPunct="1">
              <a:lnSpc>
                <a:spcPct val="90000"/>
              </a:lnSpc>
              <a:spcBef>
                <a:spcPct val="0"/>
              </a:spcBef>
              <a:defRPr sz="4800" b="1" kern="1200">
                <a:solidFill>
                  <a:srgbClr val="002060"/>
                </a:solidFill>
                <a:latin typeface="Arial" panose="020B0604020202020204" pitchFamily="34" charset="0"/>
                <a:cs typeface="Arial" panose="020B0604020202020204" pitchFamily="34" charset="0"/>
              </a:defRPr>
            </a:lvl1pPr>
          </a:lstStyle>
          <a:p>
            <a:r>
              <a:rPr lang="it-IT" sz="1875" dirty="0"/>
              <a:t>IN-VITRO MODELS OF BONE CELLS</a:t>
            </a:r>
          </a:p>
          <a:p>
            <a:pPr marL="214313" indent="-214313">
              <a:buFont typeface="Arial" panose="020B0604020202020204" pitchFamily="34" charset="0"/>
              <a:buChar char="•"/>
            </a:pPr>
            <a:r>
              <a:rPr lang="it-IT" sz="1650" dirty="0"/>
              <a:t>PRIMARY HUMAN OSTEOCLASTS</a:t>
            </a:r>
          </a:p>
        </p:txBody>
      </p:sp>
    </p:spTree>
    <p:extLst>
      <p:ext uri="{BB962C8B-B14F-4D97-AF65-F5344CB8AC3E}">
        <p14:creationId xmlns:p14="http://schemas.microsoft.com/office/powerpoint/2010/main" val="8665201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o 1"/>
          <p:cNvGrpSpPr/>
          <p:nvPr/>
        </p:nvGrpSpPr>
        <p:grpSpPr>
          <a:xfrm>
            <a:off x="326845" y="1944389"/>
            <a:ext cx="8436110" cy="3766502"/>
            <a:chOff x="14083" y="1425388"/>
            <a:chExt cx="12168390" cy="4857345"/>
          </a:xfrm>
        </p:grpSpPr>
        <p:pic>
          <p:nvPicPr>
            <p:cNvPr id="36" name="Immagine 35"/>
            <p:cNvPicPr>
              <a:picLocks noChangeAspect="1"/>
            </p:cNvPicPr>
            <p:nvPr/>
          </p:nvPicPr>
          <p:blipFill>
            <a:blip r:embed="rId2"/>
            <a:stretch>
              <a:fillRect/>
            </a:stretch>
          </p:blipFill>
          <p:spPr>
            <a:xfrm>
              <a:off x="14083" y="1626031"/>
              <a:ext cx="2043951" cy="1532963"/>
            </a:xfrm>
            <a:prstGeom prst="rect">
              <a:avLst/>
            </a:prstGeom>
          </p:spPr>
        </p:pic>
        <p:pic>
          <p:nvPicPr>
            <p:cNvPr id="37" name="Immagine 36"/>
            <p:cNvPicPr>
              <a:picLocks noChangeAspect="1"/>
            </p:cNvPicPr>
            <p:nvPr/>
          </p:nvPicPr>
          <p:blipFill>
            <a:blip r:embed="rId3"/>
            <a:stretch>
              <a:fillRect/>
            </a:stretch>
          </p:blipFill>
          <p:spPr>
            <a:xfrm>
              <a:off x="2519972" y="1593617"/>
              <a:ext cx="1718611" cy="1282991"/>
            </a:xfrm>
            <a:prstGeom prst="rect">
              <a:avLst/>
            </a:prstGeom>
          </p:spPr>
        </p:pic>
        <p:grpSp>
          <p:nvGrpSpPr>
            <p:cNvPr id="38" name="Gruppo 37"/>
            <p:cNvGrpSpPr/>
            <p:nvPr/>
          </p:nvGrpSpPr>
          <p:grpSpPr>
            <a:xfrm>
              <a:off x="5118398" y="1478708"/>
              <a:ext cx="1258417" cy="1594936"/>
              <a:chOff x="5610388" y="781868"/>
              <a:chExt cx="2543175" cy="3045313"/>
            </a:xfrm>
          </p:grpSpPr>
          <p:pic>
            <p:nvPicPr>
              <p:cNvPr id="39" name="Immagine 38"/>
              <p:cNvPicPr>
                <a:picLocks noChangeAspect="1"/>
              </p:cNvPicPr>
              <p:nvPr/>
            </p:nvPicPr>
            <p:blipFill>
              <a:blip r:embed="rId4">
                <a:extLst>
                  <a:ext uri="{BEBA8EAE-BF5A-486C-A8C5-ECC9F3942E4B}">
                    <a14:imgProps xmlns:a14="http://schemas.microsoft.com/office/drawing/2010/main">
                      <a14:imgLayer r:embed="rId5">
                        <a14:imgEffect>
                          <a14:backgroundRemoval t="3679" b="95318" l="3371" r="97004"/>
                        </a14:imgEffect>
                      </a14:imgLayer>
                    </a14:imgProps>
                  </a:ext>
                </a:extLst>
              </a:blip>
              <a:stretch>
                <a:fillRect/>
              </a:stretch>
            </p:blipFill>
            <p:spPr>
              <a:xfrm>
                <a:off x="5610388" y="781868"/>
                <a:ext cx="2543175" cy="2847975"/>
              </a:xfrm>
              <a:prstGeom prst="rect">
                <a:avLst/>
              </a:prstGeom>
            </p:spPr>
          </p:pic>
          <p:pic>
            <p:nvPicPr>
              <p:cNvPr id="40" name="Immagine 39"/>
              <p:cNvPicPr>
                <a:picLocks noChangeAspect="1"/>
              </p:cNvPicPr>
              <p:nvPr/>
            </p:nvPicPr>
            <p:blipFill>
              <a:blip r:embed="rId6"/>
              <a:stretch>
                <a:fillRect/>
              </a:stretch>
            </p:blipFill>
            <p:spPr>
              <a:xfrm rot="1417427">
                <a:off x="7182908" y="2711219"/>
                <a:ext cx="628650" cy="733425"/>
              </a:xfrm>
              <a:prstGeom prst="rect">
                <a:avLst/>
              </a:prstGeom>
            </p:spPr>
          </p:pic>
          <p:pic>
            <p:nvPicPr>
              <p:cNvPr id="41" name="Immagine 40"/>
              <p:cNvPicPr>
                <a:picLocks noChangeAspect="1"/>
              </p:cNvPicPr>
              <p:nvPr/>
            </p:nvPicPr>
            <p:blipFill>
              <a:blip r:embed="rId7"/>
              <a:stretch>
                <a:fillRect/>
              </a:stretch>
            </p:blipFill>
            <p:spPr>
              <a:xfrm rot="1417427">
                <a:off x="6452503" y="2763606"/>
                <a:ext cx="409575" cy="628650"/>
              </a:xfrm>
              <a:prstGeom prst="rect">
                <a:avLst/>
              </a:prstGeom>
            </p:spPr>
          </p:pic>
          <p:pic>
            <p:nvPicPr>
              <p:cNvPr id="42" name="Immagine 41"/>
              <p:cNvPicPr>
                <a:picLocks noChangeAspect="1"/>
              </p:cNvPicPr>
              <p:nvPr/>
            </p:nvPicPr>
            <p:blipFill>
              <a:blip r:embed="rId8"/>
              <a:stretch>
                <a:fillRect/>
              </a:stretch>
            </p:blipFill>
            <p:spPr>
              <a:xfrm rot="1417427">
                <a:off x="5993233" y="2950881"/>
                <a:ext cx="923925" cy="876300"/>
              </a:xfrm>
              <a:prstGeom prst="rect">
                <a:avLst/>
              </a:prstGeom>
            </p:spPr>
          </p:pic>
          <p:pic>
            <p:nvPicPr>
              <p:cNvPr id="43" name="Immagine 42"/>
              <p:cNvPicPr>
                <a:picLocks noChangeAspect="1"/>
              </p:cNvPicPr>
              <p:nvPr/>
            </p:nvPicPr>
            <p:blipFill>
              <a:blip r:embed="rId9"/>
              <a:stretch>
                <a:fillRect/>
              </a:stretch>
            </p:blipFill>
            <p:spPr>
              <a:xfrm rot="1417427">
                <a:off x="6866999" y="2778736"/>
                <a:ext cx="457200" cy="495300"/>
              </a:xfrm>
              <a:prstGeom prst="rect">
                <a:avLst/>
              </a:prstGeom>
            </p:spPr>
          </p:pic>
        </p:grpSp>
        <p:grpSp>
          <p:nvGrpSpPr>
            <p:cNvPr id="44" name="Gruppo 43"/>
            <p:cNvGrpSpPr/>
            <p:nvPr/>
          </p:nvGrpSpPr>
          <p:grpSpPr>
            <a:xfrm>
              <a:off x="7350568" y="1948198"/>
              <a:ext cx="1306172" cy="1188249"/>
              <a:chOff x="8980828" y="1291548"/>
              <a:chExt cx="2806700" cy="1921038"/>
            </a:xfrm>
          </p:grpSpPr>
          <p:grpSp>
            <p:nvGrpSpPr>
              <p:cNvPr id="45" name="Gruppo 44"/>
              <p:cNvGrpSpPr/>
              <p:nvPr/>
            </p:nvGrpSpPr>
            <p:grpSpPr>
              <a:xfrm>
                <a:off x="8980828" y="1695682"/>
                <a:ext cx="2806700" cy="977265"/>
                <a:chOff x="3441700" y="4820285"/>
                <a:chExt cx="2806700" cy="977265"/>
              </a:xfrm>
            </p:grpSpPr>
            <p:grpSp>
              <p:nvGrpSpPr>
                <p:cNvPr id="51" name="Gruppo 50"/>
                <p:cNvGrpSpPr/>
                <p:nvPr/>
              </p:nvGrpSpPr>
              <p:grpSpPr>
                <a:xfrm>
                  <a:off x="3441700" y="4820285"/>
                  <a:ext cx="2806700" cy="967740"/>
                  <a:chOff x="3441700" y="4823460"/>
                  <a:chExt cx="2806700" cy="967740"/>
                </a:xfrm>
              </p:grpSpPr>
              <p:sp>
                <p:nvSpPr>
                  <p:cNvPr id="56" name="Ovale 55"/>
                  <p:cNvSpPr/>
                  <p:nvPr/>
                </p:nvSpPr>
                <p:spPr>
                  <a:xfrm>
                    <a:off x="3441700" y="5041900"/>
                    <a:ext cx="2806700" cy="749300"/>
                  </a:xfrm>
                  <a:prstGeom prst="ellipse">
                    <a:avLst/>
                  </a:prstGeom>
                  <a:solidFill>
                    <a:srgbClr val="E15B51"/>
                  </a:solidFill>
                  <a:ln>
                    <a:solidFill>
                      <a:srgbClr val="E15B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sp>
                <p:nvSpPr>
                  <p:cNvPr id="57" name="Ovale 56"/>
                  <p:cNvSpPr/>
                  <p:nvPr/>
                </p:nvSpPr>
                <p:spPr>
                  <a:xfrm>
                    <a:off x="3441700" y="4823460"/>
                    <a:ext cx="2806700" cy="749300"/>
                  </a:xfrm>
                  <a:prstGeom prst="ellipse">
                    <a:avLst/>
                  </a:prstGeom>
                  <a:solidFill>
                    <a:srgbClr val="E15B51"/>
                  </a:solidFill>
                  <a:ln>
                    <a:solidFill>
                      <a:srgbClr val="E15B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sp>
                <p:nvSpPr>
                  <p:cNvPr id="58" name="Rettangolo 57"/>
                  <p:cNvSpPr/>
                  <p:nvPr/>
                </p:nvSpPr>
                <p:spPr>
                  <a:xfrm>
                    <a:off x="3441700" y="5232400"/>
                    <a:ext cx="2806700" cy="167482"/>
                  </a:xfrm>
                  <a:prstGeom prst="rect">
                    <a:avLst/>
                  </a:prstGeom>
                  <a:solidFill>
                    <a:srgbClr val="E15B51"/>
                  </a:solidFill>
                  <a:ln>
                    <a:solidFill>
                      <a:srgbClr val="E15B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grpSp>
            <p:sp>
              <p:nvSpPr>
                <p:cNvPr id="52" name="Ovale 51"/>
                <p:cNvSpPr/>
                <p:nvPr/>
              </p:nvSpPr>
              <p:spPr>
                <a:xfrm>
                  <a:off x="3441700" y="5048250"/>
                  <a:ext cx="2806700" cy="7493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sp>
              <p:nvSpPr>
                <p:cNvPr id="53" name="Ovale 52"/>
                <p:cNvSpPr/>
                <p:nvPr/>
              </p:nvSpPr>
              <p:spPr>
                <a:xfrm>
                  <a:off x="3441700" y="4826000"/>
                  <a:ext cx="2806700" cy="7493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cxnSp>
              <p:nvCxnSpPr>
                <p:cNvPr id="54" name="Connettore 1 53"/>
                <p:cNvCxnSpPr>
                  <a:stCxn id="53" idx="6"/>
                  <a:endCxn id="56" idx="6"/>
                </p:cNvCxnSpPr>
                <p:nvPr/>
              </p:nvCxnSpPr>
              <p:spPr>
                <a:xfrm>
                  <a:off x="6248400" y="5200650"/>
                  <a:ext cx="0" cy="2127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Connettore 1 54"/>
                <p:cNvCxnSpPr>
                  <a:stCxn id="53" idx="2"/>
                  <a:endCxn id="52" idx="2"/>
                </p:cNvCxnSpPr>
                <p:nvPr/>
              </p:nvCxnSpPr>
              <p:spPr>
                <a:xfrm>
                  <a:off x="3441700" y="5200650"/>
                  <a:ext cx="0" cy="2222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 name="Gruppo 45"/>
              <p:cNvGrpSpPr/>
              <p:nvPr/>
            </p:nvGrpSpPr>
            <p:grpSpPr>
              <a:xfrm rot="2648316">
                <a:off x="9541337" y="1291548"/>
                <a:ext cx="1639091" cy="1921038"/>
                <a:chOff x="7456106" y="4228509"/>
                <a:chExt cx="1639091" cy="1921038"/>
              </a:xfrm>
            </p:grpSpPr>
            <p:pic>
              <p:nvPicPr>
                <p:cNvPr id="47" name="Immagine 46"/>
                <p:cNvPicPr>
                  <a:picLocks noChangeAspect="1"/>
                </p:cNvPicPr>
                <p:nvPr/>
              </p:nvPicPr>
              <p:blipFill>
                <a:blip r:embed="rId6"/>
                <a:stretch>
                  <a:fillRect/>
                </a:stretch>
              </p:blipFill>
              <p:spPr>
                <a:xfrm>
                  <a:off x="8466547" y="4228509"/>
                  <a:ext cx="628650" cy="733425"/>
                </a:xfrm>
                <a:prstGeom prst="rect">
                  <a:avLst/>
                </a:prstGeom>
              </p:spPr>
            </p:pic>
            <p:pic>
              <p:nvPicPr>
                <p:cNvPr id="48" name="Immagine 47"/>
                <p:cNvPicPr>
                  <a:picLocks noChangeAspect="1"/>
                </p:cNvPicPr>
                <p:nvPr/>
              </p:nvPicPr>
              <p:blipFill>
                <a:blip r:embed="rId7"/>
                <a:stretch>
                  <a:fillRect/>
                </a:stretch>
              </p:blipFill>
              <p:spPr>
                <a:xfrm>
                  <a:off x="7808911" y="4949826"/>
                  <a:ext cx="409575" cy="628650"/>
                </a:xfrm>
                <a:prstGeom prst="rect">
                  <a:avLst/>
                </a:prstGeom>
              </p:spPr>
            </p:pic>
            <p:pic>
              <p:nvPicPr>
                <p:cNvPr id="49" name="Immagine 48"/>
                <p:cNvPicPr>
                  <a:picLocks noChangeAspect="1"/>
                </p:cNvPicPr>
                <p:nvPr/>
              </p:nvPicPr>
              <p:blipFill>
                <a:blip r:embed="rId8"/>
                <a:stretch>
                  <a:fillRect/>
                </a:stretch>
              </p:blipFill>
              <p:spPr>
                <a:xfrm>
                  <a:off x="7456106" y="5273247"/>
                  <a:ext cx="923925" cy="876300"/>
                </a:xfrm>
                <a:prstGeom prst="rect">
                  <a:avLst/>
                </a:prstGeom>
              </p:spPr>
            </p:pic>
            <p:pic>
              <p:nvPicPr>
                <p:cNvPr id="50" name="Immagine 49"/>
                <p:cNvPicPr>
                  <a:picLocks noChangeAspect="1"/>
                </p:cNvPicPr>
                <p:nvPr/>
              </p:nvPicPr>
              <p:blipFill>
                <a:blip r:embed="rId9"/>
                <a:stretch>
                  <a:fillRect/>
                </a:stretch>
              </p:blipFill>
              <p:spPr>
                <a:xfrm>
                  <a:off x="8118473" y="4645025"/>
                  <a:ext cx="457200" cy="495300"/>
                </a:xfrm>
                <a:prstGeom prst="rect">
                  <a:avLst/>
                </a:prstGeom>
              </p:spPr>
            </p:pic>
          </p:grpSp>
        </p:grpSp>
        <p:grpSp>
          <p:nvGrpSpPr>
            <p:cNvPr id="59" name="Gruppo 58"/>
            <p:cNvGrpSpPr/>
            <p:nvPr/>
          </p:nvGrpSpPr>
          <p:grpSpPr>
            <a:xfrm>
              <a:off x="9711434" y="1626031"/>
              <a:ext cx="2471039" cy="1644353"/>
              <a:chOff x="8799446" y="4314883"/>
              <a:chExt cx="2965103" cy="1963738"/>
            </a:xfrm>
          </p:grpSpPr>
          <p:pic>
            <p:nvPicPr>
              <p:cNvPr id="60" name="Immagine 59"/>
              <p:cNvPicPr>
                <a:picLocks noChangeAspect="1"/>
              </p:cNvPicPr>
              <p:nvPr/>
            </p:nvPicPr>
            <p:blipFill rotWithShape="1">
              <a:blip r:embed="rId10">
                <a:extLst>
                  <a:ext uri="{BEBA8EAE-BF5A-486C-A8C5-ECC9F3942E4B}">
                    <a14:imgProps xmlns:a14="http://schemas.microsoft.com/office/drawing/2010/main">
                      <a14:imgLayer r:embed="rId11">
                        <a14:imgEffect>
                          <a14:brightnessContrast bright="-20000" contrast="40000"/>
                        </a14:imgEffect>
                      </a14:imgLayer>
                    </a14:imgProps>
                  </a:ext>
                </a:extLst>
              </a:blip>
              <a:srcRect r="50241" b="51505"/>
              <a:stretch/>
            </p:blipFill>
            <p:spPr>
              <a:xfrm flipH="1">
                <a:off x="8799446" y="4314883"/>
                <a:ext cx="2965103" cy="1963738"/>
              </a:xfrm>
              <a:prstGeom prst="rect">
                <a:avLst/>
              </a:prstGeom>
            </p:spPr>
          </p:pic>
          <p:sp>
            <p:nvSpPr>
              <p:cNvPr id="61" name="Figura a mano libera 60"/>
              <p:cNvSpPr/>
              <p:nvPr/>
            </p:nvSpPr>
            <p:spPr>
              <a:xfrm>
                <a:off x="10536406" y="4675162"/>
                <a:ext cx="762000" cy="1016000"/>
              </a:xfrm>
              <a:custGeom>
                <a:avLst/>
                <a:gdLst>
                  <a:gd name="connsiteX0" fmla="*/ 762000 w 762000"/>
                  <a:gd name="connsiteY0" fmla="*/ 0 h 1016000"/>
                  <a:gd name="connsiteX1" fmla="*/ 609600 w 762000"/>
                  <a:gd name="connsiteY1" fmla="*/ 596900 h 1016000"/>
                  <a:gd name="connsiteX2" fmla="*/ 0 w 762000"/>
                  <a:gd name="connsiteY2" fmla="*/ 1016000 h 1016000"/>
                </a:gdLst>
                <a:ahLst/>
                <a:cxnLst>
                  <a:cxn ang="0">
                    <a:pos x="connsiteX0" y="connsiteY0"/>
                  </a:cxn>
                  <a:cxn ang="0">
                    <a:pos x="connsiteX1" y="connsiteY1"/>
                  </a:cxn>
                  <a:cxn ang="0">
                    <a:pos x="connsiteX2" y="connsiteY2"/>
                  </a:cxn>
                </a:cxnLst>
                <a:rect l="l" t="t" r="r" b="b"/>
                <a:pathLst>
                  <a:path w="762000" h="1016000">
                    <a:moveTo>
                      <a:pt x="762000" y="0"/>
                    </a:moveTo>
                    <a:cubicBezTo>
                      <a:pt x="749300" y="213783"/>
                      <a:pt x="736600" y="427567"/>
                      <a:pt x="609600" y="596900"/>
                    </a:cubicBezTo>
                    <a:cubicBezTo>
                      <a:pt x="482600" y="766233"/>
                      <a:pt x="241300" y="891116"/>
                      <a:pt x="0" y="1016000"/>
                    </a:cubicBezTo>
                  </a:path>
                </a:pathLst>
              </a:custGeom>
              <a:noFill/>
              <a:ln w="38100">
                <a:solidFill>
                  <a:schemeClr val="bg1"/>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grpSp>
        <p:sp>
          <p:nvSpPr>
            <p:cNvPr id="62" name="Ovale 61"/>
            <p:cNvSpPr/>
            <p:nvPr/>
          </p:nvSpPr>
          <p:spPr>
            <a:xfrm>
              <a:off x="900953" y="1425388"/>
              <a:ext cx="1264023" cy="122012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sp>
          <p:nvSpPr>
            <p:cNvPr id="63" name="Figura a mano libera 62"/>
            <p:cNvSpPr/>
            <p:nvPr/>
          </p:nvSpPr>
          <p:spPr>
            <a:xfrm rot="408714">
              <a:off x="2138844" y="1923014"/>
              <a:ext cx="719267" cy="256732"/>
            </a:xfrm>
            <a:custGeom>
              <a:avLst/>
              <a:gdLst>
                <a:gd name="connsiteX0" fmla="*/ 0 w 1511300"/>
                <a:gd name="connsiteY0" fmla="*/ 0 h 461422"/>
                <a:gd name="connsiteX1" fmla="*/ 546100 w 1511300"/>
                <a:gd name="connsiteY1" fmla="*/ 438150 h 461422"/>
                <a:gd name="connsiteX2" fmla="*/ 1511300 w 1511300"/>
                <a:gd name="connsiteY2" fmla="*/ 361950 h 461422"/>
              </a:gdLst>
              <a:ahLst/>
              <a:cxnLst>
                <a:cxn ang="0">
                  <a:pos x="connsiteX0" y="connsiteY0"/>
                </a:cxn>
                <a:cxn ang="0">
                  <a:pos x="connsiteX1" y="connsiteY1"/>
                </a:cxn>
                <a:cxn ang="0">
                  <a:pos x="connsiteX2" y="connsiteY2"/>
                </a:cxn>
              </a:cxnLst>
              <a:rect l="l" t="t" r="r" b="b"/>
              <a:pathLst>
                <a:path w="1511300" h="461422">
                  <a:moveTo>
                    <a:pt x="0" y="0"/>
                  </a:moveTo>
                  <a:cubicBezTo>
                    <a:pt x="147108" y="188912"/>
                    <a:pt x="294217" y="377825"/>
                    <a:pt x="546100" y="438150"/>
                  </a:cubicBezTo>
                  <a:cubicBezTo>
                    <a:pt x="797983" y="498475"/>
                    <a:pt x="1154641" y="430212"/>
                    <a:pt x="1511300" y="361950"/>
                  </a:cubicBezTo>
                </a:path>
              </a:pathLst>
            </a:custGeom>
            <a:noFill/>
            <a:ln>
              <a:solidFill>
                <a:srgbClr val="FF0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sp>
          <p:nvSpPr>
            <p:cNvPr id="64" name="Figura a mano libera 63"/>
            <p:cNvSpPr/>
            <p:nvPr/>
          </p:nvSpPr>
          <p:spPr>
            <a:xfrm>
              <a:off x="3846859" y="2223223"/>
              <a:ext cx="1386963" cy="233951"/>
            </a:xfrm>
            <a:custGeom>
              <a:avLst/>
              <a:gdLst>
                <a:gd name="connsiteX0" fmla="*/ 0 w 1511300"/>
                <a:gd name="connsiteY0" fmla="*/ 0 h 461422"/>
                <a:gd name="connsiteX1" fmla="*/ 546100 w 1511300"/>
                <a:gd name="connsiteY1" fmla="*/ 438150 h 461422"/>
                <a:gd name="connsiteX2" fmla="*/ 1511300 w 1511300"/>
                <a:gd name="connsiteY2" fmla="*/ 361950 h 461422"/>
              </a:gdLst>
              <a:ahLst/>
              <a:cxnLst>
                <a:cxn ang="0">
                  <a:pos x="connsiteX0" y="connsiteY0"/>
                </a:cxn>
                <a:cxn ang="0">
                  <a:pos x="connsiteX1" y="connsiteY1"/>
                </a:cxn>
                <a:cxn ang="0">
                  <a:pos x="connsiteX2" y="connsiteY2"/>
                </a:cxn>
              </a:cxnLst>
              <a:rect l="l" t="t" r="r" b="b"/>
              <a:pathLst>
                <a:path w="1511300" h="461422">
                  <a:moveTo>
                    <a:pt x="0" y="0"/>
                  </a:moveTo>
                  <a:cubicBezTo>
                    <a:pt x="147108" y="188912"/>
                    <a:pt x="294217" y="377825"/>
                    <a:pt x="546100" y="438150"/>
                  </a:cubicBezTo>
                  <a:cubicBezTo>
                    <a:pt x="797983" y="498475"/>
                    <a:pt x="1154641" y="430212"/>
                    <a:pt x="1511300" y="361950"/>
                  </a:cubicBezTo>
                </a:path>
              </a:pathLst>
            </a:custGeom>
            <a:noFill/>
            <a:ln>
              <a:solidFill>
                <a:srgbClr val="FF0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sp>
          <p:nvSpPr>
            <p:cNvPr id="65" name="CasellaDiTesto 64"/>
            <p:cNvSpPr txBox="1"/>
            <p:nvPr/>
          </p:nvSpPr>
          <p:spPr>
            <a:xfrm>
              <a:off x="3916002" y="1839701"/>
              <a:ext cx="1422466" cy="565603"/>
            </a:xfrm>
            <a:prstGeom prst="rect">
              <a:avLst/>
            </a:prstGeom>
            <a:noFill/>
          </p:spPr>
          <p:txBody>
            <a:bodyPr wrap="none" rtlCol="0">
              <a:spAutoFit/>
            </a:bodyPr>
            <a:lstStyle/>
            <a:p>
              <a:pPr algn="ctr"/>
              <a:r>
                <a:rPr lang="it-IT" sz="1125" b="1" dirty="0">
                  <a:solidFill>
                    <a:srgbClr val="002060"/>
                  </a:solidFill>
                  <a:latin typeface="Arial" panose="020B0604020202020204" pitchFamily="34" charset="0"/>
                  <a:cs typeface="Arial" panose="020B0604020202020204" pitchFamily="34" charset="0"/>
                </a:rPr>
                <a:t>CHEMICAL </a:t>
              </a:r>
            </a:p>
            <a:p>
              <a:pPr algn="ctr"/>
              <a:r>
                <a:rPr lang="it-IT" sz="1125" b="1" dirty="0">
                  <a:solidFill>
                    <a:srgbClr val="002060"/>
                  </a:solidFill>
                  <a:latin typeface="Arial" panose="020B0604020202020204" pitchFamily="34" charset="0"/>
                  <a:cs typeface="Arial" panose="020B0604020202020204" pitchFamily="34" charset="0"/>
                </a:rPr>
                <a:t>DIGESTION</a:t>
              </a:r>
            </a:p>
          </p:txBody>
        </p:sp>
        <p:sp>
          <p:nvSpPr>
            <p:cNvPr id="66" name="Figura a mano libera 65"/>
            <p:cNvSpPr/>
            <p:nvPr/>
          </p:nvSpPr>
          <p:spPr>
            <a:xfrm rot="499997">
              <a:off x="6257467" y="2310674"/>
              <a:ext cx="1047750" cy="310535"/>
            </a:xfrm>
            <a:custGeom>
              <a:avLst/>
              <a:gdLst>
                <a:gd name="connsiteX0" fmla="*/ 0 w 1047750"/>
                <a:gd name="connsiteY0" fmla="*/ 615378 h 615378"/>
                <a:gd name="connsiteX1" fmla="*/ 431800 w 1047750"/>
                <a:gd name="connsiteY1" fmla="*/ 43878 h 615378"/>
                <a:gd name="connsiteX2" fmla="*/ 1047750 w 1047750"/>
                <a:gd name="connsiteY2" fmla="*/ 81978 h 615378"/>
              </a:gdLst>
              <a:ahLst/>
              <a:cxnLst>
                <a:cxn ang="0">
                  <a:pos x="connsiteX0" y="connsiteY0"/>
                </a:cxn>
                <a:cxn ang="0">
                  <a:pos x="connsiteX1" y="connsiteY1"/>
                </a:cxn>
                <a:cxn ang="0">
                  <a:pos x="connsiteX2" y="connsiteY2"/>
                </a:cxn>
              </a:cxnLst>
              <a:rect l="l" t="t" r="r" b="b"/>
              <a:pathLst>
                <a:path w="1047750" h="615378">
                  <a:moveTo>
                    <a:pt x="0" y="615378"/>
                  </a:moveTo>
                  <a:cubicBezTo>
                    <a:pt x="128587" y="374078"/>
                    <a:pt x="257175" y="132778"/>
                    <a:pt x="431800" y="43878"/>
                  </a:cubicBezTo>
                  <a:cubicBezTo>
                    <a:pt x="606425" y="-45022"/>
                    <a:pt x="827087" y="18478"/>
                    <a:pt x="1047750" y="81978"/>
                  </a:cubicBezTo>
                </a:path>
              </a:pathLst>
            </a:custGeom>
            <a:noFill/>
            <a:ln>
              <a:solidFill>
                <a:srgbClr val="FF0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sp>
          <p:nvSpPr>
            <p:cNvPr id="67" name="CasellaDiTesto 66"/>
            <p:cNvSpPr txBox="1"/>
            <p:nvPr/>
          </p:nvSpPr>
          <p:spPr>
            <a:xfrm>
              <a:off x="6236632" y="2493033"/>
              <a:ext cx="1202807" cy="342338"/>
            </a:xfrm>
            <a:prstGeom prst="rect">
              <a:avLst/>
            </a:prstGeom>
            <a:noFill/>
          </p:spPr>
          <p:txBody>
            <a:bodyPr wrap="none" rtlCol="0">
              <a:spAutoFit/>
            </a:bodyPr>
            <a:lstStyle/>
            <a:p>
              <a:pPr algn="ctr"/>
              <a:r>
                <a:rPr lang="it-IT" sz="1125" b="1" dirty="0">
                  <a:solidFill>
                    <a:srgbClr val="002060"/>
                  </a:solidFill>
                  <a:latin typeface="Arial" panose="020B0604020202020204" pitchFamily="34" charset="0"/>
                  <a:cs typeface="Arial" panose="020B0604020202020204" pitchFamily="34" charset="0"/>
                </a:rPr>
                <a:t>SEEDING</a:t>
              </a:r>
            </a:p>
          </p:txBody>
        </p:sp>
        <p:sp>
          <p:nvSpPr>
            <p:cNvPr id="68" name="Figura a mano libera 67"/>
            <p:cNvSpPr/>
            <p:nvPr/>
          </p:nvSpPr>
          <p:spPr>
            <a:xfrm rot="16200000" flipH="1">
              <a:off x="9177444" y="2193450"/>
              <a:ext cx="63140" cy="951870"/>
            </a:xfrm>
            <a:custGeom>
              <a:avLst/>
              <a:gdLst>
                <a:gd name="connsiteX0" fmla="*/ 31750 w 266868"/>
                <a:gd name="connsiteY0" fmla="*/ 0 h 1409700"/>
                <a:gd name="connsiteX1" fmla="*/ 266700 w 266868"/>
                <a:gd name="connsiteY1" fmla="*/ 704850 h 1409700"/>
                <a:gd name="connsiteX2" fmla="*/ 0 w 266868"/>
                <a:gd name="connsiteY2" fmla="*/ 1409700 h 1409700"/>
              </a:gdLst>
              <a:ahLst/>
              <a:cxnLst>
                <a:cxn ang="0">
                  <a:pos x="connsiteX0" y="connsiteY0"/>
                </a:cxn>
                <a:cxn ang="0">
                  <a:pos x="connsiteX1" y="connsiteY1"/>
                </a:cxn>
                <a:cxn ang="0">
                  <a:pos x="connsiteX2" y="connsiteY2"/>
                </a:cxn>
              </a:cxnLst>
              <a:rect l="l" t="t" r="r" b="b"/>
              <a:pathLst>
                <a:path w="266868" h="1409700">
                  <a:moveTo>
                    <a:pt x="31750" y="0"/>
                  </a:moveTo>
                  <a:cubicBezTo>
                    <a:pt x="151871" y="234950"/>
                    <a:pt x="271992" y="469900"/>
                    <a:pt x="266700" y="704850"/>
                  </a:cubicBezTo>
                  <a:cubicBezTo>
                    <a:pt x="261408" y="939800"/>
                    <a:pt x="130704" y="1174750"/>
                    <a:pt x="0" y="1409700"/>
                  </a:cubicBezTo>
                </a:path>
              </a:pathLst>
            </a:custGeom>
            <a:noFill/>
            <a:ln>
              <a:solidFill>
                <a:srgbClr val="FF0000"/>
              </a:solidFill>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125">
                <a:solidFill>
                  <a:srgbClr val="002060"/>
                </a:solidFill>
                <a:latin typeface="Arial" panose="020B0604020202020204" pitchFamily="34" charset="0"/>
                <a:cs typeface="Arial" panose="020B0604020202020204" pitchFamily="34" charset="0"/>
              </a:endParaRPr>
            </a:p>
          </p:txBody>
        </p:sp>
        <p:sp>
          <p:nvSpPr>
            <p:cNvPr id="69" name="CasellaDiTesto 68"/>
            <p:cNvSpPr txBox="1"/>
            <p:nvPr/>
          </p:nvSpPr>
          <p:spPr>
            <a:xfrm>
              <a:off x="8288801" y="1800099"/>
              <a:ext cx="1526514" cy="565603"/>
            </a:xfrm>
            <a:prstGeom prst="rect">
              <a:avLst/>
            </a:prstGeom>
            <a:noFill/>
          </p:spPr>
          <p:txBody>
            <a:bodyPr wrap="none" rtlCol="0">
              <a:spAutoFit/>
            </a:bodyPr>
            <a:lstStyle/>
            <a:p>
              <a:pPr algn="ctr"/>
              <a:r>
                <a:rPr lang="it-IT" sz="1125" b="1" dirty="0">
                  <a:solidFill>
                    <a:srgbClr val="002060"/>
                  </a:solidFill>
                  <a:latin typeface="Arial" panose="020B0604020202020204" pitchFamily="34" charset="0"/>
                  <a:cs typeface="Arial" panose="020B0604020202020204" pitchFamily="34" charset="0"/>
                </a:rPr>
                <a:t>CELLULAR </a:t>
              </a:r>
            </a:p>
            <a:p>
              <a:pPr algn="ctr"/>
              <a:r>
                <a:rPr lang="it-IT" sz="1125" b="1" dirty="0">
                  <a:solidFill>
                    <a:srgbClr val="002060"/>
                  </a:solidFill>
                  <a:latin typeface="Arial" panose="020B0604020202020204" pitchFamily="34" charset="0"/>
                  <a:cs typeface="Arial" panose="020B0604020202020204" pitchFamily="34" charset="0"/>
                </a:rPr>
                <a:t>OUTGROWN</a:t>
              </a:r>
            </a:p>
          </p:txBody>
        </p:sp>
        <p:sp>
          <p:nvSpPr>
            <p:cNvPr id="71" name="CasellaDiTesto 70"/>
            <p:cNvSpPr txBox="1"/>
            <p:nvPr/>
          </p:nvSpPr>
          <p:spPr>
            <a:xfrm>
              <a:off x="1722623" y="3503664"/>
              <a:ext cx="2515961" cy="640189"/>
            </a:xfrm>
            <a:prstGeom prst="rect">
              <a:avLst/>
            </a:prstGeom>
            <a:noFill/>
          </p:spPr>
          <p:txBody>
            <a:bodyPr wrap="square" rtlCol="0">
              <a:spAutoFit/>
            </a:bodyPr>
            <a:lstStyle/>
            <a:p>
              <a:pPr algn="ctr"/>
              <a:r>
                <a:rPr lang="it-IT" sz="1313" b="1" dirty="0">
                  <a:solidFill>
                    <a:srgbClr val="002060"/>
                  </a:solidFill>
                  <a:latin typeface="Arial" panose="020B0604020202020204" pitchFamily="34" charset="0"/>
                  <a:cs typeface="Arial" panose="020B0604020202020204" pitchFamily="34" charset="0"/>
                </a:rPr>
                <a:t>DIFFERENTIATION (ALP ASSAY)</a:t>
              </a:r>
            </a:p>
          </p:txBody>
        </p:sp>
        <p:sp>
          <p:nvSpPr>
            <p:cNvPr id="72" name="CasellaDiTesto 71"/>
            <p:cNvSpPr txBox="1"/>
            <p:nvPr/>
          </p:nvSpPr>
          <p:spPr>
            <a:xfrm>
              <a:off x="7084509" y="3534442"/>
              <a:ext cx="2996726" cy="640189"/>
            </a:xfrm>
            <a:prstGeom prst="rect">
              <a:avLst/>
            </a:prstGeom>
            <a:noFill/>
          </p:spPr>
          <p:txBody>
            <a:bodyPr wrap="square" rtlCol="0">
              <a:spAutoFit/>
            </a:bodyPr>
            <a:lstStyle/>
            <a:p>
              <a:pPr algn="ctr"/>
              <a:r>
                <a:rPr lang="it-IT" sz="1313" b="1" dirty="0">
                  <a:solidFill>
                    <a:srgbClr val="002060"/>
                  </a:solidFill>
                  <a:latin typeface="Arial" panose="020B0604020202020204" pitchFamily="34" charset="0"/>
                  <a:cs typeface="Arial" panose="020B0604020202020204" pitchFamily="34" charset="0"/>
                </a:rPr>
                <a:t>ACTIVITY </a:t>
              </a:r>
            </a:p>
            <a:p>
              <a:pPr algn="ctr"/>
              <a:r>
                <a:rPr lang="it-IT" sz="1313" b="1" dirty="0">
                  <a:solidFill>
                    <a:srgbClr val="002060"/>
                  </a:solidFill>
                  <a:latin typeface="Arial" panose="020B0604020202020204" pitchFamily="34" charset="0"/>
                  <a:cs typeface="Arial" panose="020B0604020202020204" pitchFamily="34" charset="0"/>
                </a:rPr>
                <a:t>(ALIZARIN RED ASSAY)</a:t>
              </a:r>
            </a:p>
          </p:txBody>
        </p:sp>
        <p:sp>
          <p:nvSpPr>
            <p:cNvPr id="73" name="CasellaDiTesto 72"/>
            <p:cNvSpPr txBox="1"/>
            <p:nvPr/>
          </p:nvSpPr>
          <p:spPr>
            <a:xfrm>
              <a:off x="5890517" y="5939438"/>
              <a:ext cx="2358906" cy="342338"/>
            </a:xfrm>
            <a:prstGeom prst="rect">
              <a:avLst/>
            </a:prstGeom>
            <a:noFill/>
          </p:spPr>
          <p:txBody>
            <a:bodyPr wrap="none" rtlCol="0">
              <a:spAutoFit/>
            </a:bodyPr>
            <a:lstStyle/>
            <a:p>
              <a:pPr algn="ctr"/>
              <a:r>
                <a:rPr lang="it-IT" sz="1125" b="1" dirty="0">
                  <a:solidFill>
                    <a:srgbClr val="002060"/>
                  </a:solidFill>
                  <a:latin typeface="Arial" panose="020B0604020202020204" pitchFamily="34" charset="0"/>
                  <a:cs typeface="Arial" panose="020B0604020202020204" pitchFamily="34" charset="0"/>
                </a:rPr>
                <a:t>UNDIFFERENTIATED</a:t>
              </a:r>
            </a:p>
          </p:txBody>
        </p:sp>
        <p:sp>
          <p:nvSpPr>
            <p:cNvPr id="74" name="CasellaDiTesto 73"/>
            <p:cNvSpPr txBox="1"/>
            <p:nvPr/>
          </p:nvSpPr>
          <p:spPr>
            <a:xfrm>
              <a:off x="577882" y="5939437"/>
              <a:ext cx="2358906" cy="342338"/>
            </a:xfrm>
            <a:prstGeom prst="rect">
              <a:avLst/>
            </a:prstGeom>
            <a:noFill/>
          </p:spPr>
          <p:txBody>
            <a:bodyPr wrap="none" rtlCol="0">
              <a:spAutoFit/>
            </a:bodyPr>
            <a:lstStyle/>
            <a:p>
              <a:pPr algn="ctr"/>
              <a:r>
                <a:rPr lang="it-IT" sz="1125" b="1" dirty="0">
                  <a:solidFill>
                    <a:srgbClr val="002060"/>
                  </a:solidFill>
                  <a:latin typeface="Arial" panose="020B0604020202020204" pitchFamily="34" charset="0"/>
                  <a:cs typeface="Arial" panose="020B0604020202020204" pitchFamily="34" charset="0"/>
                </a:rPr>
                <a:t>UNDIFFERENTIATED</a:t>
              </a:r>
            </a:p>
          </p:txBody>
        </p:sp>
        <p:sp>
          <p:nvSpPr>
            <p:cNvPr id="75" name="CasellaDiTesto 74"/>
            <p:cNvSpPr txBox="1"/>
            <p:nvPr/>
          </p:nvSpPr>
          <p:spPr>
            <a:xfrm>
              <a:off x="3384491" y="5940395"/>
              <a:ext cx="2058321" cy="342338"/>
            </a:xfrm>
            <a:prstGeom prst="rect">
              <a:avLst/>
            </a:prstGeom>
            <a:noFill/>
          </p:spPr>
          <p:txBody>
            <a:bodyPr wrap="none" rtlCol="0">
              <a:spAutoFit/>
            </a:bodyPr>
            <a:lstStyle/>
            <a:p>
              <a:pPr algn="ctr"/>
              <a:r>
                <a:rPr lang="it-IT" sz="1125" b="1" dirty="0">
                  <a:solidFill>
                    <a:srgbClr val="002060"/>
                  </a:solidFill>
                  <a:latin typeface="Arial" panose="020B0604020202020204" pitchFamily="34" charset="0"/>
                  <a:cs typeface="Arial" panose="020B0604020202020204" pitchFamily="34" charset="0"/>
                </a:rPr>
                <a:t>DIFFERENTIATED</a:t>
              </a:r>
            </a:p>
          </p:txBody>
        </p:sp>
        <p:sp>
          <p:nvSpPr>
            <p:cNvPr id="76" name="CasellaDiTesto 75"/>
            <p:cNvSpPr txBox="1"/>
            <p:nvPr/>
          </p:nvSpPr>
          <p:spPr>
            <a:xfrm>
              <a:off x="8691660" y="5939437"/>
              <a:ext cx="2058321" cy="342338"/>
            </a:xfrm>
            <a:prstGeom prst="rect">
              <a:avLst/>
            </a:prstGeom>
            <a:noFill/>
          </p:spPr>
          <p:txBody>
            <a:bodyPr wrap="none" rtlCol="0">
              <a:spAutoFit/>
            </a:bodyPr>
            <a:lstStyle/>
            <a:p>
              <a:pPr algn="ctr"/>
              <a:r>
                <a:rPr lang="it-IT" sz="1125" b="1" dirty="0">
                  <a:solidFill>
                    <a:srgbClr val="002060"/>
                  </a:solidFill>
                  <a:latin typeface="Arial" panose="020B0604020202020204" pitchFamily="34" charset="0"/>
                  <a:cs typeface="Arial" panose="020B0604020202020204" pitchFamily="34" charset="0"/>
                </a:rPr>
                <a:t>DIFFERENTIATED</a:t>
              </a:r>
            </a:p>
          </p:txBody>
        </p:sp>
        <p:pic>
          <p:nvPicPr>
            <p:cNvPr id="77" name="Immagine 7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63450" y="4286025"/>
              <a:ext cx="2011603" cy="1511246"/>
            </a:xfrm>
            <a:prstGeom prst="rect">
              <a:avLst/>
            </a:prstGeom>
          </p:spPr>
        </p:pic>
        <p:pic>
          <p:nvPicPr>
            <p:cNvPr id="78" name="Immagine 7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40175" y="4285631"/>
              <a:ext cx="2018309" cy="1512033"/>
            </a:xfrm>
            <a:prstGeom prst="rect">
              <a:avLst/>
            </a:prstGeom>
          </p:spPr>
        </p:pic>
        <p:pic>
          <p:nvPicPr>
            <p:cNvPr id="79" name="Immagine 78"/>
            <p:cNvPicPr>
              <a:picLocks noChangeAspect="1"/>
            </p:cNvPicPr>
            <p:nvPr/>
          </p:nvPicPr>
          <p:blipFill rotWithShape="1">
            <a:blip r:embed="rId14"/>
            <a:srcRect l="39217" t="23712" r="26884" b="31595"/>
            <a:stretch/>
          </p:blipFill>
          <p:spPr>
            <a:xfrm>
              <a:off x="6125340" y="4285631"/>
              <a:ext cx="2018981" cy="1496561"/>
            </a:xfrm>
            <a:prstGeom prst="rect">
              <a:avLst/>
            </a:prstGeom>
          </p:spPr>
        </p:pic>
        <p:pic>
          <p:nvPicPr>
            <p:cNvPr id="80" name="Immagine 79"/>
            <p:cNvPicPr>
              <a:picLocks noChangeAspect="1"/>
            </p:cNvPicPr>
            <p:nvPr/>
          </p:nvPicPr>
          <p:blipFill rotWithShape="1">
            <a:blip r:embed="rId15" cstate="print"/>
            <a:srcRect l="19890" t="6985" r="19856" b="12316"/>
            <a:stretch/>
          </p:blipFill>
          <p:spPr>
            <a:xfrm>
              <a:off x="8811177" y="4291306"/>
              <a:ext cx="1999949" cy="1505965"/>
            </a:xfrm>
            <a:prstGeom prst="rect">
              <a:avLst/>
            </a:prstGeom>
          </p:spPr>
        </p:pic>
      </p:grpSp>
      <p:sp>
        <p:nvSpPr>
          <p:cNvPr id="70" name="CasellaDiTesto 69"/>
          <p:cNvSpPr txBox="1"/>
          <p:nvPr/>
        </p:nvSpPr>
        <p:spPr>
          <a:xfrm>
            <a:off x="400342" y="259947"/>
            <a:ext cx="7653039" cy="533223"/>
          </a:xfrm>
          <a:prstGeom prst="rect">
            <a:avLst/>
          </a:prstGeom>
        </p:spPr>
        <p:txBody>
          <a:bodyPr>
            <a:normAutofit lnSpcReduction="10000"/>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914400" eaLnBrk="1" hangingPunct="1">
              <a:lnSpc>
                <a:spcPct val="90000"/>
              </a:lnSpc>
              <a:spcBef>
                <a:spcPct val="0"/>
              </a:spcBef>
              <a:defRPr sz="4800" b="1" kern="1200">
                <a:solidFill>
                  <a:srgbClr val="002060"/>
                </a:solidFill>
                <a:latin typeface="Arial" panose="020B0604020202020204" pitchFamily="34" charset="0"/>
                <a:cs typeface="Arial" panose="020B0604020202020204" pitchFamily="34" charset="0"/>
              </a:defRPr>
            </a:lvl1pPr>
          </a:lstStyle>
          <a:p>
            <a:r>
              <a:rPr lang="it-IT" sz="1875" dirty="0"/>
              <a:t>IN-VITRO MODELS OF BONE CELLS</a:t>
            </a:r>
          </a:p>
          <a:p>
            <a:pPr marL="214313" indent="-214313">
              <a:buFont typeface="Arial" panose="020B0604020202020204" pitchFamily="34" charset="0"/>
              <a:buChar char="•"/>
            </a:pPr>
            <a:r>
              <a:rPr lang="it-IT" sz="1650" dirty="0"/>
              <a:t>PRIMARY HUMAN OSTEOBLASTS</a:t>
            </a:r>
          </a:p>
        </p:txBody>
      </p:sp>
    </p:spTree>
    <p:extLst>
      <p:ext uri="{BB962C8B-B14F-4D97-AF65-F5344CB8AC3E}">
        <p14:creationId xmlns:p14="http://schemas.microsoft.com/office/powerpoint/2010/main" val="15172146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asellaDiTesto 19"/>
          <p:cNvSpPr txBox="1"/>
          <p:nvPr/>
        </p:nvSpPr>
        <p:spPr>
          <a:xfrm>
            <a:off x="201184" y="260648"/>
            <a:ext cx="4383380" cy="533223"/>
          </a:xfrm>
          <a:prstGeom prst="rect">
            <a:avLst/>
          </a:prstGeom>
        </p:spPr>
        <p:txBody>
          <a:bodyPr>
            <a:norm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defTabSz="914400" eaLnBrk="1" hangingPunct="1">
              <a:lnSpc>
                <a:spcPct val="90000"/>
              </a:lnSpc>
              <a:spcBef>
                <a:spcPct val="0"/>
              </a:spcBef>
              <a:defRPr sz="4800" b="1" kern="1200">
                <a:solidFill>
                  <a:srgbClr val="002060"/>
                </a:solidFill>
                <a:latin typeface="Arial" panose="020B0604020202020204" pitchFamily="34" charset="0"/>
                <a:cs typeface="Arial" panose="020B0604020202020204" pitchFamily="34" charset="0"/>
              </a:defRPr>
            </a:lvl1pPr>
          </a:lstStyle>
          <a:p>
            <a:r>
              <a:rPr lang="it-IT" sz="1875" dirty="0"/>
              <a:t>IN-VITRO COCOLTURE SYSTEMS</a:t>
            </a:r>
          </a:p>
        </p:txBody>
      </p:sp>
      <p:grpSp>
        <p:nvGrpSpPr>
          <p:cNvPr id="21" name="Gruppo 20"/>
          <p:cNvGrpSpPr/>
          <p:nvPr/>
        </p:nvGrpSpPr>
        <p:grpSpPr>
          <a:xfrm>
            <a:off x="330770" y="1860084"/>
            <a:ext cx="8010869" cy="3981042"/>
            <a:chOff x="87028" y="1535214"/>
            <a:chExt cx="10386274" cy="4641676"/>
          </a:xfrm>
        </p:grpSpPr>
        <p:sp>
          <p:nvSpPr>
            <p:cNvPr id="22" name="CasellaDiTesto 21"/>
            <p:cNvSpPr txBox="1"/>
            <p:nvPr/>
          </p:nvSpPr>
          <p:spPr>
            <a:xfrm>
              <a:off x="87028" y="1535214"/>
              <a:ext cx="4963886" cy="410511"/>
            </a:xfrm>
            <a:prstGeom prst="rect">
              <a:avLst/>
            </a:prstGeom>
            <a:noFill/>
          </p:spPr>
          <p:txBody>
            <a:bodyPr wrap="square" rtlCol="0">
              <a:spAutoFit/>
            </a:bodyPr>
            <a:lstStyle/>
            <a:p>
              <a:pPr defTabSz="342900">
                <a:defRPr/>
              </a:pPr>
              <a:r>
                <a:rPr lang="it-IT" sz="1688" b="1" dirty="0">
                  <a:solidFill>
                    <a:srgbClr val="002060"/>
                  </a:solidFill>
                  <a:latin typeface="Arial" panose="020B0604020202020204" pitchFamily="34" charset="0"/>
                  <a:cs typeface="Arial" panose="020B0604020202020204" pitchFamily="34" charset="0"/>
                </a:rPr>
                <a:t>Direct </a:t>
              </a:r>
              <a:r>
                <a:rPr lang="it-IT" sz="1688" b="1" dirty="0" err="1">
                  <a:solidFill>
                    <a:srgbClr val="002060"/>
                  </a:solidFill>
                  <a:latin typeface="Arial" panose="020B0604020202020204" pitchFamily="34" charset="0"/>
                  <a:cs typeface="Arial" panose="020B0604020202020204" pitchFamily="34" charset="0"/>
                </a:rPr>
                <a:t>cocultures</a:t>
              </a:r>
              <a:r>
                <a:rPr lang="it-IT" sz="1688" b="1" dirty="0">
                  <a:solidFill>
                    <a:srgbClr val="002060"/>
                  </a:solidFill>
                  <a:latin typeface="Arial" panose="020B0604020202020204" pitchFamily="34" charset="0"/>
                  <a:cs typeface="Arial" panose="020B0604020202020204" pitchFamily="34" charset="0"/>
                </a:rPr>
                <a:t>:</a:t>
              </a:r>
            </a:p>
          </p:txBody>
        </p:sp>
        <p:sp>
          <p:nvSpPr>
            <p:cNvPr id="23" name="CasellaDiTesto 22"/>
            <p:cNvSpPr txBox="1"/>
            <p:nvPr/>
          </p:nvSpPr>
          <p:spPr>
            <a:xfrm>
              <a:off x="2568971" y="1618656"/>
              <a:ext cx="3440359" cy="376793"/>
            </a:xfrm>
            <a:prstGeom prst="rect">
              <a:avLst/>
            </a:prstGeom>
            <a:noFill/>
          </p:spPr>
          <p:txBody>
            <a:bodyPr wrap="square" rtlCol="0">
              <a:spAutoFit/>
            </a:bodyPr>
            <a:lstStyle/>
            <a:p>
              <a:pPr marL="107156" indent="-107156" defTabSz="342900">
                <a:buFont typeface="Arial" panose="020B0604020202020204" pitchFamily="34" charset="0"/>
                <a:buChar char="•"/>
                <a:defRPr/>
              </a:pPr>
              <a:r>
                <a:rPr lang="it-IT" sz="1500" dirty="0" err="1">
                  <a:solidFill>
                    <a:srgbClr val="002060"/>
                  </a:solidFill>
                  <a:latin typeface="Arial" panose="020B0604020202020204" pitchFamily="34" charset="0"/>
                  <a:cs typeface="Arial" panose="020B0604020202020204" pitchFamily="34" charset="0"/>
                </a:rPr>
                <a:t>Osteoblasts</a:t>
              </a:r>
              <a:r>
                <a:rPr lang="it-IT" sz="1500" dirty="0">
                  <a:solidFill>
                    <a:srgbClr val="002060"/>
                  </a:solidFill>
                  <a:latin typeface="Arial" panose="020B0604020202020204" pitchFamily="34" charset="0"/>
                  <a:cs typeface="Arial" panose="020B0604020202020204" pitchFamily="34" charset="0"/>
                </a:rPr>
                <a:t>/ </a:t>
              </a:r>
              <a:r>
                <a:rPr lang="it-IT" sz="1500" dirty="0" err="1">
                  <a:solidFill>
                    <a:srgbClr val="002060"/>
                  </a:solidFill>
                  <a:latin typeface="Arial" panose="020B0604020202020204" pitchFamily="34" charset="0"/>
                  <a:cs typeface="Arial" panose="020B0604020202020204" pitchFamily="34" charset="0"/>
                </a:rPr>
                <a:t>Osteoclasts</a:t>
              </a:r>
              <a:endParaRPr lang="it-IT" sz="1500" dirty="0">
                <a:solidFill>
                  <a:srgbClr val="002060"/>
                </a:solidFill>
                <a:latin typeface="Arial" panose="020B0604020202020204" pitchFamily="34" charset="0"/>
                <a:cs typeface="Arial" panose="020B0604020202020204" pitchFamily="34" charset="0"/>
              </a:endParaRPr>
            </a:p>
          </p:txBody>
        </p:sp>
        <p:sp>
          <p:nvSpPr>
            <p:cNvPr id="24" name="CasellaDiTesto 23"/>
            <p:cNvSpPr txBox="1"/>
            <p:nvPr/>
          </p:nvSpPr>
          <p:spPr>
            <a:xfrm>
              <a:off x="6626431" y="1676032"/>
              <a:ext cx="3496420" cy="376793"/>
            </a:xfrm>
            <a:prstGeom prst="rect">
              <a:avLst/>
            </a:prstGeom>
            <a:noFill/>
          </p:spPr>
          <p:txBody>
            <a:bodyPr wrap="square" rtlCol="0">
              <a:spAutoFit/>
            </a:bodyPr>
            <a:lstStyle/>
            <a:p>
              <a:pPr marL="107156" indent="-107156" defTabSz="342900">
                <a:buFont typeface="Arial" panose="020B0604020202020204" pitchFamily="34" charset="0"/>
                <a:buChar char="•"/>
                <a:defRPr/>
              </a:pPr>
              <a:r>
                <a:rPr lang="it-IT" sz="1500" dirty="0" err="1">
                  <a:solidFill>
                    <a:srgbClr val="002060"/>
                  </a:solidFill>
                  <a:latin typeface="Arial" panose="020B0604020202020204" pitchFamily="34" charset="0"/>
                  <a:cs typeface="Arial" panose="020B0604020202020204" pitchFamily="34" charset="0"/>
                </a:rPr>
                <a:t>Osteoblasts</a:t>
              </a:r>
              <a:r>
                <a:rPr lang="it-IT" sz="1500" dirty="0">
                  <a:solidFill>
                    <a:srgbClr val="002060"/>
                  </a:solidFill>
                  <a:latin typeface="Arial" panose="020B0604020202020204" pitchFamily="34" charset="0"/>
                  <a:cs typeface="Arial" panose="020B0604020202020204" pitchFamily="34" charset="0"/>
                </a:rPr>
                <a:t>/ </a:t>
              </a:r>
              <a:r>
                <a:rPr lang="it-IT" sz="1500" dirty="0" err="1">
                  <a:solidFill>
                    <a:srgbClr val="002060"/>
                  </a:solidFill>
                  <a:latin typeface="Arial" panose="020B0604020202020204" pitchFamily="34" charset="0"/>
                  <a:cs typeface="Arial" panose="020B0604020202020204" pitchFamily="34" charset="0"/>
                </a:rPr>
                <a:t>Cancer</a:t>
              </a:r>
              <a:r>
                <a:rPr lang="it-IT" sz="1500" dirty="0">
                  <a:solidFill>
                    <a:srgbClr val="002060"/>
                  </a:solidFill>
                  <a:latin typeface="Arial" panose="020B0604020202020204" pitchFamily="34" charset="0"/>
                  <a:cs typeface="Arial" panose="020B0604020202020204" pitchFamily="34" charset="0"/>
                </a:rPr>
                <a:t> </a:t>
              </a:r>
              <a:r>
                <a:rPr lang="it-IT" sz="1500" dirty="0" err="1">
                  <a:solidFill>
                    <a:srgbClr val="002060"/>
                  </a:solidFill>
                  <a:latin typeface="Arial" panose="020B0604020202020204" pitchFamily="34" charset="0"/>
                  <a:cs typeface="Arial" panose="020B0604020202020204" pitchFamily="34" charset="0"/>
                </a:rPr>
                <a:t>cells</a:t>
              </a:r>
              <a:endParaRPr lang="it-IT" sz="1500" dirty="0">
                <a:solidFill>
                  <a:srgbClr val="002060"/>
                </a:solidFill>
                <a:latin typeface="Arial" panose="020B0604020202020204" pitchFamily="34" charset="0"/>
                <a:cs typeface="Arial" panose="020B0604020202020204" pitchFamily="34" charset="0"/>
              </a:endParaRPr>
            </a:p>
          </p:txBody>
        </p:sp>
        <p:pic>
          <p:nvPicPr>
            <p:cNvPr id="2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160" r="62362" b="55777"/>
            <a:stretch/>
          </p:blipFill>
          <p:spPr bwMode="auto">
            <a:xfrm>
              <a:off x="6626431" y="2702654"/>
              <a:ext cx="3846871" cy="3474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CasellaDiTesto 25"/>
            <p:cNvSpPr txBox="1"/>
            <p:nvPr/>
          </p:nvSpPr>
          <p:spPr>
            <a:xfrm>
              <a:off x="7393225" y="2161811"/>
              <a:ext cx="2427266" cy="349879"/>
            </a:xfrm>
            <a:prstGeom prst="rect">
              <a:avLst/>
            </a:prstGeom>
            <a:noFill/>
          </p:spPr>
          <p:txBody>
            <a:bodyPr wrap="square" rtlCol="0">
              <a:spAutoFit/>
            </a:bodyPr>
            <a:lstStyle/>
            <a:p>
              <a:pPr defTabSz="342900">
                <a:defRPr/>
              </a:pPr>
              <a:r>
                <a:rPr lang="it-IT" sz="1350" dirty="0">
                  <a:solidFill>
                    <a:srgbClr val="002060"/>
                  </a:solidFill>
                  <a:latin typeface="Arial" panose="020B0604020202020204" pitchFamily="34" charset="0"/>
                  <a:cs typeface="Arial" panose="020B0604020202020204" pitchFamily="34" charset="0"/>
                </a:rPr>
                <a:t>Prostate </a:t>
              </a:r>
              <a:r>
                <a:rPr lang="it-IT" sz="1350" dirty="0" err="1">
                  <a:solidFill>
                    <a:srgbClr val="002060"/>
                  </a:solidFill>
                  <a:latin typeface="Arial" panose="020B0604020202020204" pitchFamily="34" charset="0"/>
                  <a:cs typeface="Arial" panose="020B0604020202020204" pitchFamily="34" charset="0"/>
                </a:rPr>
                <a:t>cancer</a:t>
              </a:r>
              <a:r>
                <a:rPr lang="it-IT" sz="1350" dirty="0">
                  <a:solidFill>
                    <a:srgbClr val="002060"/>
                  </a:solidFill>
                  <a:latin typeface="Arial" panose="020B0604020202020204" pitchFamily="34" charset="0"/>
                  <a:cs typeface="Arial" panose="020B0604020202020204" pitchFamily="34" charset="0"/>
                </a:rPr>
                <a:t> </a:t>
              </a:r>
              <a:r>
                <a:rPr lang="it-IT" sz="1350" dirty="0" err="1">
                  <a:solidFill>
                    <a:srgbClr val="002060"/>
                  </a:solidFill>
                  <a:latin typeface="Arial" panose="020B0604020202020204" pitchFamily="34" charset="0"/>
                  <a:cs typeface="Arial" panose="020B0604020202020204" pitchFamily="34" charset="0"/>
                </a:rPr>
                <a:t>cell</a:t>
              </a:r>
              <a:endParaRPr lang="it-IT" sz="1350" dirty="0">
                <a:solidFill>
                  <a:srgbClr val="002060"/>
                </a:solidFill>
                <a:latin typeface="Arial" panose="020B0604020202020204" pitchFamily="34" charset="0"/>
                <a:cs typeface="Arial" panose="020B0604020202020204" pitchFamily="34" charset="0"/>
              </a:endParaRPr>
            </a:p>
          </p:txBody>
        </p:sp>
        <p:sp>
          <p:nvSpPr>
            <p:cNvPr id="27" name="Rettangolo 26"/>
            <p:cNvSpPr/>
            <p:nvPr/>
          </p:nvSpPr>
          <p:spPr>
            <a:xfrm>
              <a:off x="2716856" y="2274082"/>
              <a:ext cx="331150" cy="118711"/>
            </a:xfrm>
            <a:prstGeom prst="rect">
              <a:avLst/>
            </a:prstGeom>
            <a:solidFill>
              <a:srgbClr val="7C3849"/>
            </a:solidFill>
            <a:ln w="12700" cap="flat" cmpd="sng" algn="ctr">
              <a:solidFill>
                <a:sysClr val="windowText" lastClr="000000"/>
              </a:solidFill>
              <a:prstDash val="solid"/>
              <a:miter lim="800000"/>
            </a:ln>
            <a:effectLst/>
          </p:spPr>
          <p:txBody>
            <a:bodyPr rtlCol="0" anchor="ctr"/>
            <a:lstStyle/>
            <a:p>
              <a:pPr defTabSz="342900">
                <a:defRPr/>
              </a:pPr>
              <a:endParaRPr lang="it-IT" sz="1500">
                <a:solidFill>
                  <a:srgbClr val="002060"/>
                </a:solidFill>
                <a:latin typeface="Arial" panose="020B0604020202020204" pitchFamily="34" charset="0"/>
                <a:cs typeface="Arial" panose="020B0604020202020204" pitchFamily="34" charset="0"/>
              </a:endParaRPr>
            </a:p>
          </p:txBody>
        </p:sp>
        <p:sp>
          <p:nvSpPr>
            <p:cNvPr id="28" name="Rettangolo 27"/>
            <p:cNvSpPr/>
            <p:nvPr/>
          </p:nvSpPr>
          <p:spPr>
            <a:xfrm>
              <a:off x="2716856" y="2526808"/>
              <a:ext cx="331150" cy="118711"/>
            </a:xfrm>
            <a:prstGeom prst="rect">
              <a:avLst/>
            </a:prstGeom>
            <a:solidFill>
              <a:srgbClr val="FEF3EE"/>
            </a:solidFill>
            <a:ln w="12700" cap="flat" cmpd="sng" algn="ctr">
              <a:solidFill>
                <a:sysClr val="windowText" lastClr="000000"/>
              </a:solidFill>
              <a:prstDash val="solid"/>
              <a:miter lim="800000"/>
            </a:ln>
            <a:effectLst/>
          </p:spPr>
          <p:txBody>
            <a:bodyPr rtlCol="0" anchor="ctr"/>
            <a:lstStyle/>
            <a:p>
              <a:pPr defTabSz="342900">
                <a:defRPr/>
              </a:pPr>
              <a:endParaRPr lang="it-IT" sz="1500">
                <a:solidFill>
                  <a:srgbClr val="002060"/>
                </a:solidFill>
                <a:latin typeface="Arial" panose="020B0604020202020204" pitchFamily="34" charset="0"/>
                <a:cs typeface="Arial" panose="020B0604020202020204" pitchFamily="34" charset="0"/>
              </a:endParaRPr>
            </a:p>
          </p:txBody>
        </p:sp>
        <p:sp>
          <p:nvSpPr>
            <p:cNvPr id="29" name="Rettangolo 28"/>
            <p:cNvSpPr/>
            <p:nvPr/>
          </p:nvSpPr>
          <p:spPr>
            <a:xfrm>
              <a:off x="6775938" y="2480677"/>
              <a:ext cx="331150" cy="118711"/>
            </a:xfrm>
            <a:prstGeom prst="rect">
              <a:avLst/>
            </a:prstGeom>
            <a:solidFill>
              <a:srgbClr val="B4B4B4"/>
            </a:solidFill>
            <a:ln w="12700" cap="flat" cmpd="sng" algn="ctr">
              <a:solidFill>
                <a:sysClr val="windowText" lastClr="000000"/>
              </a:solidFill>
              <a:prstDash val="solid"/>
              <a:miter lim="800000"/>
            </a:ln>
            <a:effectLst/>
          </p:spPr>
          <p:txBody>
            <a:bodyPr rtlCol="0" anchor="ctr"/>
            <a:lstStyle/>
            <a:p>
              <a:pPr defTabSz="342900">
                <a:defRPr/>
              </a:pPr>
              <a:endParaRPr lang="it-IT" sz="1500">
                <a:solidFill>
                  <a:srgbClr val="002060"/>
                </a:solidFill>
                <a:latin typeface="Arial" panose="020B0604020202020204" pitchFamily="34" charset="0"/>
                <a:cs typeface="Arial" panose="020B0604020202020204" pitchFamily="34" charset="0"/>
              </a:endParaRPr>
            </a:p>
          </p:txBody>
        </p:sp>
        <p:sp>
          <p:nvSpPr>
            <p:cNvPr id="30" name="Rettangolo 29"/>
            <p:cNvSpPr/>
            <p:nvPr/>
          </p:nvSpPr>
          <p:spPr>
            <a:xfrm>
              <a:off x="6775938" y="2232255"/>
              <a:ext cx="331150" cy="118711"/>
            </a:xfrm>
            <a:prstGeom prst="rect">
              <a:avLst/>
            </a:prstGeom>
            <a:solidFill>
              <a:srgbClr val="4FFF50"/>
            </a:solidFill>
            <a:ln w="12700" cap="flat" cmpd="sng" algn="ctr">
              <a:solidFill>
                <a:sysClr val="windowText" lastClr="000000"/>
              </a:solidFill>
              <a:prstDash val="solid"/>
              <a:miter lim="800000"/>
            </a:ln>
            <a:effectLst/>
          </p:spPr>
          <p:txBody>
            <a:bodyPr rtlCol="0" anchor="ctr"/>
            <a:lstStyle/>
            <a:p>
              <a:pPr defTabSz="342900">
                <a:defRPr/>
              </a:pPr>
              <a:endParaRPr lang="it-IT" sz="1500">
                <a:solidFill>
                  <a:srgbClr val="002060"/>
                </a:solidFill>
                <a:latin typeface="Arial" panose="020B0604020202020204" pitchFamily="34" charset="0"/>
                <a:cs typeface="Arial" panose="020B0604020202020204" pitchFamily="34" charset="0"/>
              </a:endParaRPr>
            </a:p>
          </p:txBody>
        </p:sp>
        <p:sp>
          <p:nvSpPr>
            <p:cNvPr id="31" name="CasellaDiTesto 30"/>
            <p:cNvSpPr txBox="1"/>
            <p:nvPr/>
          </p:nvSpPr>
          <p:spPr>
            <a:xfrm>
              <a:off x="7393225" y="2455168"/>
              <a:ext cx="2427266" cy="349879"/>
            </a:xfrm>
            <a:prstGeom prst="rect">
              <a:avLst/>
            </a:prstGeom>
            <a:noFill/>
          </p:spPr>
          <p:txBody>
            <a:bodyPr wrap="square" rtlCol="0">
              <a:spAutoFit/>
            </a:bodyPr>
            <a:lstStyle/>
            <a:p>
              <a:pPr defTabSz="342900">
                <a:defRPr/>
              </a:pPr>
              <a:r>
                <a:rPr lang="it-IT" sz="1350" dirty="0" err="1">
                  <a:solidFill>
                    <a:srgbClr val="002060"/>
                  </a:solidFill>
                  <a:latin typeface="Arial" panose="020B0604020202020204" pitchFamily="34" charset="0"/>
                  <a:cs typeface="Arial" panose="020B0604020202020204" pitchFamily="34" charset="0"/>
                </a:rPr>
                <a:t>Osteoblasts</a:t>
              </a:r>
              <a:endParaRPr lang="it-IT" sz="1350" dirty="0">
                <a:solidFill>
                  <a:srgbClr val="002060"/>
                </a:solidFill>
                <a:latin typeface="Arial" panose="020B0604020202020204" pitchFamily="34" charset="0"/>
                <a:cs typeface="Arial" panose="020B0604020202020204" pitchFamily="34" charset="0"/>
              </a:endParaRPr>
            </a:p>
          </p:txBody>
        </p:sp>
        <p:sp>
          <p:nvSpPr>
            <p:cNvPr id="32" name="CasellaDiTesto 31"/>
            <p:cNvSpPr txBox="1"/>
            <p:nvPr/>
          </p:nvSpPr>
          <p:spPr>
            <a:xfrm>
              <a:off x="3174903" y="2178296"/>
              <a:ext cx="2427266" cy="349879"/>
            </a:xfrm>
            <a:prstGeom prst="rect">
              <a:avLst/>
            </a:prstGeom>
            <a:noFill/>
          </p:spPr>
          <p:txBody>
            <a:bodyPr wrap="square" rtlCol="0">
              <a:spAutoFit/>
            </a:bodyPr>
            <a:lstStyle/>
            <a:p>
              <a:pPr defTabSz="342900">
                <a:defRPr/>
              </a:pPr>
              <a:r>
                <a:rPr lang="it-IT" sz="1350" dirty="0" err="1">
                  <a:solidFill>
                    <a:srgbClr val="002060"/>
                  </a:solidFill>
                  <a:latin typeface="Arial" panose="020B0604020202020204" pitchFamily="34" charset="0"/>
                  <a:cs typeface="Arial" panose="020B0604020202020204" pitchFamily="34" charset="0"/>
                </a:rPr>
                <a:t>Osteoclasts</a:t>
              </a:r>
              <a:endParaRPr lang="it-IT" sz="1350" dirty="0">
                <a:solidFill>
                  <a:srgbClr val="002060"/>
                </a:solidFill>
                <a:latin typeface="Arial" panose="020B0604020202020204" pitchFamily="34" charset="0"/>
                <a:cs typeface="Arial" panose="020B0604020202020204" pitchFamily="34" charset="0"/>
              </a:endParaRPr>
            </a:p>
          </p:txBody>
        </p:sp>
        <p:sp>
          <p:nvSpPr>
            <p:cNvPr id="33" name="CasellaDiTesto 32"/>
            <p:cNvSpPr txBox="1"/>
            <p:nvPr/>
          </p:nvSpPr>
          <p:spPr>
            <a:xfrm>
              <a:off x="3174903" y="2471653"/>
              <a:ext cx="2427266" cy="349879"/>
            </a:xfrm>
            <a:prstGeom prst="rect">
              <a:avLst/>
            </a:prstGeom>
            <a:noFill/>
          </p:spPr>
          <p:txBody>
            <a:bodyPr wrap="square" rtlCol="0">
              <a:spAutoFit/>
            </a:bodyPr>
            <a:lstStyle/>
            <a:p>
              <a:pPr defTabSz="342900">
                <a:defRPr/>
              </a:pPr>
              <a:r>
                <a:rPr lang="it-IT" sz="1350" dirty="0" err="1">
                  <a:solidFill>
                    <a:srgbClr val="002060"/>
                  </a:solidFill>
                  <a:latin typeface="Arial" panose="020B0604020202020204" pitchFamily="34" charset="0"/>
                  <a:cs typeface="Arial" panose="020B0604020202020204" pitchFamily="34" charset="0"/>
                </a:rPr>
                <a:t>Osteoblasts</a:t>
              </a:r>
              <a:endParaRPr lang="it-IT" sz="1350" dirty="0">
                <a:solidFill>
                  <a:srgbClr val="002060"/>
                </a:solidFill>
                <a:latin typeface="Arial" panose="020B0604020202020204" pitchFamily="34" charset="0"/>
                <a:cs typeface="Arial" panose="020B0604020202020204" pitchFamily="34" charset="0"/>
              </a:endParaRPr>
            </a:p>
          </p:txBody>
        </p:sp>
        <p:pic>
          <p:nvPicPr>
            <p:cNvPr id="34" name="Immagin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45601" y="3011580"/>
              <a:ext cx="3930379" cy="2947785"/>
            </a:xfrm>
            <a:prstGeom prst="rect">
              <a:avLst/>
            </a:prstGeom>
          </p:spPr>
        </p:pic>
      </p:grpSp>
    </p:spTree>
    <p:extLst>
      <p:ext uri="{BB962C8B-B14F-4D97-AF65-F5344CB8AC3E}">
        <p14:creationId xmlns:p14="http://schemas.microsoft.com/office/powerpoint/2010/main" val="6050081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9931" t="18759" r="8034" b="40621"/>
          <a:stretch/>
        </p:blipFill>
        <p:spPr bwMode="auto">
          <a:xfrm>
            <a:off x="853577" y="2400239"/>
            <a:ext cx="7436847" cy="19137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790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25888" y="116632"/>
            <a:ext cx="8568582" cy="707886"/>
          </a:xfrm>
          <a:prstGeom prst="rect">
            <a:avLst/>
          </a:prstGeom>
          <a:noFill/>
          <a:ln>
            <a:solidFill>
              <a:schemeClr val="bg1"/>
            </a:solidFill>
          </a:ln>
        </p:spPr>
        <p:txBody>
          <a:bodyPr wrap="square" rtlCol="0">
            <a:spAutoFit/>
          </a:bodyPr>
          <a:lstStyle/>
          <a:p>
            <a:r>
              <a:rPr lang="en-US" sz="2000" b="1" dirty="0" err="1">
                <a:solidFill>
                  <a:srgbClr val="002060"/>
                </a:solidFill>
                <a:latin typeface="Arial" panose="020B0604020202020204" pitchFamily="34" charset="0"/>
                <a:cs typeface="Arial" panose="020B0604020202020204" pitchFamily="34" charset="0"/>
              </a:rPr>
              <a:t>Abiraterone</a:t>
            </a:r>
            <a:r>
              <a:rPr lang="en-US" sz="2000" b="1" dirty="0">
                <a:solidFill>
                  <a:srgbClr val="002060"/>
                </a:solidFill>
                <a:latin typeface="Arial" panose="020B0604020202020204" pitchFamily="34" charset="0"/>
                <a:cs typeface="Arial" panose="020B0604020202020204" pitchFamily="34" charset="0"/>
              </a:rPr>
              <a:t> treatment inhibits osteoclast differentiation and activity both in presence and absence of steroids</a:t>
            </a:r>
          </a:p>
        </p:txBody>
      </p:sp>
      <p:pic>
        <p:nvPicPr>
          <p:cNvPr id="4" name="Immagine 3"/>
          <p:cNvPicPr>
            <a:picLocks noChangeAspect="1"/>
          </p:cNvPicPr>
          <p:nvPr/>
        </p:nvPicPr>
        <p:blipFill>
          <a:blip r:embed="rId2"/>
          <a:stretch>
            <a:fillRect/>
          </a:stretch>
        </p:blipFill>
        <p:spPr>
          <a:xfrm>
            <a:off x="438656" y="1755546"/>
            <a:ext cx="8104038" cy="3905702"/>
          </a:xfrm>
          <a:prstGeom prst="rect">
            <a:avLst/>
          </a:prstGeom>
          <a:solidFill>
            <a:schemeClr val="bg1"/>
          </a:solidFill>
        </p:spPr>
      </p:pic>
    </p:spTree>
    <p:extLst>
      <p:ext uri="{BB962C8B-B14F-4D97-AF65-F5344CB8AC3E}">
        <p14:creationId xmlns:p14="http://schemas.microsoft.com/office/powerpoint/2010/main" val="2016110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32360" y="6448"/>
            <a:ext cx="8564800" cy="707886"/>
          </a:xfrm>
          <a:prstGeom prst="rect">
            <a:avLst/>
          </a:prstGeom>
          <a:noFill/>
          <a:ln>
            <a:solidFill>
              <a:schemeClr val="bg1"/>
            </a:solidFill>
          </a:ln>
        </p:spPr>
        <p:txBody>
          <a:bodyPr wrap="square" rtlCol="0">
            <a:spAutoFit/>
          </a:bodyPr>
          <a:lstStyle/>
          <a:p>
            <a:r>
              <a:rPr lang="en-US" sz="2000" b="1" dirty="0" err="1">
                <a:solidFill>
                  <a:srgbClr val="002060"/>
                </a:solidFill>
                <a:latin typeface="Arial" panose="020B0604020202020204" pitchFamily="34" charset="0"/>
                <a:cs typeface="Arial" panose="020B0604020202020204" pitchFamily="34" charset="0"/>
              </a:rPr>
              <a:t>Abiraterone</a:t>
            </a:r>
            <a:r>
              <a:rPr lang="en-US" sz="2000" b="1" dirty="0">
                <a:solidFill>
                  <a:srgbClr val="002060"/>
                </a:solidFill>
                <a:latin typeface="Arial" panose="020B0604020202020204" pitchFamily="34" charset="0"/>
                <a:cs typeface="Arial" panose="020B0604020202020204" pitchFamily="34" charset="0"/>
              </a:rPr>
              <a:t> treatment increases osteoblast differentiation and activity  both in presence and absence of steroids</a:t>
            </a:r>
          </a:p>
        </p:txBody>
      </p:sp>
      <p:pic>
        <p:nvPicPr>
          <p:cNvPr id="4" name="Immagine 3"/>
          <p:cNvPicPr>
            <a:picLocks noChangeAspect="1"/>
          </p:cNvPicPr>
          <p:nvPr/>
        </p:nvPicPr>
        <p:blipFill>
          <a:blip r:embed="rId2"/>
          <a:stretch>
            <a:fillRect/>
          </a:stretch>
        </p:blipFill>
        <p:spPr>
          <a:xfrm>
            <a:off x="500898" y="1340768"/>
            <a:ext cx="7585346" cy="4176464"/>
          </a:xfrm>
          <a:prstGeom prst="rect">
            <a:avLst/>
          </a:prstGeom>
          <a:solidFill>
            <a:schemeClr val="bg1"/>
          </a:solidFill>
        </p:spPr>
      </p:pic>
    </p:spTree>
    <p:extLst>
      <p:ext uri="{BB962C8B-B14F-4D97-AF65-F5344CB8AC3E}">
        <p14:creationId xmlns:p14="http://schemas.microsoft.com/office/powerpoint/2010/main" val="1765518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rotWithShape="1">
          <a:blip r:embed="rId2"/>
          <a:srcRect l="22785" t="22978" r="23886" b="51007"/>
          <a:stretch/>
        </p:blipFill>
        <p:spPr>
          <a:xfrm>
            <a:off x="773042" y="2295245"/>
            <a:ext cx="7542283" cy="2180124"/>
          </a:xfrm>
          <a:prstGeom prst="rect">
            <a:avLst/>
          </a:prstGeom>
        </p:spPr>
      </p:pic>
    </p:spTree>
    <p:extLst>
      <p:ext uri="{BB962C8B-B14F-4D97-AF65-F5344CB8AC3E}">
        <p14:creationId xmlns:p14="http://schemas.microsoft.com/office/powerpoint/2010/main" val="1292164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o 14"/>
          <p:cNvGrpSpPr/>
          <p:nvPr/>
        </p:nvGrpSpPr>
        <p:grpSpPr>
          <a:xfrm>
            <a:off x="407939" y="1833370"/>
            <a:ext cx="5144550" cy="4010322"/>
            <a:chOff x="1087836" y="2602987"/>
            <a:chExt cx="13718800" cy="10694191"/>
          </a:xfrm>
        </p:grpSpPr>
        <p:sp>
          <p:nvSpPr>
            <p:cNvPr id="10" name="Rettangolo 9"/>
            <p:cNvSpPr/>
            <p:nvPr/>
          </p:nvSpPr>
          <p:spPr>
            <a:xfrm>
              <a:off x="1087836" y="6154827"/>
              <a:ext cx="13411022" cy="636712"/>
            </a:xfrm>
            <a:prstGeom prst="rect">
              <a:avLst/>
            </a:prstGeom>
            <a:solidFill>
              <a:schemeClr val="bg1"/>
            </a:solidFill>
            <a:ln w="12700" cap="flat">
              <a:solidFill>
                <a:schemeClr val="tx1"/>
              </a:solidFill>
              <a:miter lim="400000"/>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6789" tIns="26789" rIns="26789" bIns="26789" numCol="1" spcCol="38100" rtlCol="0" anchor="ctr">
              <a:spAutoFit/>
            </a:bodyPr>
            <a:lstStyle/>
            <a:p>
              <a:pPr algn="ctr" defTabSz="308074" hangingPunct="0"/>
              <a:endParaRPr lang="it-IT" sz="1200">
                <a:solidFill>
                  <a:srgbClr val="002060"/>
                </a:solidFill>
                <a:sym typeface="Helvetica Light"/>
              </a:endParaRPr>
            </a:p>
          </p:txBody>
        </p:sp>
        <p:sp>
          <p:nvSpPr>
            <p:cNvPr id="4" name="CasellaDiTesto 3"/>
            <p:cNvSpPr txBox="1"/>
            <p:nvPr/>
          </p:nvSpPr>
          <p:spPr>
            <a:xfrm>
              <a:off x="2587836" y="11573629"/>
              <a:ext cx="10411019" cy="1723549"/>
            </a:xfrm>
            <a:prstGeom prst="rect">
              <a:avLst/>
            </a:prstGeom>
            <a:noFill/>
            <a:ln>
              <a:solidFill>
                <a:schemeClr val="bg1"/>
              </a:solidFill>
            </a:ln>
          </p:spPr>
          <p:txBody>
            <a:bodyPr wrap="square" rtlCol="0">
              <a:spAutoFit/>
            </a:bodyPr>
            <a:lstStyle/>
            <a:p>
              <a:pPr algn="ctr"/>
              <a:r>
                <a:rPr lang="it-IT" b="1" dirty="0">
                  <a:solidFill>
                    <a:srgbClr val="002060"/>
                  </a:solidFill>
                  <a:latin typeface="Arial" pitchFamily="34" charset="0"/>
                  <a:cs typeface="Arial" pitchFamily="34" charset="0"/>
                </a:rPr>
                <a:t>Cabozantinib </a:t>
              </a:r>
              <a:r>
                <a:rPr lang="it-IT" b="1" dirty="0" err="1">
                  <a:solidFill>
                    <a:srgbClr val="002060"/>
                  </a:solidFill>
                  <a:latin typeface="Arial" pitchFamily="34" charset="0"/>
                  <a:cs typeface="Arial" pitchFamily="34" charset="0"/>
                </a:rPr>
                <a:t>inhibits</a:t>
              </a:r>
              <a:r>
                <a:rPr lang="it-IT" b="1" dirty="0">
                  <a:solidFill>
                    <a:srgbClr val="002060"/>
                  </a:solidFill>
                  <a:latin typeface="Arial" pitchFamily="34" charset="0"/>
                  <a:cs typeface="Arial" pitchFamily="34" charset="0"/>
                </a:rPr>
                <a:t> </a:t>
              </a:r>
              <a:r>
                <a:rPr lang="it-IT" b="1" dirty="0" err="1">
                  <a:solidFill>
                    <a:srgbClr val="002060"/>
                  </a:solidFill>
                  <a:latin typeface="Arial" pitchFamily="34" charset="0"/>
                  <a:cs typeface="Arial" pitchFamily="34" charset="0"/>
                </a:rPr>
                <a:t>osteoclast</a:t>
              </a:r>
              <a:r>
                <a:rPr lang="it-IT" b="1" dirty="0">
                  <a:solidFill>
                    <a:srgbClr val="002060"/>
                  </a:solidFill>
                  <a:latin typeface="Arial" pitchFamily="34" charset="0"/>
                  <a:cs typeface="Arial" pitchFamily="34" charset="0"/>
                </a:rPr>
                <a:t> </a:t>
              </a:r>
              <a:r>
                <a:rPr lang="it-IT" b="1" dirty="0" err="1">
                  <a:solidFill>
                    <a:srgbClr val="002060"/>
                  </a:solidFill>
                  <a:latin typeface="Arial" pitchFamily="34" charset="0"/>
                  <a:cs typeface="Arial" pitchFamily="34" charset="0"/>
                </a:rPr>
                <a:t>differentiation</a:t>
              </a:r>
              <a:r>
                <a:rPr lang="it-IT" b="1" dirty="0">
                  <a:solidFill>
                    <a:srgbClr val="002060"/>
                  </a:solidFill>
                  <a:latin typeface="Arial" pitchFamily="34" charset="0"/>
                  <a:cs typeface="Arial" pitchFamily="34" charset="0"/>
                </a:rPr>
                <a:t> and </a:t>
              </a:r>
              <a:r>
                <a:rPr lang="it-IT" b="1" dirty="0" err="1">
                  <a:solidFill>
                    <a:srgbClr val="002060"/>
                  </a:solidFill>
                  <a:latin typeface="Arial" pitchFamily="34" charset="0"/>
                  <a:cs typeface="Arial" pitchFamily="34" charset="0"/>
                </a:rPr>
                <a:t>activity</a:t>
              </a:r>
              <a:endParaRPr lang="it-IT" b="1" dirty="0">
                <a:solidFill>
                  <a:srgbClr val="002060"/>
                </a:solidFill>
                <a:latin typeface="Arial" pitchFamily="34" charset="0"/>
                <a:cs typeface="Arial" pitchFamily="34" charset="0"/>
              </a:endParaRPr>
            </a:p>
          </p:txBody>
        </p:sp>
        <p:sp>
          <p:nvSpPr>
            <p:cNvPr id="5" name="CasellaDiTesto 4"/>
            <p:cNvSpPr txBox="1"/>
            <p:nvPr/>
          </p:nvSpPr>
          <p:spPr>
            <a:xfrm>
              <a:off x="13634519" y="2630176"/>
              <a:ext cx="1172117" cy="430888"/>
            </a:xfrm>
            <a:prstGeom prst="rect">
              <a:avLst/>
            </a:prstGeom>
            <a:noFill/>
          </p:spPr>
          <p:txBody>
            <a:bodyPr wrap="none" rtlCol="0">
              <a:spAutoFit/>
            </a:bodyPr>
            <a:lstStyle/>
            <a:p>
              <a:r>
                <a:rPr lang="it-IT" sz="450" b="1" dirty="0">
                  <a:solidFill>
                    <a:srgbClr val="002060"/>
                  </a:solidFill>
                  <a:latin typeface="Arial" panose="020B0604020202020204" pitchFamily="34" charset="0"/>
                  <a:cs typeface="Arial" panose="020B0604020202020204" pitchFamily="34" charset="0"/>
                </a:rPr>
                <a:t>* P &lt; 0.05</a:t>
              </a:r>
            </a:p>
          </p:txBody>
        </p:sp>
        <p:pic>
          <p:nvPicPr>
            <p:cNvPr id="7" name="Immagine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87836" y="2602987"/>
              <a:ext cx="13411022" cy="7563912"/>
            </a:xfrm>
            <a:prstGeom prst="rect">
              <a:avLst/>
            </a:prstGeom>
            <a:noFill/>
            <a:ln w="12700">
              <a:noFill/>
            </a:ln>
          </p:spPr>
        </p:pic>
      </p:grpSp>
      <p:grpSp>
        <p:nvGrpSpPr>
          <p:cNvPr id="14" name="Gruppo 13"/>
          <p:cNvGrpSpPr/>
          <p:nvPr/>
        </p:nvGrpSpPr>
        <p:grpSpPr>
          <a:xfrm>
            <a:off x="5841432" y="1630316"/>
            <a:ext cx="3095905" cy="4374959"/>
            <a:chOff x="15577153" y="2061510"/>
            <a:chExt cx="8255746" cy="11666559"/>
          </a:xfrm>
        </p:grpSpPr>
        <p:sp>
          <p:nvSpPr>
            <p:cNvPr id="12" name="Rettangolo 11"/>
            <p:cNvSpPr/>
            <p:nvPr/>
          </p:nvSpPr>
          <p:spPr>
            <a:xfrm>
              <a:off x="15901630" y="6345326"/>
              <a:ext cx="7606791" cy="636712"/>
            </a:xfrm>
            <a:prstGeom prst="rect">
              <a:avLst/>
            </a:prstGeom>
            <a:solidFill>
              <a:schemeClr val="bg1"/>
            </a:solidFill>
            <a:ln w="12700" cap="flat">
              <a:solidFill>
                <a:schemeClr val="tx1"/>
              </a:solidFill>
              <a:miter lim="400000"/>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6789" tIns="26789" rIns="26789" bIns="26789" numCol="1" spcCol="38100" rtlCol="0" anchor="ctr">
              <a:spAutoFit/>
            </a:bodyPr>
            <a:lstStyle/>
            <a:p>
              <a:pPr algn="ctr" defTabSz="308074" hangingPunct="0"/>
              <a:endParaRPr lang="it-IT" sz="1200">
                <a:solidFill>
                  <a:srgbClr val="002060"/>
                </a:solidFill>
                <a:sym typeface="Helvetica Light"/>
              </a:endParaRPr>
            </a:p>
          </p:txBody>
        </p:sp>
        <p:sp>
          <p:nvSpPr>
            <p:cNvPr id="6" name="CasellaDiTesto 5"/>
            <p:cNvSpPr txBox="1"/>
            <p:nvPr/>
          </p:nvSpPr>
          <p:spPr>
            <a:xfrm>
              <a:off x="15577153" y="11265855"/>
              <a:ext cx="8255746" cy="2462214"/>
            </a:xfrm>
            <a:prstGeom prst="rect">
              <a:avLst/>
            </a:prstGeom>
            <a:noFill/>
            <a:ln>
              <a:solidFill>
                <a:schemeClr val="bg1"/>
              </a:solidFill>
            </a:ln>
          </p:spPr>
          <p:txBody>
            <a:bodyPr wrap="square" rtlCol="0">
              <a:spAutoFit/>
            </a:bodyPr>
            <a:lstStyle/>
            <a:p>
              <a:pPr algn="ctr"/>
              <a:r>
                <a:rPr lang="it-IT" b="1" dirty="0">
                  <a:solidFill>
                    <a:srgbClr val="002060"/>
                  </a:solidFill>
                  <a:latin typeface="Arial" pitchFamily="34" charset="0"/>
                  <a:cs typeface="Arial" pitchFamily="34" charset="0"/>
                </a:rPr>
                <a:t>Cabozantinib </a:t>
              </a:r>
              <a:r>
                <a:rPr lang="it-IT" b="1" dirty="0" err="1">
                  <a:solidFill>
                    <a:srgbClr val="002060"/>
                  </a:solidFill>
                  <a:latin typeface="Arial" pitchFamily="34" charset="0"/>
                  <a:cs typeface="Arial" pitchFamily="34" charset="0"/>
                </a:rPr>
                <a:t>does</a:t>
              </a:r>
              <a:r>
                <a:rPr lang="it-IT" b="1" dirty="0">
                  <a:solidFill>
                    <a:srgbClr val="002060"/>
                  </a:solidFill>
                  <a:latin typeface="Arial" pitchFamily="34" charset="0"/>
                  <a:cs typeface="Arial" pitchFamily="34" charset="0"/>
                </a:rPr>
                <a:t> </a:t>
              </a:r>
              <a:r>
                <a:rPr lang="it-IT" b="1" dirty="0" err="1">
                  <a:solidFill>
                    <a:srgbClr val="002060"/>
                  </a:solidFill>
                  <a:latin typeface="Arial" pitchFamily="34" charset="0"/>
                  <a:cs typeface="Arial" pitchFamily="34" charset="0"/>
                </a:rPr>
                <a:t>not</a:t>
              </a:r>
              <a:r>
                <a:rPr lang="it-IT" b="1" dirty="0">
                  <a:solidFill>
                    <a:srgbClr val="002060"/>
                  </a:solidFill>
                  <a:latin typeface="Arial" pitchFamily="34" charset="0"/>
                  <a:cs typeface="Arial" pitchFamily="34" charset="0"/>
                </a:rPr>
                <a:t> </a:t>
              </a:r>
              <a:r>
                <a:rPr lang="it-IT" b="1" dirty="0" err="1">
                  <a:solidFill>
                    <a:srgbClr val="002060"/>
                  </a:solidFill>
                  <a:latin typeface="Arial" pitchFamily="34" charset="0"/>
                  <a:cs typeface="Arial" pitchFamily="34" charset="0"/>
                </a:rPr>
                <a:t>affect</a:t>
              </a:r>
              <a:r>
                <a:rPr lang="it-IT" b="1" dirty="0">
                  <a:solidFill>
                    <a:srgbClr val="002060"/>
                  </a:solidFill>
                  <a:latin typeface="Arial" pitchFamily="34" charset="0"/>
                  <a:cs typeface="Arial" pitchFamily="34" charset="0"/>
                </a:rPr>
                <a:t> </a:t>
              </a:r>
              <a:r>
                <a:rPr lang="it-IT" b="1" dirty="0" err="1">
                  <a:solidFill>
                    <a:srgbClr val="002060"/>
                  </a:solidFill>
                  <a:latin typeface="Arial" pitchFamily="34" charset="0"/>
                  <a:cs typeface="Arial" pitchFamily="34" charset="0"/>
                </a:rPr>
                <a:t>osteoblast</a:t>
              </a:r>
              <a:r>
                <a:rPr lang="it-IT" b="1" dirty="0">
                  <a:solidFill>
                    <a:srgbClr val="002060"/>
                  </a:solidFill>
                  <a:latin typeface="Arial" pitchFamily="34" charset="0"/>
                  <a:cs typeface="Arial" pitchFamily="34" charset="0"/>
                </a:rPr>
                <a:t> </a:t>
              </a:r>
              <a:r>
                <a:rPr lang="it-IT" b="1" dirty="0" err="1">
                  <a:solidFill>
                    <a:srgbClr val="002060"/>
                  </a:solidFill>
                  <a:latin typeface="Arial" pitchFamily="34" charset="0"/>
                  <a:cs typeface="Arial" pitchFamily="34" charset="0"/>
                </a:rPr>
                <a:t>differentiation</a:t>
              </a:r>
              <a:r>
                <a:rPr lang="it-IT" b="1" dirty="0">
                  <a:solidFill>
                    <a:srgbClr val="002060"/>
                  </a:solidFill>
                  <a:latin typeface="Arial" pitchFamily="34" charset="0"/>
                  <a:cs typeface="Arial" pitchFamily="34" charset="0"/>
                </a:rPr>
                <a:t> and </a:t>
              </a:r>
              <a:r>
                <a:rPr lang="it-IT" b="1" dirty="0" err="1">
                  <a:solidFill>
                    <a:srgbClr val="002060"/>
                  </a:solidFill>
                  <a:latin typeface="Arial" pitchFamily="34" charset="0"/>
                  <a:cs typeface="Arial" pitchFamily="34" charset="0"/>
                </a:rPr>
                <a:t>activity</a:t>
              </a:r>
              <a:endParaRPr lang="it-IT" b="1" dirty="0">
                <a:solidFill>
                  <a:srgbClr val="002060"/>
                </a:solidFill>
                <a:latin typeface="Arial" pitchFamily="34" charset="0"/>
                <a:cs typeface="Arial" pitchFamily="34" charset="0"/>
              </a:endParaRPr>
            </a:p>
          </p:txBody>
        </p:sp>
        <p:pic>
          <p:nvPicPr>
            <p:cNvPr id="8" name="Immagine 7"/>
            <p:cNvPicPr/>
            <p:nvPr/>
          </p:nvPicPr>
          <p:blipFill rotWithShape="1">
            <a:blip r:embed="rId3">
              <a:extLst>
                <a:ext uri="{28A0092B-C50C-407E-A947-70E740481C1C}">
                  <a14:useLocalDpi xmlns:a14="http://schemas.microsoft.com/office/drawing/2010/main" val="0"/>
                </a:ext>
              </a:extLst>
            </a:blip>
            <a:srcRect l="77855" t="14583"/>
            <a:stretch/>
          </p:blipFill>
          <p:spPr bwMode="auto">
            <a:xfrm>
              <a:off x="19387154" y="5016527"/>
              <a:ext cx="4037373" cy="5707851"/>
            </a:xfrm>
            <a:prstGeom prst="rect">
              <a:avLst/>
            </a:prstGeom>
            <a:noFill/>
          </p:spPr>
        </p:pic>
        <p:pic>
          <p:nvPicPr>
            <p:cNvPr id="9" name="Immagine 8"/>
            <p:cNvPicPr/>
            <p:nvPr/>
          </p:nvPicPr>
          <p:blipFill rotWithShape="1">
            <a:blip r:embed="rId3">
              <a:extLst>
                <a:ext uri="{28A0092B-C50C-407E-A947-70E740481C1C}">
                  <a14:useLocalDpi xmlns:a14="http://schemas.microsoft.com/office/drawing/2010/main" val="0"/>
                </a:ext>
              </a:extLst>
            </a:blip>
            <a:srcRect l="56445" t="12502" r="22145"/>
            <a:stretch/>
          </p:blipFill>
          <p:spPr bwMode="auto">
            <a:xfrm>
              <a:off x="15901629" y="2061510"/>
              <a:ext cx="4087797" cy="5784051"/>
            </a:xfrm>
            <a:prstGeom prst="rect">
              <a:avLst/>
            </a:prstGeom>
            <a:noFill/>
          </p:spPr>
        </p:pic>
      </p:grpSp>
    </p:spTree>
    <p:extLst>
      <p:ext uri="{BB962C8B-B14F-4D97-AF65-F5344CB8AC3E}">
        <p14:creationId xmlns:p14="http://schemas.microsoft.com/office/powerpoint/2010/main" val="20572391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23" name="Rettangolo arrotondato 136"/>
          <p:cNvSpPr>
            <a:spLocks noChangeArrowheads="1"/>
          </p:cNvSpPr>
          <p:nvPr/>
        </p:nvSpPr>
        <p:spPr bwMode="auto">
          <a:xfrm>
            <a:off x="7331075" y="1835150"/>
            <a:ext cx="1352550" cy="733425"/>
          </a:xfrm>
          <a:prstGeom prst="roundRect">
            <a:avLst>
              <a:gd name="adj" fmla="val 16667"/>
            </a:avLst>
          </a:prstGeom>
          <a:solidFill>
            <a:schemeClr val="bg2">
              <a:lumMod val="90000"/>
            </a:schemeClr>
          </a:solidFill>
          <a:ln w="9525" algn="ctr">
            <a:solidFill>
              <a:schemeClr val="tx1"/>
            </a:solidFill>
            <a:round/>
            <a:headEnd/>
            <a:tailEnd/>
          </a:ln>
          <a:extLst/>
        </p:spPr>
        <p:txBody>
          <a:bodyPr/>
          <a:lstStyle>
            <a:lvl1pPr eaLnBrk="0" hangingPunct="0">
              <a:spcBef>
                <a:spcPct val="20000"/>
              </a:spcBef>
              <a:buChar char="•"/>
              <a:defRPr sz="3200">
                <a:solidFill>
                  <a:schemeClr val="tx1"/>
                </a:solidFill>
                <a:latin typeface="Times New Roman" pitchFamily="18" charset="0"/>
                <a:cs typeface="Arial" charset="0"/>
              </a:defRPr>
            </a:lvl1pPr>
            <a:lvl2pPr marL="742950" indent="-285750" eaLnBrk="0" hangingPunct="0">
              <a:spcBef>
                <a:spcPct val="20000"/>
              </a:spcBef>
              <a:buChar char="–"/>
              <a:defRPr sz="2800">
                <a:solidFill>
                  <a:schemeClr val="tx1"/>
                </a:solidFill>
                <a:latin typeface="Times New Roman" pitchFamily="18" charset="0"/>
                <a:cs typeface="Arial" charset="0"/>
              </a:defRPr>
            </a:lvl2pPr>
            <a:lvl3pPr marL="1143000" indent="-228600" eaLnBrk="0" hangingPunct="0">
              <a:spcBef>
                <a:spcPct val="20000"/>
              </a:spcBef>
              <a:buChar char="•"/>
              <a:defRPr sz="2400">
                <a:solidFill>
                  <a:schemeClr val="tx1"/>
                </a:solidFill>
                <a:latin typeface="Times New Roman" pitchFamily="18" charset="0"/>
                <a:cs typeface="Arial" charset="0"/>
              </a:defRPr>
            </a:lvl3pPr>
            <a:lvl4pPr marL="1600200" indent="-228600" eaLnBrk="0" hangingPunct="0">
              <a:spcBef>
                <a:spcPct val="20000"/>
              </a:spcBef>
              <a:buChar char="–"/>
              <a:defRPr sz="2000">
                <a:solidFill>
                  <a:schemeClr val="tx1"/>
                </a:solidFill>
                <a:latin typeface="Times New Roman" pitchFamily="18" charset="0"/>
                <a:cs typeface="Arial" charset="0"/>
              </a:defRPr>
            </a:lvl4pPr>
            <a:lvl5pPr marL="2057400" indent="-228600" eaLnBrk="0" hangingPunct="0">
              <a:spcBef>
                <a:spcPct val="20000"/>
              </a:spcBef>
              <a:buChar char="»"/>
              <a:defRPr sz="2000">
                <a:solidFill>
                  <a:schemeClr val="tx1"/>
                </a:solidFill>
                <a:latin typeface="Times New Roman" pitchFamily="18" charset="0"/>
                <a:cs typeface="Arial"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cs typeface="Arial"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cs typeface="Arial"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cs typeface="Arial"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cs typeface="Arial" charset="0"/>
              </a:defRPr>
            </a:lvl9pPr>
          </a:lstStyle>
          <a:p>
            <a:pPr>
              <a:spcBef>
                <a:spcPct val="0"/>
              </a:spcBef>
              <a:buFontTx/>
              <a:buNone/>
              <a:defRPr/>
            </a:pPr>
            <a:endParaRPr lang="it-IT" altLang="en-US" sz="2400">
              <a:solidFill>
                <a:srgbClr val="FFFFFF"/>
              </a:solidFill>
            </a:endParaRPr>
          </a:p>
        </p:txBody>
      </p:sp>
      <p:sp>
        <p:nvSpPr>
          <p:cNvPr id="37922" name="Rettangolo arrotondato 135"/>
          <p:cNvSpPr>
            <a:spLocks noChangeArrowheads="1"/>
          </p:cNvSpPr>
          <p:nvPr/>
        </p:nvSpPr>
        <p:spPr bwMode="auto">
          <a:xfrm>
            <a:off x="4706938" y="1795463"/>
            <a:ext cx="1838325" cy="733425"/>
          </a:xfrm>
          <a:prstGeom prst="roundRect">
            <a:avLst>
              <a:gd name="adj" fmla="val 16667"/>
            </a:avLst>
          </a:prstGeom>
          <a:solidFill>
            <a:schemeClr val="bg2">
              <a:lumMod val="90000"/>
            </a:schemeClr>
          </a:solidFill>
          <a:ln w="9525" algn="ctr">
            <a:solidFill>
              <a:schemeClr val="tx1"/>
            </a:solidFill>
            <a:round/>
            <a:headEnd/>
            <a:tailEnd/>
          </a:ln>
          <a:extLst/>
        </p:spPr>
        <p:txBody>
          <a:bodyPr/>
          <a:lstStyle>
            <a:lvl1pPr eaLnBrk="0" hangingPunct="0">
              <a:spcBef>
                <a:spcPct val="20000"/>
              </a:spcBef>
              <a:buChar char="•"/>
              <a:defRPr sz="3200">
                <a:solidFill>
                  <a:schemeClr val="tx1"/>
                </a:solidFill>
                <a:latin typeface="Times New Roman" pitchFamily="18" charset="0"/>
                <a:cs typeface="Arial" charset="0"/>
              </a:defRPr>
            </a:lvl1pPr>
            <a:lvl2pPr marL="742950" indent="-285750" eaLnBrk="0" hangingPunct="0">
              <a:spcBef>
                <a:spcPct val="20000"/>
              </a:spcBef>
              <a:buChar char="–"/>
              <a:defRPr sz="2800">
                <a:solidFill>
                  <a:schemeClr val="tx1"/>
                </a:solidFill>
                <a:latin typeface="Times New Roman" pitchFamily="18" charset="0"/>
                <a:cs typeface="Arial" charset="0"/>
              </a:defRPr>
            </a:lvl2pPr>
            <a:lvl3pPr marL="1143000" indent="-228600" eaLnBrk="0" hangingPunct="0">
              <a:spcBef>
                <a:spcPct val="20000"/>
              </a:spcBef>
              <a:buChar char="•"/>
              <a:defRPr sz="2400">
                <a:solidFill>
                  <a:schemeClr val="tx1"/>
                </a:solidFill>
                <a:latin typeface="Times New Roman" pitchFamily="18" charset="0"/>
                <a:cs typeface="Arial" charset="0"/>
              </a:defRPr>
            </a:lvl3pPr>
            <a:lvl4pPr marL="1600200" indent="-228600" eaLnBrk="0" hangingPunct="0">
              <a:spcBef>
                <a:spcPct val="20000"/>
              </a:spcBef>
              <a:buChar char="–"/>
              <a:defRPr sz="2000">
                <a:solidFill>
                  <a:schemeClr val="tx1"/>
                </a:solidFill>
                <a:latin typeface="Times New Roman" pitchFamily="18" charset="0"/>
                <a:cs typeface="Arial" charset="0"/>
              </a:defRPr>
            </a:lvl4pPr>
            <a:lvl5pPr marL="2057400" indent="-228600" eaLnBrk="0" hangingPunct="0">
              <a:spcBef>
                <a:spcPct val="20000"/>
              </a:spcBef>
              <a:buChar char="»"/>
              <a:defRPr sz="2000">
                <a:solidFill>
                  <a:schemeClr val="tx1"/>
                </a:solidFill>
                <a:latin typeface="Times New Roman" pitchFamily="18" charset="0"/>
                <a:cs typeface="Arial"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cs typeface="Arial"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cs typeface="Arial"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cs typeface="Arial"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cs typeface="Arial" charset="0"/>
              </a:defRPr>
            </a:lvl9pPr>
          </a:lstStyle>
          <a:p>
            <a:pPr>
              <a:spcBef>
                <a:spcPct val="0"/>
              </a:spcBef>
              <a:buFontTx/>
              <a:buNone/>
              <a:defRPr/>
            </a:pPr>
            <a:endParaRPr lang="it-IT" altLang="en-US" sz="2400">
              <a:solidFill>
                <a:srgbClr val="FFFFFF"/>
              </a:solidFill>
            </a:endParaRPr>
          </a:p>
        </p:txBody>
      </p:sp>
      <p:sp>
        <p:nvSpPr>
          <p:cNvPr id="37921" name="Rettangolo arrotondato 134"/>
          <p:cNvSpPr>
            <a:spLocks noChangeArrowheads="1"/>
          </p:cNvSpPr>
          <p:nvPr/>
        </p:nvSpPr>
        <p:spPr bwMode="auto">
          <a:xfrm>
            <a:off x="733425" y="1911350"/>
            <a:ext cx="1352550" cy="733425"/>
          </a:xfrm>
          <a:prstGeom prst="roundRect">
            <a:avLst>
              <a:gd name="adj" fmla="val 16667"/>
            </a:avLst>
          </a:prstGeom>
          <a:solidFill>
            <a:schemeClr val="bg2">
              <a:lumMod val="90000"/>
            </a:schemeClr>
          </a:solidFill>
          <a:ln w="9525" algn="ctr">
            <a:solidFill>
              <a:schemeClr val="tx1"/>
            </a:solidFill>
            <a:round/>
            <a:headEnd/>
            <a:tailEnd/>
          </a:ln>
          <a:extLst/>
        </p:spPr>
        <p:txBody>
          <a:bodyPr/>
          <a:lstStyle>
            <a:lvl1pPr eaLnBrk="0" hangingPunct="0">
              <a:spcBef>
                <a:spcPct val="20000"/>
              </a:spcBef>
              <a:buChar char="•"/>
              <a:defRPr sz="3200">
                <a:solidFill>
                  <a:schemeClr val="tx1"/>
                </a:solidFill>
                <a:latin typeface="Times New Roman" pitchFamily="18" charset="0"/>
                <a:cs typeface="Arial" charset="0"/>
              </a:defRPr>
            </a:lvl1pPr>
            <a:lvl2pPr marL="742950" indent="-285750" eaLnBrk="0" hangingPunct="0">
              <a:spcBef>
                <a:spcPct val="20000"/>
              </a:spcBef>
              <a:buChar char="–"/>
              <a:defRPr sz="2800">
                <a:solidFill>
                  <a:schemeClr val="tx1"/>
                </a:solidFill>
                <a:latin typeface="Times New Roman" pitchFamily="18" charset="0"/>
                <a:cs typeface="Arial" charset="0"/>
              </a:defRPr>
            </a:lvl2pPr>
            <a:lvl3pPr marL="1143000" indent="-228600" eaLnBrk="0" hangingPunct="0">
              <a:spcBef>
                <a:spcPct val="20000"/>
              </a:spcBef>
              <a:buChar char="•"/>
              <a:defRPr sz="2400">
                <a:solidFill>
                  <a:schemeClr val="tx1"/>
                </a:solidFill>
                <a:latin typeface="Times New Roman" pitchFamily="18" charset="0"/>
                <a:cs typeface="Arial" charset="0"/>
              </a:defRPr>
            </a:lvl3pPr>
            <a:lvl4pPr marL="1600200" indent="-228600" eaLnBrk="0" hangingPunct="0">
              <a:spcBef>
                <a:spcPct val="20000"/>
              </a:spcBef>
              <a:buChar char="–"/>
              <a:defRPr sz="2000">
                <a:solidFill>
                  <a:schemeClr val="tx1"/>
                </a:solidFill>
                <a:latin typeface="Times New Roman" pitchFamily="18" charset="0"/>
                <a:cs typeface="Arial" charset="0"/>
              </a:defRPr>
            </a:lvl4pPr>
            <a:lvl5pPr marL="2057400" indent="-228600" eaLnBrk="0" hangingPunct="0">
              <a:spcBef>
                <a:spcPct val="20000"/>
              </a:spcBef>
              <a:buChar char="»"/>
              <a:defRPr sz="2000">
                <a:solidFill>
                  <a:schemeClr val="tx1"/>
                </a:solidFill>
                <a:latin typeface="Times New Roman" pitchFamily="18" charset="0"/>
                <a:cs typeface="Arial"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cs typeface="Arial"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cs typeface="Arial"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cs typeface="Arial"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cs typeface="Arial" charset="0"/>
              </a:defRPr>
            </a:lvl9pPr>
          </a:lstStyle>
          <a:p>
            <a:pPr>
              <a:spcBef>
                <a:spcPct val="0"/>
              </a:spcBef>
              <a:buFontTx/>
              <a:buNone/>
              <a:defRPr/>
            </a:pPr>
            <a:endParaRPr lang="it-IT" altLang="en-US" sz="2400">
              <a:solidFill>
                <a:srgbClr val="FFFFFF"/>
              </a:solidFill>
            </a:endParaRPr>
          </a:p>
        </p:txBody>
      </p:sp>
      <p:cxnSp>
        <p:nvCxnSpPr>
          <p:cNvPr id="852997" name="Connettore 2 172"/>
          <p:cNvCxnSpPr>
            <a:cxnSpLocks noChangeShapeType="1"/>
            <a:stCxn id="853032" idx="0"/>
          </p:cNvCxnSpPr>
          <p:nvPr/>
        </p:nvCxnSpPr>
        <p:spPr bwMode="auto">
          <a:xfrm flipV="1">
            <a:off x="4443413" y="2528888"/>
            <a:ext cx="912812" cy="1114425"/>
          </a:xfrm>
          <a:prstGeom prst="straightConnector1">
            <a:avLst/>
          </a:prstGeom>
          <a:noFill/>
          <a:ln w="9525" algn="ctr">
            <a:solidFill>
              <a:schemeClr val="tx1"/>
            </a:solidFill>
            <a:round/>
            <a:headEnd/>
            <a:tailEnd type="arrow" w="med" len="med"/>
          </a:ln>
        </p:spPr>
      </p:cxnSp>
      <p:sp>
        <p:nvSpPr>
          <p:cNvPr id="168" name="Rettangolo arrotondato 167"/>
          <p:cNvSpPr/>
          <p:nvPr/>
        </p:nvSpPr>
        <p:spPr bwMode="auto">
          <a:xfrm>
            <a:off x="3598863" y="2814638"/>
            <a:ext cx="2041525" cy="546100"/>
          </a:xfrm>
          <a:prstGeom prst="roundRect">
            <a:avLst/>
          </a:prstGeom>
          <a:solidFill>
            <a:schemeClr val="bg2">
              <a:lumMod val="90000"/>
            </a:schemeClr>
          </a:solidFill>
          <a:ln w="9525" cap="flat" cmpd="sng" algn="ctr">
            <a:solidFill>
              <a:schemeClr val="tx1"/>
            </a:solidFill>
            <a:prstDash val="solid"/>
            <a:round/>
            <a:headEnd type="none" w="med" len="med"/>
            <a:tailEnd type="none" w="med" len="med"/>
          </a:ln>
          <a:effectLst/>
        </p:spPr>
        <p:txBody>
          <a:bodyPr/>
          <a:lstStyle/>
          <a:p>
            <a:pPr eaLnBrk="0" hangingPunct="0">
              <a:defRPr/>
            </a:pPr>
            <a:r>
              <a:rPr lang="it-IT" sz="1600" dirty="0">
                <a:solidFill>
                  <a:srgbClr val="000000"/>
                </a:solidFill>
                <a:latin typeface="Arial" pitchFamily="34" charset="0"/>
              </a:rPr>
              <a:t>Nuova metastasi</a:t>
            </a:r>
          </a:p>
        </p:txBody>
      </p:sp>
      <p:grpSp>
        <p:nvGrpSpPr>
          <p:cNvPr id="163" name="Gruppo 162"/>
          <p:cNvGrpSpPr/>
          <p:nvPr/>
        </p:nvGrpSpPr>
        <p:grpSpPr>
          <a:xfrm>
            <a:off x="907967" y="418335"/>
            <a:ext cx="7429640" cy="784086"/>
            <a:chOff x="838200" y="762000"/>
            <a:chExt cx="7429640" cy="784086"/>
          </a:xfrm>
        </p:grpSpPr>
        <p:sp>
          <p:nvSpPr>
            <p:cNvPr id="852999" name="Rettangolo arrotondato 146"/>
            <p:cNvSpPr>
              <a:spLocks noChangeArrowheads="1"/>
            </p:cNvSpPr>
            <p:nvPr/>
          </p:nvSpPr>
          <p:spPr bwMode="auto">
            <a:xfrm>
              <a:off x="838200" y="762000"/>
              <a:ext cx="7429500" cy="762000"/>
            </a:xfrm>
            <a:prstGeom prst="roundRect">
              <a:avLst>
                <a:gd name="adj" fmla="val 16667"/>
              </a:avLst>
            </a:prstGeom>
            <a:solidFill>
              <a:srgbClr val="CCFF66">
                <a:alpha val="10980"/>
              </a:srgbClr>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sp>
          <p:nvSpPr>
            <p:cNvPr id="853001" name="CasellaDiTesto 4"/>
            <p:cNvSpPr txBox="1">
              <a:spLocks noChangeArrowheads="1"/>
            </p:cNvSpPr>
            <p:nvPr/>
          </p:nvSpPr>
          <p:spPr bwMode="auto">
            <a:xfrm>
              <a:off x="1458796" y="838200"/>
              <a:ext cx="6809044" cy="707886"/>
            </a:xfrm>
            <a:prstGeom prst="rect">
              <a:avLst/>
            </a:prstGeom>
            <a:noFill/>
            <a:ln w="9525">
              <a:noFill/>
              <a:miter lim="800000"/>
              <a:headEnd/>
              <a:tailEnd/>
            </a:ln>
          </p:spPr>
          <p:txBody>
            <a:bodyPr wrap="none">
              <a:spAutoFit/>
            </a:bodyPr>
            <a:lstStyle/>
            <a:p>
              <a:pPr algn="ctr"/>
              <a:r>
                <a:rPr lang="it-IT" altLang="en-US" sz="2000" b="1" dirty="0">
                  <a:solidFill>
                    <a:srgbClr val="000000"/>
                  </a:solidFill>
                  <a:latin typeface="Arial" pitchFamily="34" charset="0"/>
                  <a:cs typeface="Arial" pitchFamily="34" charset="0"/>
                </a:rPr>
                <a:t>ELEVATO TURNOVER OSSEO</a:t>
              </a:r>
            </a:p>
            <a:p>
              <a:pPr algn="ctr"/>
              <a:r>
                <a:rPr lang="it-IT" altLang="en-US" dirty="0">
                  <a:solidFill>
                    <a:srgbClr val="000000"/>
                  </a:solidFill>
                  <a:latin typeface="Arial" pitchFamily="34" charset="0"/>
                  <a:cs typeface="Arial" pitchFamily="34" charset="0"/>
                </a:rPr>
                <a:t> </a:t>
              </a:r>
              <a:r>
                <a:rPr lang="it-IT" altLang="en-US" sz="2000" b="1" dirty="0">
                  <a:solidFill>
                    <a:srgbClr val="000000"/>
                  </a:solidFill>
                  <a:latin typeface="Arial" pitchFamily="34" charset="0"/>
                  <a:cs typeface="Arial" pitchFamily="34" charset="0"/>
                </a:rPr>
                <a:t>(</a:t>
              </a:r>
              <a:r>
                <a:rPr lang="it-IT" altLang="en-US" sz="2000" dirty="0" err="1" smtClean="0">
                  <a:solidFill>
                    <a:srgbClr val="000000"/>
                  </a:solidFill>
                  <a:latin typeface="Arial" pitchFamily="34" charset="0"/>
                  <a:cs typeface="Arial" pitchFamily="34" charset="0"/>
                </a:rPr>
                <a:t>eta’</a:t>
              </a:r>
              <a:r>
                <a:rPr lang="it-IT" altLang="en-US" sz="2000" dirty="0" smtClean="0">
                  <a:solidFill>
                    <a:srgbClr val="000000"/>
                  </a:solidFill>
                  <a:latin typeface="Arial" pitchFamily="34" charset="0"/>
                  <a:cs typeface="Arial" pitchFamily="34" charset="0"/>
                </a:rPr>
                <a:t> –livelli </a:t>
              </a:r>
              <a:r>
                <a:rPr lang="it-IT" altLang="en-US" sz="2000" dirty="0" err="1" smtClean="0">
                  <a:solidFill>
                    <a:srgbClr val="000000"/>
                  </a:solidFill>
                  <a:latin typeface="Arial" pitchFamily="34" charset="0"/>
                  <a:cs typeface="Arial" pitchFamily="34" charset="0"/>
                </a:rPr>
                <a:t>vit</a:t>
              </a:r>
              <a:r>
                <a:rPr lang="it-IT" altLang="en-US" sz="2000" dirty="0" smtClean="0">
                  <a:solidFill>
                    <a:srgbClr val="000000"/>
                  </a:solidFill>
                  <a:latin typeface="Arial" pitchFamily="34" charset="0"/>
                  <a:cs typeface="Arial" pitchFamily="34" charset="0"/>
                </a:rPr>
                <a:t> </a:t>
              </a:r>
              <a:r>
                <a:rPr lang="it-IT" altLang="en-US" sz="2000" dirty="0">
                  <a:solidFill>
                    <a:srgbClr val="000000"/>
                  </a:solidFill>
                  <a:latin typeface="Arial" pitchFamily="34" charset="0"/>
                  <a:cs typeface="Arial" pitchFamily="34" charset="0"/>
                </a:rPr>
                <a:t>D </a:t>
              </a:r>
              <a:r>
                <a:rPr lang="it-IT" altLang="en-US" sz="2000" dirty="0" smtClean="0">
                  <a:solidFill>
                    <a:srgbClr val="000000"/>
                  </a:solidFill>
                  <a:latin typeface="Arial" pitchFamily="34" charset="0"/>
                  <a:cs typeface="Arial" pitchFamily="34" charset="0"/>
                </a:rPr>
                <a:t>– Terapia ormonale adiuvante- </a:t>
              </a:r>
              <a:r>
                <a:rPr lang="it-IT" altLang="en-US" sz="2000" dirty="0">
                  <a:solidFill>
                    <a:srgbClr val="000000"/>
                  </a:solidFill>
                  <a:latin typeface="Arial" pitchFamily="34" charset="0"/>
                  <a:cs typeface="Arial" pitchFamily="34" charset="0"/>
                </a:rPr>
                <a:t>metastasi</a:t>
              </a:r>
              <a:r>
                <a:rPr lang="it-IT" altLang="en-US" dirty="0">
                  <a:solidFill>
                    <a:srgbClr val="000000"/>
                  </a:solidFill>
                  <a:latin typeface="Arial" pitchFamily="34" charset="0"/>
                  <a:cs typeface="Arial" pitchFamily="34" charset="0"/>
                </a:rPr>
                <a:t>)</a:t>
              </a:r>
            </a:p>
          </p:txBody>
        </p:sp>
      </p:grpSp>
      <p:sp>
        <p:nvSpPr>
          <p:cNvPr id="853002" name="CasellaDiTesto 5"/>
          <p:cNvSpPr txBox="1">
            <a:spLocks noChangeArrowheads="1"/>
          </p:cNvSpPr>
          <p:nvPr/>
        </p:nvSpPr>
        <p:spPr bwMode="auto">
          <a:xfrm>
            <a:off x="544513" y="3795713"/>
            <a:ext cx="1438275" cy="338137"/>
          </a:xfrm>
          <a:prstGeom prst="rect">
            <a:avLst/>
          </a:prstGeom>
          <a:noFill/>
          <a:ln w="9525">
            <a:noFill/>
            <a:miter lim="800000"/>
            <a:headEnd/>
            <a:tailEnd/>
          </a:ln>
        </p:spPr>
        <p:txBody>
          <a:bodyPr wrap="none">
            <a:spAutoFit/>
          </a:bodyPr>
          <a:lstStyle/>
          <a:p>
            <a:r>
              <a:rPr lang="it-IT" altLang="en-US" sz="1600">
                <a:solidFill>
                  <a:srgbClr val="000000"/>
                </a:solidFill>
                <a:latin typeface="Arial" pitchFamily="34" charset="0"/>
                <a:cs typeface="Arial" pitchFamily="34" charset="0"/>
              </a:rPr>
              <a:t>Perdita ossea</a:t>
            </a:r>
          </a:p>
        </p:txBody>
      </p:sp>
      <p:sp>
        <p:nvSpPr>
          <p:cNvPr id="853003" name="CasellaDiTesto 6"/>
          <p:cNvSpPr txBox="1">
            <a:spLocks noChangeArrowheads="1"/>
          </p:cNvSpPr>
          <p:nvPr/>
        </p:nvSpPr>
        <p:spPr bwMode="auto">
          <a:xfrm>
            <a:off x="3348038" y="3706813"/>
            <a:ext cx="2203917" cy="646331"/>
          </a:xfrm>
          <a:prstGeom prst="rect">
            <a:avLst/>
          </a:prstGeom>
          <a:solidFill>
            <a:srgbClr val="FFFF00"/>
          </a:solidFill>
          <a:ln w="9525">
            <a:noFill/>
            <a:miter lim="800000"/>
            <a:headEnd/>
            <a:tailEnd/>
          </a:ln>
        </p:spPr>
        <p:txBody>
          <a:bodyPr wrap="square">
            <a:spAutoFit/>
          </a:bodyPr>
          <a:lstStyle/>
          <a:p>
            <a:r>
              <a:rPr lang="it-IT" altLang="en-US" b="1" i="1">
                <a:solidFill>
                  <a:srgbClr val="002060"/>
                </a:solidFill>
                <a:latin typeface="Arial" pitchFamily="34" charset="0"/>
                <a:cs typeface="Arial" pitchFamily="34" charset="0"/>
              </a:rPr>
              <a:t>Homing</a:t>
            </a:r>
            <a:r>
              <a:rPr lang="it-IT" altLang="en-US" b="1">
                <a:solidFill>
                  <a:srgbClr val="002060"/>
                </a:solidFill>
                <a:latin typeface="Arial" pitchFamily="34" charset="0"/>
                <a:cs typeface="Arial" pitchFamily="34" charset="0"/>
              </a:rPr>
              <a:t>  delle cellule tumorali</a:t>
            </a:r>
          </a:p>
        </p:txBody>
      </p:sp>
      <p:sp>
        <p:nvSpPr>
          <p:cNvPr id="853004" name="CasellaDiTesto 7"/>
          <p:cNvSpPr txBox="1">
            <a:spLocks noChangeArrowheads="1"/>
          </p:cNvSpPr>
          <p:nvPr/>
        </p:nvSpPr>
        <p:spPr bwMode="auto">
          <a:xfrm>
            <a:off x="6926263" y="3646488"/>
            <a:ext cx="1833562" cy="584200"/>
          </a:xfrm>
          <a:prstGeom prst="rect">
            <a:avLst/>
          </a:prstGeom>
          <a:noFill/>
          <a:ln w="9525">
            <a:noFill/>
            <a:miter lim="800000"/>
            <a:headEnd/>
            <a:tailEnd/>
          </a:ln>
        </p:spPr>
        <p:txBody>
          <a:bodyPr>
            <a:spAutoFit/>
          </a:bodyPr>
          <a:lstStyle/>
          <a:p>
            <a:r>
              <a:rPr lang="it-IT" altLang="en-US" sz="1600">
                <a:solidFill>
                  <a:srgbClr val="000000"/>
                </a:solidFill>
                <a:latin typeface="Arial" pitchFamily="34" charset="0"/>
                <a:cs typeface="Arial" pitchFamily="34" charset="0"/>
              </a:rPr>
              <a:t>Crescita della metastasi ossea</a:t>
            </a:r>
          </a:p>
        </p:txBody>
      </p:sp>
      <p:sp>
        <p:nvSpPr>
          <p:cNvPr id="9" name="Rettangolo 8"/>
          <p:cNvSpPr/>
          <p:nvPr/>
        </p:nvSpPr>
        <p:spPr bwMode="auto">
          <a:xfrm>
            <a:off x="176213" y="5257800"/>
            <a:ext cx="8797925" cy="776288"/>
          </a:xfrm>
          <a:prstGeom prst="rect">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a:lstStyle/>
          <a:p>
            <a:pPr eaLnBrk="0" hangingPunct="0">
              <a:defRPr/>
            </a:pPr>
            <a:endParaRPr lang="it-IT" sz="2400">
              <a:solidFill>
                <a:srgbClr val="FFFFFF"/>
              </a:solidFill>
              <a:latin typeface="Times New Roman" pitchFamily="18" charset="0"/>
              <a:ea typeface="MS PGothic" pitchFamily="34" charset="-128"/>
            </a:endParaRPr>
          </a:p>
        </p:txBody>
      </p:sp>
      <p:grpSp>
        <p:nvGrpSpPr>
          <p:cNvPr id="2" name="Gruppo 31"/>
          <p:cNvGrpSpPr>
            <a:grpSpLocks/>
          </p:cNvGrpSpPr>
          <p:nvPr/>
        </p:nvGrpSpPr>
        <p:grpSpPr bwMode="auto">
          <a:xfrm>
            <a:off x="238125" y="5059363"/>
            <a:ext cx="5922963" cy="636587"/>
            <a:chOff x="295274" y="5591177"/>
            <a:chExt cx="5922759" cy="797092"/>
          </a:xfrm>
        </p:grpSpPr>
        <p:sp>
          <p:nvSpPr>
            <p:cNvPr id="853132" name="Figura a mano libera 14"/>
            <p:cNvSpPr>
              <a:spLocks/>
            </p:cNvSpPr>
            <p:nvPr/>
          </p:nvSpPr>
          <p:spPr bwMode="auto">
            <a:xfrm>
              <a:off x="569255" y="5743575"/>
              <a:ext cx="1556396" cy="619125"/>
            </a:xfrm>
            <a:custGeom>
              <a:avLst/>
              <a:gdLst>
                <a:gd name="T0" fmla="*/ 11770 w 1556396"/>
                <a:gd name="T1" fmla="*/ 355292 h 542925"/>
                <a:gd name="T2" fmla="*/ 21295 w 1556396"/>
                <a:gd name="T3" fmla="*/ 621755 h 542925"/>
                <a:gd name="T4" fmla="*/ 68920 w 1556396"/>
                <a:gd name="T5" fmla="*/ 1065860 h 542925"/>
                <a:gd name="T6" fmla="*/ 126070 w 1556396"/>
                <a:gd name="T7" fmla="*/ 1243507 h 542925"/>
                <a:gd name="T8" fmla="*/ 145120 w 1556396"/>
                <a:gd name="T9" fmla="*/ 1509966 h 542925"/>
                <a:gd name="T10" fmla="*/ 173695 w 1556396"/>
                <a:gd name="T11" fmla="*/ 1776434 h 542925"/>
                <a:gd name="T12" fmla="*/ 183220 w 1556396"/>
                <a:gd name="T13" fmla="*/ 2131712 h 542925"/>
                <a:gd name="T14" fmla="*/ 192745 w 1556396"/>
                <a:gd name="T15" fmla="*/ 2398185 h 542925"/>
                <a:gd name="T16" fmla="*/ 230845 w 1556396"/>
                <a:gd name="T17" fmla="*/ 2931117 h 542925"/>
                <a:gd name="T18" fmla="*/ 307045 w 1556396"/>
                <a:gd name="T19" fmla="*/ 3108754 h 542925"/>
                <a:gd name="T20" fmla="*/ 354670 w 1556396"/>
                <a:gd name="T21" fmla="*/ 3641683 h 542925"/>
                <a:gd name="T22" fmla="*/ 392770 w 1556396"/>
                <a:gd name="T23" fmla="*/ 4618719 h 542925"/>
                <a:gd name="T24" fmla="*/ 430870 w 1556396"/>
                <a:gd name="T25" fmla="*/ 4707548 h 542925"/>
                <a:gd name="T26" fmla="*/ 526120 w 1556396"/>
                <a:gd name="T27" fmla="*/ 4796366 h 542925"/>
                <a:gd name="T28" fmla="*/ 621370 w 1556396"/>
                <a:gd name="T29" fmla="*/ 5062834 h 542925"/>
                <a:gd name="T30" fmla="*/ 688045 w 1556396"/>
                <a:gd name="T31" fmla="*/ 4973992 h 542925"/>
                <a:gd name="T32" fmla="*/ 707095 w 1556396"/>
                <a:gd name="T33" fmla="*/ 4707548 h 542925"/>
                <a:gd name="T34" fmla="*/ 773770 w 1556396"/>
                <a:gd name="T35" fmla="*/ 4529897 h 542925"/>
                <a:gd name="T36" fmla="*/ 1097620 w 1556396"/>
                <a:gd name="T37" fmla="*/ 4707548 h 542925"/>
                <a:gd name="T38" fmla="*/ 1126195 w 1556396"/>
                <a:gd name="T39" fmla="*/ 4796366 h 542925"/>
                <a:gd name="T40" fmla="*/ 1135720 w 1556396"/>
                <a:gd name="T41" fmla="*/ 4529897 h 542925"/>
                <a:gd name="T42" fmla="*/ 1192870 w 1556396"/>
                <a:gd name="T43" fmla="*/ 4174609 h 542925"/>
                <a:gd name="T44" fmla="*/ 1230970 w 1556396"/>
                <a:gd name="T45" fmla="*/ 3552865 h 542925"/>
                <a:gd name="T46" fmla="*/ 1259545 w 1556396"/>
                <a:gd name="T47" fmla="*/ 3375222 h 542925"/>
                <a:gd name="T48" fmla="*/ 1297645 w 1556396"/>
                <a:gd name="T49" fmla="*/ 2753466 h 542925"/>
                <a:gd name="T50" fmla="*/ 1307170 w 1556396"/>
                <a:gd name="T51" fmla="*/ 2309364 h 542925"/>
                <a:gd name="T52" fmla="*/ 1411945 w 1556396"/>
                <a:gd name="T53" fmla="*/ 2131712 h 542925"/>
                <a:gd name="T54" fmla="*/ 1430995 w 1556396"/>
                <a:gd name="T55" fmla="*/ 1865257 h 542925"/>
                <a:gd name="T56" fmla="*/ 1469095 w 1556396"/>
                <a:gd name="T57" fmla="*/ 1065860 h 542925"/>
                <a:gd name="T58" fmla="*/ 1554820 w 1556396"/>
                <a:gd name="T59" fmla="*/ 621755 h 542925"/>
                <a:gd name="T60" fmla="*/ 1545295 w 1556396"/>
                <a:gd name="T61" fmla="*/ 266465 h 542925"/>
                <a:gd name="T62" fmla="*/ 1478620 w 1556396"/>
                <a:gd name="T63" fmla="*/ 177648 h 542925"/>
                <a:gd name="T64" fmla="*/ 1392895 w 1556396"/>
                <a:gd name="T65" fmla="*/ 0 h 542925"/>
                <a:gd name="T66" fmla="*/ 1250020 w 1556396"/>
                <a:gd name="T67" fmla="*/ 88816 h 542925"/>
                <a:gd name="T68" fmla="*/ 1154770 w 1556396"/>
                <a:gd name="T69" fmla="*/ 355292 h 542925"/>
                <a:gd name="T70" fmla="*/ 1088095 w 1556396"/>
                <a:gd name="T71" fmla="*/ 532936 h 542925"/>
                <a:gd name="T72" fmla="*/ 821395 w 1556396"/>
                <a:gd name="T73" fmla="*/ 444108 h 542925"/>
                <a:gd name="T74" fmla="*/ 688045 w 1556396"/>
                <a:gd name="T75" fmla="*/ 266465 h 542925"/>
                <a:gd name="T76" fmla="*/ 602320 w 1556396"/>
                <a:gd name="T77" fmla="*/ 177648 h 542925"/>
                <a:gd name="T78" fmla="*/ 316570 w 1556396"/>
                <a:gd name="T79" fmla="*/ 0 h 542925"/>
                <a:gd name="T80" fmla="*/ 87970 w 1556396"/>
                <a:gd name="T81" fmla="*/ 88816 h 542925"/>
                <a:gd name="T82" fmla="*/ 30820 w 1556396"/>
                <a:gd name="T83" fmla="*/ 266465 h 542925"/>
                <a:gd name="T84" fmla="*/ 11770 w 1556396"/>
                <a:gd name="T85" fmla="*/ 355292 h 5429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56396"/>
                <a:gd name="T130" fmla="*/ 0 h 542925"/>
                <a:gd name="T131" fmla="*/ 1556396 w 1556396"/>
                <a:gd name="T132" fmla="*/ 542925 h 5429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56396" h="542925">
                  <a:moveTo>
                    <a:pt x="11770" y="38100"/>
                  </a:moveTo>
                  <a:cubicBezTo>
                    <a:pt x="10183" y="44450"/>
                    <a:pt x="16805" y="57695"/>
                    <a:pt x="21295" y="66675"/>
                  </a:cubicBezTo>
                  <a:cubicBezTo>
                    <a:pt x="33088" y="90261"/>
                    <a:pt x="44427" y="103414"/>
                    <a:pt x="68920" y="114300"/>
                  </a:cubicBezTo>
                  <a:cubicBezTo>
                    <a:pt x="87270" y="122455"/>
                    <a:pt x="126070" y="133350"/>
                    <a:pt x="126070" y="133350"/>
                  </a:cubicBezTo>
                  <a:cubicBezTo>
                    <a:pt x="132420" y="142875"/>
                    <a:pt x="137791" y="153131"/>
                    <a:pt x="145120" y="161925"/>
                  </a:cubicBezTo>
                  <a:cubicBezTo>
                    <a:pt x="153744" y="172273"/>
                    <a:pt x="167012" y="178804"/>
                    <a:pt x="173695" y="190500"/>
                  </a:cubicBezTo>
                  <a:cubicBezTo>
                    <a:pt x="180190" y="201866"/>
                    <a:pt x="179624" y="216013"/>
                    <a:pt x="183220" y="228600"/>
                  </a:cubicBezTo>
                  <a:cubicBezTo>
                    <a:pt x="185978" y="238254"/>
                    <a:pt x="187869" y="248398"/>
                    <a:pt x="192745" y="257175"/>
                  </a:cubicBezTo>
                  <a:cubicBezTo>
                    <a:pt x="203864" y="277189"/>
                    <a:pt x="208394" y="309835"/>
                    <a:pt x="230845" y="314325"/>
                  </a:cubicBezTo>
                  <a:cubicBezTo>
                    <a:pt x="288315" y="325819"/>
                    <a:pt x="263111" y="318730"/>
                    <a:pt x="307045" y="333375"/>
                  </a:cubicBezTo>
                  <a:cubicBezTo>
                    <a:pt x="321423" y="347753"/>
                    <a:pt x="347092" y="369686"/>
                    <a:pt x="354670" y="390525"/>
                  </a:cubicBezTo>
                  <a:cubicBezTo>
                    <a:pt x="358879" y="402099"/>
                    <a:pt x="366900" y="478053"/>
                    <a:pt x="392770" y="495300"/>
                  </a:cubicBezTo>
                  <a:cubicBezTo>
                    <a:pt x="403662" y="502562"/>
                    <a:pt x="417911" y="502974"/>
                    <a:pt x="430870" y="504825"/>
                  </a:cubicBezTo>
                  <a:cubicBezTo>
                    <a:pt x="462458" y="509338"/>
                    <a:pt x="494370" y="511175"/>
                    <a:pt x="526120" y="514350"/>
                  </a:cubicBezTo>
                  <a:cubicBezTo>
                    <a:pt x="595689" y="537540"/>
                    <a:pt x="563789" y="528530"/>
                    <a:pt x="621370" y="542925"/>
                  </a:cubicBezTo>
                  <a:cubicBezTo>
                    <a:pt x="643595" y="539750"/>
                    <a:pt x="667529" y="542518"/>
                    <a:pt x="688045" y="533400"/>
                  </a:cubicBezTo>
                  <a:cubicBezTo>
                    <a:pt x="698506" y="528751"/>
                    <a:pt x="698156" y="511976"/>
                    <a:pt x="707095" y="504825"/>
                  </a:cubicBezTo>
                  <a:cubicBezTo>
                    <a:pt x="713306" y="499856"/>
                    <a:pt x="771281" y="486397"/>
                    <a:pt x="773770" y="485775"/>
                  </a:cubicBezTo>
                  <a:cubicBezTo>
                    <a:pt x="938103" y="491253"/>
                    <a:pt x="985538" y="472801"/>
                    <a:pt x="1097620" y="504825"/>
                  </a:cubicBezTo>
                  <a:cubicBezTo>
                    <a:pt x="1107274" y="507583"/>
                    <a:pt x="1116670" y="511175"/>
                    <a:pt x="1126195" y="514350"/>
                  </a:cubicBezTo>
                  <a:cubicBezTo>
                    <a:pt x="1129370" y="504825"/>
                    <a:pt x="1128620" y="492875"/>
                    <a:pt x="1135720" y="485775"/>
                  </a:cubicBezTo>
                  <a:cubicBezTo>
                    <a:pt x="1151909" y="469586"/>
                    <a:pt x="1192870" y="447675"/>
                    <a:pt x="1192870" y="447675"/>
                  </a:cubicBezTo>
                  <a:cubicBezTo>
                    <a:pt x="1200341" y="432734"/>
                    <a:pt x="1217507" y="394463"/>
                    <a:pt x="1230970" y="381000"/>
                  </a:cubicBezTo>
                  <a:cubicBezTo>
                    <a:pt x="1239065" y="372905"/>
                    <a:pt x="1250020" y="368300"/>
                    <a:pt x="1259545" y="361950"/>
                  </a:cubicBezTo>
                  <a:cubicBezTo>
                    <a:pt x="1273480" y="341047"/>
                    <a:pt x="1289588" y="319445"/>
                    <a:pt x="1297645" y="295275"/>
                  </a:cubicBezTo>
                  <a:cubicBezTo>
                    <a:pt x="1302765" y="279916"/>
                    <a:pt x="1293186" y="255807"/>
                    <a:pt x="1307170" y="247650"/>
                  </a:cubicBezTo>
                  <a:cubicBezTo>
                    <a:pt x="1337832" y="229764"/>
                    <a:pt x="1377020" y="234950"/>
                    <a:pt x="1411945" y="228600"/>
                  </a:cubicBezTo>
                  <a:cubicBezTo>
                    <a:pt x="1418295" y="219075"/>
                    <a:pt x="1426346" y="210486"/>
                    <a:pt x="1430995" y="200025"/>
                  </a:cubicBezTo>
                  <a:cubicBezTo>
                    <a:pt x="1441960" y="175353"/>
                    <a:pt x="1445579" y="134876"/>
                    <a:pt x="1469095" y="114300"/>
                  </a:cubicBezTo>
                  <a:cubicBezTo>
                    <a:pt x="1509405" y="79029"/>
                    <a:pt x="1515573" y="79757"/>
                    <a:pt x="1554820" y="66675"/>
                  </a:cubicBezTo>
                  <a:cubicBezTo>
                    <a:pt x="1551645" y="53975"/>
                    <a:pt x="1556396" y="35513"/>
                    <a:pt x="1545295" y="28575"/>
                  </a:cubicBezTo>
                  <a:cubicBezTo>
                    <a:pt x="1526257" y="16676"/>
                    <a:pt x="1500765" y="22741"/>
                    <a:pt x="1478620" y="19050"/>
                  </a:cubicBezTo>
                  <a:cubicBezTo>
                    <a:pt x="1442343" y="13004"/>
                    <a:pt x="1427145" y="8563"/>
                    <a:pt x="1392895" y="0"/>
                  </a:cubicBezTo>
                  <a:cubicBezTo>
                    <a:pt x="1345270" y="3175"/>
                    <a:pt x="1297488" y="4528"/>
                    <a:pt x="1250020" y="9525"/>
                  </a:cubicBezTo>
                  <a:cubicBezTo>
                    <a:pt x="1228981" y="11740"/>
                    <a:pt x="1168287" y="33594"/>
                    <a:pt x="1154770" y="38100"/>
                  </a:cubicBezTo>
                  <a:cubicBezTo>
                    <a:pt x="1113776" y="51765"/>
                    <a:pt x="1135935" y="45190"/>
                    <a:pt x="1088095" y="57150"/>
                  </a:cubicBezTo>
                  <a:lnTo>
                    <a:pt x="821395" y="47625"/>
                  </a:lnTo>
                  <a:cubicBezTo>
                    <a:pt x="603888" y="36177"/>
                    <a:pt x="801914" y="46093"/>
                    <a:pt x="688045" y="28575"/>
                  </a:cubicBezTo>
                  <a:cubicBezTo>
                    <a:pt x="659628" y="24203"/>
                    <a:pt x="630928" y="21911"/>
                    <a:pt x="602320" y="19050"/>
                  </a:cubicBezTo>
                  <a:cubicBezTo>
                    <a:pt x="469039" y="5722"/>
                    <a:pt x="478039" y="8498"/>
                    <a:pt x="316570" y="0"/>
                  </a:cubicBezTo>
                  <a:cubicBezTo>
                    <a:pt x="240370" y="3175"/>
                    <a:pt x="163858" y="1936"/>
                    <a:pt x="87970" y="9525"/>
                  </a:cubicBezTo>
                  <a:cubicBezTo>
                    <a:pt x="67989" y="11523"/>
                    <a:pt x="30820" y="28575"/>
                    <a:pt x="30820" y="28575"/>
                  </a:cubicBezTo>
                  <a:cubicBezTo>
                    <a:pt x="0" y="59395"/>
                    <a:pt x="13358" y="31750"/>
                    <a:pt x="11770" y="38100"/>
                  </a:cubicBezTo>
                  <a:close/>
                </a:path>
              </a:pathLst>
            </a:custGeom>
            <a:solidFill>
              <a:schemeClr val="bg1"/>
            </a:solidFill>
            <a:ln w="9525">
              <a:noFill/>
              <a:round/>
              <a:headEnd/>
              <a:tailEnd/>
            </a:ln>
          </p:spPr>
          <p:txBody>
            <a:bodyPr/>
            <a:lstStyle/>
            <a:p>
              <a:endParaRPr lang="it-IT"/>
            </a:p>
          </p:txBody>
        </p:sp>
        <p:grpSp>
          <p:nvGrpSpPr>
            <p:cNvPr id="3" name="Group 223"/>
            <p:cNvGrpSpPr>
              <a:grpSpLocks/>
            </p:cNvGrpSpPr>
            <p:nvPr/>
          </p:nvGrpSpPr>
          <p:grpSpPr bwMode="auto">
            <a:xfrm rot="1848513">
              <a:off x="738531" y="5829639"/>
              <a:ext cx="299490" cy="353597"/>
              <a:chOff x="3323" y="1677"/>
              <a:chExt cx="305" cy="370"/>
            </a:xfrm>
          </p:grpSpPr>
          <p:sp>
            <p:nvSpPr>
              <p:cNvPr id="853151" name="Freeform 224"/>
              <p:cNvSpPr>
                <a:spLocks/>
              </p:cNvSpPr>
              <p:nvPr/>
            </p:nvSpPr>
            <p:spPr bwMode="auto">
              <a:xfrm>
                <a:off x="3323" y="1677"/>
                <a:ext cx="307" cy="370"/>
              </a:xfrm>
              <a:custGeom>
                <a:avLst/>
                <a:gdLst>
                  <a:gd name="T0" fmla="*/ 0 w 713"/>
                  <a:gd name="T1" fmla="*/ 0 h 869"/>
                  <a:gd name="T2" fmla="*/ 0 w 713"/>
                  <a:gd name="T3" fmla="*/ 0 h 869"/>
                  <a:gd name="T4" fmla="*/ 0 w 713"/>
                  <a:gd name="T5" fmla="*/ 0 h 869"/>
                  <a:gd name="T6" fmla="*/ 0 w 713"/>
                  <a:gd name="T7" fmla="*/ 0 h 869"/>
                  <a:gd name="T8" fmla="*/ 0 w 713"/>
                  <a:gd name="T9" fmla="*/ 0 h 869"/>
                  <a:gd name="T10" fmla="*/ 0 w 713"/>
                  <a:gd name="T11" fmla="*/ 0 h 869"/>
                  <a:gd name="T12" fmla="*/ 0 w 713"/>
                  <a:gd name="T13" fmla="*/ 0 h 869"/>
                  <a:gd name="T14" fmla="*/ 0 w 713"/>
                  <a:gd name="T15" fmla="*/ 0 h 869"/>
                  <a:gd name="T16" fmla="*/ 0 w 713"/>
                  <a:gd name="T17" fmla="*/ 0 h 869"/>
                  <a:gd name="T18" fmla="*/ 0 w 713"/>
                  <a:gd name="T19" fmla="*/ 0 h 869"/>
                  <a:gd name="T20" fmla="*/ 0 w 713"/>
                  <a:gd name="T21" fmla="*/ 0 h 869"/>
                  <a:gd name="T22" fmla="*/ 0 w 713"/>
                  <a:gd name="T23" fmla="*/ 0 h 869"/>
                  <a:gd name="T24" fmla="*/ 0 w 713"/>
                  <a:gd name="T25" fmla="*/ 0 h 869"/>
                  <a:gd name="T26" fmla="*/ 0 w 713"/>
                  <a:gd name="T27" fmla="*/ 0 h 869"/>
                  <a:gd name="T28" fmla="*/ 0 w 713"/>
                  <a:gd name="T29" fmla="*/ 0 h 869"/>
                  <a:gd name="T30" fmla="*/ 0 w 713"/>
                  <a:gd name="T31" fmla="*/ 0 h 869"/>
                  <a:gd name="T32" fmla="*/ 0 w 713"/>
                  <a:gd name="T33" fmla="*/ 0 h 869"/>
                  <a:gd name="T34" fmla="*/ 0 w 713"/>
                  <a:gd name="T35" fmla="*/ 0 h 869"/>
                  <a:gd name="T36" fmla="*/ 0 w 713"/>
                  <a:gd name="T37" fmla="*/ 0 h 869"/>
                  <a:gd name="T38" fmla="*/ 0 w 713"/>
                  <a:gd name="T39" fmla="*/ 0 h 869"/>
                  <a:gd name="T40" fmla="*/ 0 w 713"/>
                  <a:gd name="T41" fmla="*/ 0 h 869"/>
                  <a:gd name="T42" fmla="*/ 0 w 713"/>
                  <a:gd name="T43" fmla="*/ 0 h 869"/>
                  <a:gd name="T44" fmla="*/ 0 w 713"/>
                  <a:gd name="T45" fmla="*/ 0 h 869"/>
                  <a:gd name="T46" fmla="*/ 0 w 713"/>
                  <a:gd name="T47" fmla="*/ 0 h 869"/>
                  <a:gd name="T48" fmla="*/ 0 w 713"/>
                  <a:gd name="T49" fmla="*/ 0 h 869"/>
                  <a:gd name="T50" fmla="*/ 0 w 713"/>
                  <a:gd name="T51" fmla="*/ 0 h 869"/>
                  <a:gd name="T52" fmla="*/ 0 w 713"/>
                  <a:gd name="T53" fmla="*/ 0 h 869"/>
                  <a:gd name="T54" fmla="*/ 0 w 713"/>
                  <a:gd name="T55" fmla="*/ 0 h 869"/>
                  <a:gd name="T56" fmla="*/ 0 w 713"/>
                  <a:gd name="T57" fmla="*/ 0 h 869"/>
                  <a:gd name="T58" fmla="*/ 0 w 713"/>
                  <a:gd name="T59" fmla="*/ 0 h 869"/>
                  <a:gd name="T60" fmla="*/ 0 w 713"/>
                  <a:gd name="T61" fmla="*/ 0 h 869"/>
                  <a:gd name="T62" fmla="*/ 0 w 713"/>
                  <a:gd name="T63" fmla="*/ 0 h 869"/>
                  <a:gd name="T64" fmla="*/ 0 w 713"/>
                  <a:gd name="T65" fmla="*/ 0 h 869"/>
                  <a:gd name="T66" fmla="*/ 0 w 713"/>
                  <a:gd name="T67" fmla="*/ 0 h 869"/>
                  <a:gd name="T68" fmla="*/ 0 w 713"/>
                  <a:gd name="T69" fmla="*/ 0 h 869"/>
                  <a:gd name="T70" fmla="*/ 0 w 713"/>
                  <a:gd name="T71" fmla="*/ 0 h 869"/>
                  <a:gd name="T72" fmla="*/ 0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152" name="Freeform 225"/>
              <p:cNvSpPr>
                <a:spLocks/>
              </p:cNvSpPr>
              <p:nvPr/>
            </p:nvSpPr>
            <p:spPr bwMode="auto">
              <a:xfrm>
                <a:off x="3471" y="1855"/>
                <a:ext cx="95"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53" name="Freeform 226"/>
              <p:cNvSpPr>
                <a:spLocks/>
              </p:cNvSpPr>
              <p:nvPr/>
            </p:nvSpPr>
            <p:spPr bwMode="auto">
              <a:xfrm>
                <a:off x="3368" y="1770"/>
                <a:ext cx="95"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54" name="Freeform 227"/>
              <p:cNvSpPr>
                <a:spLocks/>
              </p:cNvSpPr>
              <p:nvPr/>
            </p:nvSpPr>
            <p:spPr bwMode="auto">
              <a:xfrm>
                <a:off x="3334" y="1835"/>
                <a:ext cx="95"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4" name="Group 223"/>
            <p:cNvGrpSpPr>
              <a:grpSpLocks/>
            </p:cNvGrpSpPr>
            <p:nvPr/>
          </p:nvGrpSpPr>
          <p:grpSpPr bwMode="auto">
            <a:xfrm rot="-249666">
              <a:off x="1177617" y="5985729"/>
              <a:ext cx="301319" cy="402540"/>
              <a:chOff x="3295" y="1661"/>
              <a:chExt cx="319" cy="383"/>
            </a:xfrm>
          </p:grpSpPr>
          <p:sp>
            <p:nvSpPr>
              <p:cNvPr id="853147" name="Freeform 224"/>
              <p:cNvSpPr>
                <a:spLocks/>
              </p:cNvSpPr>
              <p:nvPr/>
            </p:nvSpPr>
            <p:spPr bwMode="auto">
              <a:xfrm>
                <a:off x="3287" y="1650"/>
                <a:ext cx="319" cy="391"/>
              </a:xfrm>
              <a:custGeom>
                <a:avLst/>
                <a:gdLst>
                  <a:gd name="T0" fmla="*/ 0 w 713"/>
                  <a:gd name="T1" fmla="*/ 0 h 869"/>
                  <a:gd name="T2" fmla="*/ 0 w 713"/>
                  <a:gd name="T3" fmla="*/ 0 h 869"/>
                  <a:gd name="T4" fmla="*/ 0 w 713"/>
                  <a:gd name="T5" fmla="*/ 0 h 869"/>
                  <a:gd name="T6" fmla="*/ 0 w 713"/>
                  <a:gd name="T7" fmla="*/ 0 h 869"/>
                  <a:gd name="T8" fmla="*/ 0 w 713"/>
                  <a:gd name="T9" fmla="*/ 0 h 869"/>
                  <a:gd name="T10" fmla="*/ 0 w 713"/>
                  <a:gd name="T11" fmla="*/ 0 h 869"/>
                  <a:gd name="T12" fmla="*/ 0 w 713"/>
                  <a:gd name="T13" fmla="*/ 0 h 869"/>
                  <a:gd name="T14" fmla="*/ 0 w 713"/>
                  <a:gd name="T15" fmla="*/ 0 h 869"/>
                  <a:gd name="T16" fmla="*/ 0 w 713"/>
                  <a:gd name="T17" fmla="*/ 0 h 869"/>
                  <a:gd name="T18" fmla="*/ 0 w 713"/>
                  <a:gd name="T19" fmla="*/ 0 h 869"/>
                  <a:gd name="T20" fmla="*/ 0 w 713"/>
                  <a:gd name="T21" fmla="*/ 0 h 869"/>
                  <a:gd name="T22" fmla="*/ 0 w 713"/>
                  <a:gd name="T23" fmla="*/ 0 h 869"/>
                  <a:gd name="T24" fmla="*/ 0 w 713"/>
                  <a:gd name="T25" fmla="*/ 0 h 869"/>
                  <a:gd name="T26" fmla="*/ 0 w 713"/>
                  <a:gd name="T27" fmla="*/ 0 h 869"/>
                  <a:gd name="T28" fmla="*/ 0 w 713"/>
                  <a:gd name="T29" fmla="*/ 0 h 869"/>
                  <a:gd name="T30" fmla="*/ 0 w 713"/>
                  <a:gd name="T31" fmla="*/ 0 h 869"/>
                  <a:gd name="T32" fmla="*/ 0 w 713"/>
                  <a:gd name="T33" fmla="*/ 0 h 869"/>
                  <a:gd name="T34" fmla="*/ 0 w 713"/>
                  <a:gd name="T35" fmla="*/ 0 h 869"/>
                  <a:gd name="T36" fmla="*/ 0 w 713"/>
                  <a:gd name="T37" fmla="*/ 0 h 869"/>
                  <a:gd name="T38" fmla="*/ 0 w 713"/>
                  <a:gd name="T39" fmla="*/ 0 h 869"/>
                  <a:gd name="T40" fmla="*/ 0 w 713"/>
                  <a:gd name="T41" fmla="*/ 0 h 869"/>
                  <a:gd name="T42" fmla="*/ 0 w 713"/>
                  <a:gd name="T43" fmla="*/ 0 h 869"/>
                  <a:gd name="T44" fmla="*/ 0 w 713"/>
                  <a:gd name="T45" fmla="*/ 0 h 869"/>
                  <a:gd name="T46" fmla="*/ 0 w 713"/>
                  <a:gd name="T47" fmla="*/ 0 h 869"/>
                  <a:gd name="T48" fmla="*/ 0 w 713"/>
                  <a:gd name="T49" fmla="*/ 0 h 869"/>
                  <a:gd name="T50" fmla="*/ 0 w 713"/>
                  <a:gd name="T51" fmla="*/ 0 h 869"/>
                  <a:gd name="T52" fmla="*/ 0 w 713"/>
                  <a:gd name="T53" fmla="*/ 0 h 869"/>
                  <a:gd name="T54" fmla="*/ 0 w 713"/>
                  <a:gd name="T55" fmla="*/ 0 h 869"/>
                  <a:gd name="T56" fmla="*/ 0 w 713"/>
                  <a:gd name="T57" fmla="*/ 0 h 869"/>
                  <a:gd name="T58" fmla="*/ 0 w 713"/>
                  <a:gd name="T59" fmla="*/ 0 h 869"/>
                  <a:gd name="T60" fmla="*/ 0 w 713"/>
                  <a:gd name="T61" fmla="*/ 0 h 869"/>
                  <a:gd name="T62" fmla="*/ 0 w 713"/>
                  <a:gd name="T63" fmla="*/ 0 h 869"/>
                  <a:gd name="T64" fmla="*/ 0 w 713"/>
                  <a:gd name="T65" fmla="*/ 0 h 869"/>
                  <a:gd name="T66" fmla="*/ 0 w 713"/>
                  <a:gd name="T67" fmla="*/ 0 h 869"/>
                  <a:gd name="T68" fmla="*/ 0 w 713"/>
                  <a:gd name="T69" fmla="*/ 0 h 869"/>
                  <a:gd name="T70" fmla="*/ 0 w 713"/>
                  <a:gd name="T71" fmla="*/ 0 h 869"/>
                  <a:gd name="T72" fmla="*/ 0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148" name="Freeform 225"/>
              <p:cNvSpPr>
                <a:spLocks/>
              </p:cNvSpPr>
              <p:nvPr/>
            </p:nvSpPr>
            <p:spPr bwMode="auto">
              <a:xfrm>
                <a:off x="3469" y="1849"/>
                <a:ext cx="94" cy="53"/>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49" name="Freeform 226"/>
              <p:cNvSpPr>
                <a:spLocks/>
              </p:cNvSpPr>
              <p:nvPr/>
            </p:nvSpPr>
            <p:spPr bwMode="auto">
              <a:xfrm>
                <a:off x="3365" y="1759"/>
                <a:ext cx="96" cy="53"/>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50" name="Freeform 227"/>
              <p:cNvSpPr>
                <a:spLocks/>
              </p:cNvSpPr>
              <p:nvPr/>
            </p:nvSpPr>
            <p:spPr bwMode="auto">
              <a:xfrm>
                <a:off x="3344" y="1823"/>
                <a:ext cx="94" cy="53"/>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5" name="Group 223"/>
            <p:cNvGrpSpPr>
              <a:grpSpLocks/>
            </p:cNvGrpSpPr>
            <p:nvPr/>
          </p:nvGrpSpPr>
          <p:grpSpPr bwMode="auto">
            <a:xfrm rot="-2272316">
              <a:off x="1693904" y="5807043"/>
              <a:ext cx="298659" cy="322459"/>
              <a:chOff x="3233" y="1706"/>
              <a:chExt cx="321" cy="341"/>
            </a:xfrm>
          </p:grpSpPr>
          <p:sp>
            <p:nvSpPr>
              <p:cNvPr id="853143" name="Freeform 224"/>
              <p:cNvSpPr>
                <a:spLocks/>
              </p:cNvSpPr>
              <p:nvPr/>
            </p:nvSpPr>
            <p:spPr bwMode="auto">
              <a:xfrm>
                <a:off x="3233" y="1707"/>
                <a:ext cx="321" cy="341"/>
              </a:xfrm>
              <a:custGeom>
                <a:avLst/>
                <a:gdLst>
                  <a:gd name="T0" fmla="*/ 0 w 713"/>
                  <a:gd name="T1" fmla="*/ 0 h 869"/>
                  <a:gd name="T2" fmla="*/ 0 w 713"/>
                  <a:gd name="T3" fmla="*/ 0 h 869"/>
                  <a:gd name="T4" fmla="*/ 0 w 713"/>
                  <a:gd name="T5" fmla="*/ 0 h 869"/>
                  <a:gd name="T6" fmla="*/ 0 w 713"/>
                  <a:gd name="T7" fmla="*/ 0 h 869"/>
                  <a:gd name="T8" fmla="*/ 0 w 713"/>
                  <a:gd name="T9" fmla="*/ 0 h 869"/>
                  <a:gd name="T10" fmla="*/ 0 w 713"/>
                  <a:gd name="T11" fmla="*/ 0 h 869"/>
                  <a:gd name="T12" fmla="*/ 0 w 713"/>
                  <a:gd name="T13" fmla="*/ 0 h 869"/>
                  <a:gd name="T14" fmla="*/ 0 w 713"/>
                  <a:gd name="T15" fmla="*/ 0 h 869"/>
                  <a:gd name="T16" fmla="*/ 0 w 713"/>
                  <a:gd name="T17" fmla="*/ 0 h 869"/>
                  <a:gd name="T18" fmla="*/ 0 w 713"/>
                  <a:gd name="T19" fmla="*/ 0 h 869"/>
                  <a:gd name="T20" fmla="*/ 0 w 713"/>
                  <a:gd name="T21" fmla="*/ 0 h 869"/>
                  <a:gd name="T22" fmla="*/ 0 w 713"/>
                  <a:gd name="T23" fmla="*/ 0 h 869"/>
                  <a:gd name="T24" fmla="*/ 0 w 713"/>
                  <a:gd name="T25" fmla="*/ 0 h 869"/>
                  <a:gd name="T26" fmla="*/ 0 w 713"/>
                  <a:gd name="T27" fmla="*/ 0 h 869"/>
                  <a:gd name="T28" fmla="*/ 0 w 713"/>
                  <a:gd name="T29" fmla="*/ 0 h 869"/>
                  <a:gd name="T30" fmla="*/ 0 w 713"/>
                  <a:gd name="T31" fmla="*/ 0 h 869"/>
                  <a:gd name="T32" fmla="*/ 0 w 713"/>
                  <a:gd name="T33" fmla="*/ 0 h 869"/>
                  <a:gd name="T34" fmla="*/ 0 w 713"/>
                  <a:gd name="T35" fmla="*/ 0 h 869"/>
                  <a:gd name="T36" fmla="*/ 0 w 713"/>
                  <a:gd name="T37" fmla="*/ 0 h 869"/>
                  <a:gd name="T38" fmla="*/ 0 w 713"/>
                  <a:gd name="T39" fmla="*/ 0 h 869"/>
                  <a:gd name="T40" fmla="*/ 0 w 713"/>
                  <a:gd name="T41" fmla="*/ 0 h 869"/>
                  <a:gd name="T42" fmla="*/ 0 w 713"/>
                  <a:gd name="T43" fmla="*/ 0 h 869"/>
                  <a:gd name="T44" fmla="*/ 0 w 713"/>
                  <a:gd name="T45" fmla="*/ 0 h 869"/>
                  <a:gd name="T46" fmla="*/ 0 w 713"/>
                  <a:gd name="T47" fmla="*/ 0 h 869"/>
                  <a:gd name="T48" fmla="*/ 0 w 713"/>
                  <a:gd name="T49" fmla="*/ 0 h 869"/>
                  <a:gd name="T50" fmla="*/ 0 w 713"/>
                  <a:gd name="T51" fmla="*/ 0 h 869"/>
                  <a:gd name="T52" fmla="*/ 0 w 713"/>
                  <a:gd name="T53" fmla="*/ 0 h 869"/>
                  <a:gd name="T54" fmla="*/ 0 w 713"/>
                  <a:gd name="T55" fmla="*/ 0 h 869"/>
                  <a:gd name="T56" fmla="*/ 0 w 713"/>
                  <a:gd name="T57" fmla="*/ 0 h 869"/>
                  <a:gd name="T58" fmla="*/ 0 w 713"/>
                  <a:gd name="T59" fmla="*/ 0 h 869"/>
                  <a:gd name="T60" fmla="*/ 0 w 713"/>
                  <a:gd name="T61" fmla="*/ 0 h 869"/>
                  <a:gd name="T62" fmla="*/ 0 w 713"/>
                  <a:gd name="T63" fmla="*/ 0 h 869"/>
                  <a:gd name="T64" fmla="*/ 0 w 713"/>
                  <a:gd name="T65" fmla="*/ 0 h 869"/>
                  <a:gd name="T66" fmla="*/ 0 w 713"/>
                  <a:gd name="T67" fmla="*/ 0 h 869"/>
                  <a:gd name="T68" fmla="*/ 0 w 713"/>
                  <a:gd name="T69" fmla="*/ 0 h 869"/>
                  <a:gd name="T70" fmla="*/ 0 w 713"/>
                  <a:gd name="T71" fmla="*/ 0 h 869"/>
                  <a:gd name="T72" fmla="*/ 0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144" name="Freeform 225"/>
              <p:cNvSpPr>
                <a:spLocks/>
              </p:cNvSpPr>
              <p:nvPr/>
            </p:nvSpPr>
            <p:spPr bwMode="auto">
              <a:xfrm>
                <a:off x="3400" y="1910"/>
                <a:ext cx="96" cy="55"/>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45" name="Freeform 226"/>
              <p:cNvSpPr>
                <a:spLocks/>
              </p:cNvSpPr>
              <p:nvPr/>
            </p:nvSpPr>
            <p:spPr bwMode="auto">
              <a:xfrm>
                <a:off x="3365" y="1766"/>
                <a:ext cx="97" cy="57"/>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46" name="Freeform 227"/>
              <p:cNvSpPr>
                <a:spLocks/>
              </p:cNvSpPr>
              <p:nvPr/>
            </p:nvSpPr>
            <p:spPr bwMode="auto">
              <a:xfrm>
                <a:off x="3311" y="1806"/>
                <a:ext cx="94" cy="57"/>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6" name="Group 208"/>
            <p:cNvGrpSpPr>
              <a:grpSpLocks/>
            </p:cNvGrpSpPr>
            <p:nvPr/>
          </p:nvGrpSpPr>
          <p:grpSpPr bwMode="auto">
            <a:xfrm>
              <a:off x="295274" y="5619750"/>
              <a:ext cx="312737" cy="231774"/>
              <a:chOff x="4150" y="2750"/>
              <a:chExt cx="421" cy="378"/>
            </a:xfrm>
          </p:grpSpPr>
          <p:sp>
            <p:nvSpPr>
              <p:cNvPr id="853141" name="Freeform 209"/>
              <p:cNvSpPr>
                <a:spLocks/>
              </p:cNvSpPr>
              <p:nvPr/>
            </p:nvSpPr>
            <p:spPr bwMode="auto">
              <a:xfrm rot="-12360">
                <a:off x="4150" y="2749"/>
                <a:ext cx="421" cy="379"/>
              </a:xfrm>
              <a:custGeom>
                <a:avLst/>
                <a:gdLst>
                  <a:gd name="T0" fmla="*/ 107 w 406"/>
                  <a:gd name="T1" fmla="*/ 339 h 378"/>
                  <a:gd name="T2" fmla="*/ 246 w 406"/>
                  <a:gd name="T3" fmla="*/ 0 h 378"/>
                  <a:gd name="T4" fmla="*/ 529 w 406"/>
                  <a:gd name="T5" fmla="*/ 10 h 378"/>
                  <a:gd name="T6" fmla="*/ 595 w 406"/>
                  <a:gd name="T7" fmla="*/ 82 h 378"/>
                  <a:gd name="T8" fmla="*/ 624 w 406"/>
                  <a:gd name="T9" fmla="*/ 311 h 378"/>
                  <a:gd name="T10" fmla="*/ 612 w 406"/>
                  <a:gd name="T11" fmla="*/ 357 h 378"/>
                  <a:gd name="T12" fmla="*/ 372 w 406"/>
                  <a:gd name="T13" fmla="*/ 384 h 378"/>
                  <a:gd name="T14" fmla="*/ 107 w 406"/>
                  <a:gd name="T15" fmla="*/ 366 h 378"/>
                  <a:gd name="T16" fmla="*/ 107 w 406"/>
                  <a:gd name="T17" fmla="*/ 339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142" name="Oval 210"/>
              <p:cNvSpPr>
                <a:spLocks noChangeArrowheads="1"/>
              </p:cNvSpPr>
              <p:nvPr/>
            </p:nvSpPr>
            <p:spPr bwMode="auto">
              <a:xfrm rot="-12360">
                <a:off x="4377" y="2885"/>
                <a:ext cx="49" cy="49"/>
              </a:xfrm>
              <a:prstGeom prst="ellipse">
                <a:avLst/>
              </a:prstGeom>
              <a:solidFill>
                <a:srgbClr val="800000"/>
              </a:solidFill>
              <a:ln w="9525">
                <a:solidFill>
                  <a:srgbClr val="000000"/>
                </a:solidFill>
                <a:round/>
                <a:headEnd/>
                <a:tailEnd/>
              </a:ln>
            </p:spPr>
            <p:txBody>
              <a:bodyPr wrap="none" anchor="ctr"/>
              <a:lstStyle/>
              <a:p>
                <a:endParaRPr lang="it-IT">
                  <a:solidFill>
                    <a:srgbClr val="000000"/>
                  </a:solidFill>
                  <a:latin typeface="Arial" pitchFamily="34" charset="0"/>
                </a:endParaRPr>
              </a:p>
            </p:txBody>
          </p:sp>
        </p:grpSp>
        <p:grpSp>
          <p:nvGrpSpPr>
            <p:cNvPr id="7" name="Group 208"/>
            <p:cNvGrpSpPr>
              <a:grpSpLocks/>
            </p:cNvGrpSpPr>
            <p:nvPr/>
          </p:nvGrpSpPr>
          <p:grpSpPr bwMode="auto">
            <a:xfrm>
              <a:off x="2076452" y="5591177"/>
              <a:ext cx="4141581" cy="272058"/>
              <a:chOff x="4150" y="2750"/>
              <a:chExt cx="4483" cy="395"/>
            </a:xfrm>
          </p:grpSpPr>
          <p:sp>
            <p:nvSpPr>
              <p:cNvPr id="853138" name="Freeform 209"/>
              <p:cNvSpPr>
                <a:spLocks/>
              </p:cNvSpPr>
              <p:nvPr/>
            </p:nvSpPr>
            <p:spPr bwMode="auto">
              <a:xfrm rot="-12360">
                <a:off x="4150" y="2750"/>
                <a:ext cx="421" cy="378"/>
              </a:xfrm>
              <a:custGeom>
                <a:avLst/>
                <a:gdLst>
                  <a:gd name="T0" fmla="*/ 107 w 406"/>
                  <a:gd name="T1" fmla="*/ 328 h 378"/>
                  <a:gd name="T2" fmla="*/ 246 w 406"/>
                  <a:gd name="T3" fmla="*/ 0 h 378"/>
                  <a:gd name="T4" fmla="*/ 529 w 406"/>
                  <a:gd name="T5" fmla="*/ 10 h 378"/>
                  <a:gd name="T6" fmla="*/ 595 w 406"/>
                  <a:gd name="T7" fmla="*/ 82 h 378"/>
                  <a:gd name="T8" fmla="*/ 624 w 406"/>
                  <a:gd name="T9" fmla="*/ 300 h 378"/>
                  <a:gd name="T10" fmla="*/ 612 w 406"/>
                  <a:gd name="T11" fmla="*/ 346 h 378"/>
                  <a:gd name="T12" fmla="*/ 372 w 406"/>
                  <a:gd name="T13" fmla="*/ 373 h 378"/>
                  <a:gd name="T14" fmla="*/ 107 w 406"/>
                  <a:gd name="T15" fmla="*/ 355 h 378"/>
                  <a:gd name="T16" fmla="*/ 107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139" name="Oval 210"/>
              <p:cNvSpPr>
                <a:spLocks noChangeArrowheads="1"/>
              </p:cNvSpPr>
              <p:nvPr/>
            </p:nvSpPr>
            <p:spPr bwMode="auto">
              <a:xfrm rot="-12360">
                <a:off x="4377" y="2886"/>
                <a:ext cx="50" cy="49"/>
              </a:xfrm>
              <a:prstGeom prst="ellipse">
                <a:avLst/>
              </a:prstGeom>
              <a:solidFill>
                <a:srgbClr val="800000"/>
              </a:solidFill>
              <a:ln w="9525">
                <a:solidFill>
                  <a:srgbClr val="000000"/>
                </a:solidFill>
                <a:round/>
                <a:headEnd/>
                <a:tailEnd/>
              </a:ln>
            </p:spPr>
            <p:txBody>
              <a:bodyPr wrap="none" anchor="ctr"/>
              <a:lstStyle/>
              <a:p>
                <a:endParaRPr lang="it-IT">
                  <a:solidFill>
                    <a:srgbClr val="000000"/>
                  </a:solidFill>
                  <a:latin typeface="Arial" pitchFamily="34" charset="0"/>
                </a:endParaRPr>
              </a:p>
            </p:txBody>
          </p:sp>
          <p:sp>
            <p:nvSpPr>
              <p:cNvPr id="853140" name="Freeform 209"/>
              <p:cNvSpPr>
                <a:spLocks/>
              </p:cNvSpPr>
              <p:nvPr/>
            </p:nvSpPr>
            <p:spPr bwMode="auto">
              <a:xfrm rot="-12360">
                <a:off x="8212" y="2767"/>
                <a:ext cx="421" cy="378"/>
              </a:xfrm>
              <a:custGeom>
                <a:avLst/>
                <a:gdLst>
                  <a:gd name="T0" fmla="*/ 107 w 406"/>
                  <a:gd name="T1" fmla="*/ 328 h 378"/>
                  <a:gd name="T2" fmla="*/ 246 w 406"/>
                  <a:gd name="T3" fmla="*/ 0 h 378"/>
                  <a:gd name="T4" fmla="*/ 529 w 406"/>
                  <a:gd name="T5" fmla="*/ 10 h 378"/>
                  <a:gd name="T6" fmla="*/ 595 w 406"/>
                  <a:gd name="T7" fmla="*/ 82 h 378"/>
                  <a:gd name="T8" fmla="*/ 624 w 406"/>
                  <a:gd name="T9" fmla="*/ 300 h 378"/>
                  <a:gd name="T10" fmla="*/ 612 w 406"/>
                  <a:gd name="T11" fmla="*/ 346 h 378"/>
                  <a:gd name="T12" fmla="*/ 372 w 406"/>
                  <a:gd name="T13" fmla="*/ 373 h 378"/>
                  <a:gd name="T14" fmla="*/ 107 w 406"/>
                  <a:gd name="T15" fmla="*/ 355 h 378"/>
                  <a:gd name="T16" fmla="*/ 107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grpSp>
      </p:grpSp>
      <p:grpSp>
        <p:nvGrpSpPr>
          <p:cNvPr id="8" name="Gruppo 32"/>
          <p:cNvGrpSpPr>
            <a:grpSpLocks/>
          </p:cNvGrpSpPr>
          <p:nvPr/>
        </p:nvGrpSpPr>
        <p:grpSpPr bwMode="auto">
          <a:xfrm>
            <a:off x="3381375" y="5021263"/>
            <a:ext cx="2170113" cy="800100"/>
            <a:chOff x="295274" y="5591175"/>
            <a:chExt cx="2170113" cy="799925"/>
          </a:xfrm>
        </p:grpSpPr>
        <p:sp>
          <p:nvSpPr>
            <p:cNvPr id="853110" name="Figura a mano libera 33"/>
            <p:cNvSpPr>
              <a:spLocks/>
            </p:cNvSpPr>
            <p:nvPr/>
          </p:nvSpPr>
          <p:spPr bwMode="auto">
            <a:xfrm>
              <a:off x="569255" y="5743575"/>
              <a:ext cx="1556396" cy="619125"/>
            </a:xfrm>
            <a:custGeom>
              <a:avLst/>
              <a:gdLst>
                <a:gd name="T0" fmla="*/ 11770 w 1556396"/>
                <a:gd name="T1" fmla="*/ 355292 h 542925"/>
                <a:gd name="T2" fmla="*/ 21295 w 1556396"/>
                <a:gd name="T3" fmla="*/ 621755 h 542925"/>
                <a:gd name="T4" fmla="*/ 68920 w 1556396"/>
                <a:gd name="T5" fmla="*/ 1065860 h 542925"/>
                <a:gd name="T6" fmla="*/ 126070 w 1556396"/>
                <a:gd name="T7" fmla="*/ 1243507 h 542925"/>
                <a:gd name="T8" fmla="*/ 145120 w 1556396"/>
                <a:gd name="T9" fmla="*/ 1509966 h 542925"/>
                <a:gd name="T10" fmla="*/ 173695 w 1556396"/>
                <a:gd name="T11" fmla="*/ 1776434 h 542925"/>
                <a:gd name="T12" fmla="*/ 183220 w 1556396"/>
                <a:gd name="T13" fmla="*/ 2131712 h 542925"/>
                <a:gd name="T14" fmla="*/ 192745 w 1556396"/>
                <a:gd name="T15" fmla="*/ 2398185 h 542925"/>
                <a:gd name="T16" fmla="*/ 230845 w 1556396"/>
                <a:gd name="T17" fmla="*/ 2931117 h 542925"/>
                <a:gd name="T18" fmla="*/ 307045 w 1556396"/>
                <a:gd name="T19" fmla="*/ 3108754 h 542925"/>
                <a:gd name="T20" fmla="*/ 354670 w 1556396"/>
                <a:gd name="T21" fmla="*/ 3641683 h 542925"/>
                <a:gd name="T22" fmla="*/ 392770 w 1556396"/>
                <a:gd name="T23" fmla="*/ 4618719 h 542925"/>
                <a:gd name="T24" fmla="*/ 430870 w 1556396"/>
                <a:gd name="T25" fmla="*/ 4707548 h 542925"/>
                <a:gd name="T26" fmla="*/ 526120 w 1556396"/>
                <a:gd name="T27" fmla="*/ 4796366 h 542925"/>
                <a:gd name="T28" fmla="*/ 621370 w 1556396"/>
                <a:gd name="T29" fmla="*/ 5062834 h 542925"/>
                <a:gd name="T30" fmla="*/ 688045 w 1556396"/>
                <a:gd name="T31" fmla="*/ 4973992 h 542925"/>
                <a:gd name="T32" fmla="*/ 707095 w 1556396"/>
                <a:gd name="T33" fmla="*/ 4707548 h 542925"/>
                <a:gd name="T34" fmla="*/ 773770 w 1556396"/>
                <a:gd name="T35" fmla="*/ 4529897 h 542925"/>
                <a:gd name="T36" fmla="*/ 1097620 w 1556396"/>
                <a:gd name="T37" fmla="*/ 4707548 h 542925"/>
                <a:gd name="T38" fmla="*/ 1126195 w 1556396"/>
                <a:gd name="T39" fmla="*/ 4796366 h 542925"/>
                <a:gd name="T40" fmla="*/ 1135720 w 1556396"/>
                <a:gd name="T41" fmla="*/ 4529897 h 542925"/>
                <a:gd name="T42" fmla="*/ 1192870 w 1556396"/>
                <a:gd name="T43" fmla="*/ 4174609 h 542925"/>
                <a:gd name="T44" fmla="*/ 1230970 w 1556396"/>
                <a:gd name="T45" fmla="*/ 3552865 h 542925"/>
                <a:gd name="T46" fmla="*/ 1259545 w 1556396"/>
                <a:gd name="T47" fmla="*/ 3375222 h 542925"/>
                <a:gd name="T48" fmla="*/ 1297645 w 1556396"/>
                <a:gd name="T49" fmla="*/ 2753466 h 542925"/>
                <a:gd name="T50" fmla="*/ 1307170 w 1556396"/>
                <a:gd name="T51" fmla="*/ 2309364 h 542925"/>
                <a:gd name="T52" fmla="*/ 1411945 w 1556396"/>
                <a:gd name="T53" fmla="*/ 2131712 h 542925"/>
                <a:gd name="T54" fmla="*/ 1430995 w 1556396"/>
                <a:gd name="T55" fmla="*/ 1865257 h 542925"/>
                <a:gd name="T56" fmla="*/ 1469095 w 1556396"/>
                <a:gd name="T57" fmla="*/ 1065860 h 542925"/>
                <a:gd name="T58" fmla="*/ 1554820 w 1556396"/>
                <a:gd name="T59" fmla="*/ 621755 h 542925"/>
                <a:gd name="T60" fmla="*/ 1545295 w 1556396"/>
                <a:gd name="T61" fmla="*/ 266465 h 542925"/>
                <a:gd name="T62" fmla="*/ 1478620 w 1556396"/>
                <a:gd name="T63" fmla="*/ 177648 h 542925"/>
                <a:gd name="T64" fmla="*/ 1392895 w 1556396"/>
                <a:gd name="T65" fmla="*/ 0 h 542925"/>
                <a:gd name="T66" fmla="*/ 1250020 w 1556396"/>
                <a:gd name="T67" fmla="*/ 88816 h 542925"/>
                <a:gd name="T68" fmla="*/ 1154770 w 1556396"/>
                <a:gd name="T69" fmla="*/ 355292 h 542925"/>
                <a:gd name="T70" fmla="*/ 1088095 w 1556396"/>
                <a:gd name="T71" fmla="*/ 532936 h 542925"/>
                <a:gd name="T72" fmla="*/ 821395 w 1556396"/>
                <a:gd name="T73" fmla="*/ 444108 h 542925"/>
                <a:gd name="T74" fmla="*/ 688045 w 1556396"/>
                <a:gd name="T75" fmla="*/ 266465 h 542925"/>
                <a:gd name="T76" fmla="*/ 602320 w 1556396"/>
                <a:gd name="T77" fmla="*/ 177648 h 542925"/>
                <a:gd name="T78" fmla="*/ 316570 w 1556396"/>
                <a:gd name="T79" fmla="*/ 0 h 542925"/>
                <a:gd name="T80" fmla="*/ 87970 w 1556396"/>
                <a:gd name="T81" fmla="*/ 88816 h 542925"/>
                <a:gd name="T82" fmla="*/ 30820 w 1556396"/>
                <a:gd name="T83" fmla="*/ 266465 h 542925"/>
                <a:gd name="T84" fmla="*/ 11770 w 1556396"/>
                <a:gd name="T85" fmla="*/ 355292 h 5429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56396"/>
                <a:gd name="T130" fmla="*/ 0 h 542925"/>
                <a:gd name="T131" fmla="*/ 1556396 w 1556396"/>
                <a:gd name="T132" fmla="*/ 542925 h 5429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56396" h="542925">
                  <a:moveTo>
                    <a:pt x="11770" y="38100"/>
                  </a:moveTo>
                  <a:cubicBezTo>
                    <a:pt x="10183" y="44450"/>
                    <a:pt x="16805" y="57695"/>
                    <a:pt x="21295" y="66675"/>
                  </a:cubicBezTo>
                  <a:cubicBezTo>
                    <a:pt x="33088" y="90261"/>
                    <a:pt x="44427" y="103414"/>
                    <a:pt x="68920" y="114300"/>
                  </a:cubicBezTo>
                  <a:cubicBezTo>
                    <a:pt x="87270" y="122455"/>
                    <a:pt x="126070" y="133350"/>
                    <a:pt x="126070" y="133350"/>
                  </a:cubicBezTo>
                  <a:cubicBezTo>
                    <a:pt x="132420" y="142875"/>
                    <a:pt x="137791" y="153131"/>
                    <a:pt x="145120" y="161925"/>
                  </a:cubicBezTo>
                  <a:cubicBezTo>
                    <a:pt x="153744" y="172273"/>
                    <a:pt x="167012" y="178804"/>
                    <a:pt x="173695" y="190500"/>
                  </a:cubicBezTo>
                  <a:cubicBezTo>
                    <a:pt x="180190" y="201866"/>
                    <a:pt x="179624" y="216013"/>
                    <a:pt x="183220" y="228600"/>
                  </a:cubicBezTo>
                  <a:cubicBezTo>
                    <a:pt x="185978" y="238254"/>
                    <a:pt x="187869" y="248398"/>
                    <a:pt x="192745" y="257175"/>
                  </a:cubicBezTo>
                  <a:cubicBezTo>
                    <a:pt x="203864" y="277189"/>
                    <a:pt x="208394" y="309835"/>
                    <a:pt x="230845" y="314325"/>
                  </a:cubicBezTo>
                  <a:cubicBezTo>
                    <a:pt x="288315" y="325819"/>
                    <a:pt x="263111" y="318730"/>
                    <a:pt x="307045" y="333375"/>
                  </a:cubicBezTo>
                  <a:cubicBezTo>
                    <a:pt x="321423" y="347753"/>
                    <a:pt x="347092" y="369686"/>
                    <a:pt x="354670" y="390525"/>
                  </a:cubicBezTo>
                  <a:cubicBezTo>
                    <a:pt x="358879" y="402099"/>
                    <a:pt x="366900" y="478053"/>
                    <a:pt x="392770" y="495300"/>
                  </a:cubicBezTo>
                  <a:cubicBezTo>
                    <a:pt x="403662" y="502562"/>
                    <a:pt x="417911" y="502974"/>
                    <a:pt x="430870" y="504825"/>
                  </a:cubicBezTo>
                  <a:cubicBezTo>
                    <a:pt x="462458" y="509338"/>
                    <a:pt x="494370" y="511175"/>
                    <a:pt x="526120" y="514350"/>
                  </a:cubicBezTo>
                  <a:cubicBezTo>
                    <a:pt x="595689" y="537540"/>
                    <a:pt x="563789" y="528530"/>
                    <a:pt x="621370" y="542925"/>
                  </a:cubicBezTo>
                  <a:cubicBezTo>
                    <a:pt x="643595" y="539750"/>
                    <a:pt x="667529" y="542518"/>
                    <a:pt x="688045" y="533400"/>
                  </a:cubicBezTo>
                  <a:cubicBezTo>
                    <a:pt x="698506" y="528751"/>
                    <a:pt x="698156" y="511976"/>
                    <a:pt x="707095" y="504825"/>
                  </a:cubicBezTo>
                  <a:cubicBezTo>
                    <a:pt x="713306" y="499856"/>
                    <a:pt x="771281" y="486397"/>
                    <a:pt x="773770" y="485775"/>
                  </a:cubicBezTo>
                  <a:cubicBezTo>
                    <a:pt x="938103" y="491253"/>
                    <a:pt x="985538" y="472801"/>
                    <a:pt x="1097620" y="504825"/>
                  </a:cubicBezTo>
                  <a:cubicBezTo>
                    <a:pt x="1107274" y="507583"/>
                    <a:pt x="1116670" y="511175"/>
                    <a:pt x="1126195" y="514350"/>
                  </a:cubicBezTo>
                  <a:cubicBezTo>
                    <a:pt x="1129370" y="504825"/>
                    <a:pt x="1128620" y="492875"/>
                    <a:pt x="1135720" y="485775"/>
                  </a:cubicBezTo>
                  <a:cubicBezTo>
                    <a:pt x="1151909" y="469586"/>
                    <a:pt x="1192870" y="447675"/>
                    <a:pt x="1192870" y="447675"/>
                  </a:cubicBezTo>
                  <a:cubicBezTo>
                    <a:pt x="1200341" y="432734"/>
                    <a:pt x="1217507" y="394463"/>
                    <a:pt x="1230970" y="381000"/>
                  </a:cubicBezTo>
                  <a:cubicBezTo>
                    <a:pt x="1239065" y="372905"/>
                    <a:pt x="1250020" y="368300"/>
                    <a:pt x="1259545" y="361950"/>
                  </a:cubicBezTo>
                  <a:cubicBezTo>
                    <a:pt x="1273480" y="341047"/>
                    <a:pt x="1289588" y="319445"/>
                    <a:pt x="1297645" y="295275"/>
                  </a:cubicBezTo>
                  <a:cubicBezTo>
                    <a:pt x="1302765" y="279916"/>
                    <a:pt x="1293186" y="255807"/>
                    <a:pt x="1307170" y="247650"/>
                  </a:cubicBezTo>
                  <a:cubicBezTo>
                    <a:pt x="1337832" y="229764"/>
                    <a:pt x="1377020" y="234950"/>
                    <a:pt x="1411945" y="228600"/>
                  </a:cubicBezTo>
                  <a:cubicBezTo>
                    <a:pt x="1418295" y="219075"/>
                    <a:pt x="1426346" y="210486"/>
                    <a:pt x="1430995" y="200025"/>
                  </a:cubicBezTo>
                  <a:cubicBezTo>
                    <a:pt x="1441960" y="175353"/>
                    <a:pt x="1445579" y="134876"/>
                    <a:pt x="1469095" y="114300"/>
                  </a:cubicBezTo>
                  <a:cubicBezTo>
                    <a:pt x="1509405" y="79029"/>
                    <a:pt x="1515573" y="79757"/>
                    <a:pt x="1554820" y="66675"/>
                  </a:cubicBezTo>
                  <a:cubicBezTo>
                    <a:pt x="1551645" y="53975"/>
                    <a:pt x="1556396" y="35513"/>
                    <a:pt x="1545295" y="28575"/>
                  </a:cubicBezTo>
                  <a:cubicBezTo>
                    <a:pt x="1526257" y="16676"/>
                    <a:pt x="1500765" y="22741"/>
                    <a:pt x="1478620" y="19050"/>
                  </a:cubicBezTo>
                  <a:cubicBezTo>
                    <a:pt x="1442343" y="13004"/>
                    <a:pt x="1427145" y="8563"/>
                    <a:pt x="1392895" y="0"/>
                  </a:cubicBezTo>
                  <a:cubicBezTo>
                    <a:pt x="1345270" y="3175"/>
                    <a:pt x="1297488" y="4528"/>
                    <a:pt x="1250020" y="9525"/>
                  </a:cubicBezTo>
                  <a:cubicBezTo>
                    <a:pt x="1228981" y="11740"/>
                    <a:pt x="1168287" y="33594"/>
                    <a:pt x="1154770" y="38100"/>
                  </a:cubicBezTo>
                  <a:cubicBezTo>
                    <a:pt x="1113776" y="51765"/>
                    <a:pt x="1135935" y="45190"/>
                    <a:pt x="1088095" y="57150"/>
                  </a:cubicBezTo>
                  <a:lnTo>
                    <a:pt x="821395" y="47625"/>
                  </a:lnTo>
                  <a:cubicBezTo>
                    <a:pt x="603888" y="36177"/>
                    <a:pt x="801914" y="46093"/>
                    <a:pt x="688045" y="28575"/>
                  </a:cubicBezTo>
                  <a:cubicBezTo>
                    <a:pt x="659628" y="24203"/>
                    <a:pt x="630928" y="21911"/>
                    <a:pt x="602320" y="19050"/>
                  </a:cubicBezTo>
                  <a:cubicBezTo>
                    <a:pt x="469039" y="5722"/>
                    <a:pt x="478039" y="8498"/>
                    <a:pt x="316570" y="0"/>
                  </a:cubicBezTo>
                  <a:cubicBezTo>
                    <a:pt x="240370" y="3175"/>
                    <a:pt x="163858" y="1936"/>
                    <a:pt x="87970" y="9525"/>
                  </a:cubicBezTo>
                  <a:cubicBezTo>
                    <a:pt x="67989" y="11523"/>
                    <a:pt x="30820" y="28575"/>
                    <a:pt x="30820" y="28575"/>
                  </a:cubicBezTo>
                  <a:cubicBezTo>
                    <a:pt x="0" y="59395"/>
                    <a:pt x="13358" y="31750"/>
                    <a:pt x="11770" y="38100"/>
                  </a:cubicBezTo>
                  <a:close/>
                </a:path>
              </a:pathLst>
            </a:custGeom>
            <a:solidFill>
              <a:schemeClr val="bg1"/>
            </a:solidFill>
            <a:ln w="9525">
              <a:noFill/>
              <a:round/>
              <a:headEnd/>
              <a:tailEnd/>
            </a:ln>
          </p:spPr>
          <p:txBody>
            <a:bodyPr/>
            <a:lstStyle/>
            <a:p>
              <a:endParaRPr lang="it-IT"/>
            </a:p>
          </p:txBody>
        </p:sp>
        <p:grpSp>
          <p:nvGrpSpPr>
            <p:cNvPr id="10" name="Group 223"/>
            <p:cNvGrpSpPr>
              <a:grpSpLocks/>
            </p:cNvGrpSpPr>
            <p:nvPr/>
          </p:nvGrpSpPr>
          <p:grpSpPr bwMode="auto">
            <a:xfrm rot="1848513">
              <a:off x="670339" y="5793935"/>
              <a:ext cx="372153" cy="366976"/>
              <a:chOff x="3243" y="1661"/>
              <a:chExt cx="379" cy="384"/>
            </a:xfrm>
          </p:grpSpPr>
          <p:sp>
            <p:nvSpPr>
              <p:cNvPr id="853128" name="Freeform 224"/>
              <p:cNvSpPr>
                <a:spLocks/>
              </p:cNvSpPr>
              <p:nvPr/>
            </p:nvSpPr>
            <p:spPr bwMode="auto">
              <a:xfrm>
                <a:off x="3241" y="1661"/>
                <a:ext cx="383" cy="384"/>
              </a:xfrm>
              <a:custGeom>
                <a:avLst/>
                <a:gdLst>
                  <a:gd name="T0" fmla="*/ 0 w 713"/>
                  <a:gd name="T1" fmla="*/ 0 h 869"/>
                  <a:gd name="T2" fmla="*/ 1 w 713"/>
                  <a:gd name="T3" fmla="*/ 0 h 869"/>
                  <a:gd name="T4" fmla="*/ 1 w 713"/>
                  <a:gd name="T5" fmla="*/ 0 h 869"/>
                  <a:gd name="T6" fmla="*/ 1 w 713"/>
                  <a:gd name="T7" fmla="*/ 0 h 869"/>
                  <a:gd name="T8" fmla="*/ 1 w 713"/>
                  <a:gd name="T9" fmla="*/ 0 h 869"/>
                  <a:gd name="T10" fmla="*/ 1 w 713"/>
                  <a:gd name="T11" fmla="*/ 0 h 869"/>
                  <a:gd name="T12" fmla="*/ 1 w 713"/>
                  <a:gd name="T13" fmla="*/ 0 h 869"/>
                  <a:gd name="T14" fmla="*/ 1 w 713"/>
                  <a:gd name="T15" fmla="*/ 0 h 869"/>
                  <a:gd name="T16" fmla="*/ 1 w 713"/>
                  <a:gd name="T17" fmla="*/ 0 h 869"/>
                  <a:gd name="T18" fmla="*/ 1 w 713"/>
                  <a:gd name="T19" fmla="*/ 0 h 869"/>
                  <a:gd name="T20" fmla="*/ 1 w 713"/>
                  <a:gd name="T21" fmla="*/ 0 h 869"/>
                  <a:gd name="T22" fmla="*/ 1 w 713"/>
                  <a:gd name="T23" fmla="*/ 0 h 869"/>
                  <a:gd name="T24" fmla="*/ 1 w 713"/>
                  <a:gd name="T25" fmla="*/ 0 h 869"/>
                  <a:gd name="T26" fmla="*/ 1 w 713"/>
                  <a:gd name="T27" fmla="*/ 0 h 869"/>
                  <a:gd name="T28" fmla="*/ 1 w 713"/>
                  <a:gd name="T29" fmla="*/ 0 h 869"/>
                  <a:gd name="T30" fmla="*/ 1 w 713"/>
                  <a:gd name="T31" fmla="*/ 0 h 869"/>
                  <a:gd name="T32" fmla="*/ 1 w 713"/>
                  <a:gd name="T33" fmla="*/ 0 h 869"/>
                  <a:gd name="T34" fmla="*/ 1 w 713"/>
                  <a:gd name="T35" fmla="*/ 0 h 869"/>
                  <a:gd name="T36" fmla="*/ 1 w 713"/>
                  <a:gd name="T37" fmla="*/ 0 h 869"/>
                  <a:gd name="T38" fmla="*/ 1 w 713"/>
                  <a:gd name="T39" fmla="*/ 0 h 869"/>
                  <a:gd name="T40" fmla="*/ 1 w 713"/>
                  <a:gd name="T41" fmla="*/ 0 h 869"/>
                  <a:gd name="T42" fmla="*/ 1 w 713"/>
                  <a:gd name="T43" fmla="*/ 0 h 869"/>
                  <a:gd name="T44" fmla="*/ 1 w 713"/>
                  <a:gd name="T45" fmla="*/ 0 h 869"/>
                  <a:gd name="T46" fmla="*/ 1 w 713"/>
                  <a:gd name="T47" fmla="*/ 0 h 869"/>
                  <a:gd name="T48" fmla="*/ 1 w 713"/>
                  <a:gd name="T49" fmla="*/ 0 h 869"/>
                  <a:gd name="T50" fmla="*/ 1 w 713"/>
                  <a:gd name="T51" fmla="*/ 0 h 869"/>
                  <a:gd name="T52" fmla="*/ 1 w 713"/>
                  <a:gd name="T53" fmla="*/ 0 h 869"/>
                  <a:gd name="T54" fmla="*/ 1 w 713"/>
                  <a:gd name="T55" fmla="*/ 0 h 869"/>
                  <a:gd name="T56" fmla="*/ 1 w 713"/>
                  <a:gd name="T57" fmla="*/ 0 h 869"/>
                  <a:gd name="T58" fmla="*/ 1 w 713"/>
                  <a:gd name="T59" fmla="*/ 0 h 869"/>
                  <a:gd name="T60" fmla="*/ 1 w 713"/>
                  <a:gd name="T61" fmla="*/ 0 h 869"/>
                  <a:gd name="T62" fmla="*/ 1 w 713"/>
                  <a:gd name="T63" fmla="*/ 0 h 869"/>
                  <a:gd name="T64" fmla="*/ 1 w 713"/>
                  <a:gd name="T65" fmla="*/ 0 h 869"/>
                  <a:gd name="T66" fmla="*/ 1 w 713"/>
                  <a:gd name="T67" fmla="*/ 0 h 869"/>
                  <a:gd name="T68" fmla="*/ 1 w 713"/>
                  <a:gd name="T69" fmla="*/ 0 h 869"/>
                  <a:gd name="T70" fmla="*/ 1 w 713"/>
                  <a:gd name="T71" fmla="*/ 0 h 869"/>
                  <a:gd name="T72" fmla="*/ 1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129" name="Freeform 225"/>
              <p:cNvSpPr>
                <a:spLocks/>
              </p:cNvSpPr>
              <p:nvPr/>
            </p:nvSpPr>
            <p:spPr bwMode="auto">
              <a:xfrm>
                <a:off x="3467" y="1853"/>
                <a:ext cx="94" cy="50"/>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30" name="Freeform 226"/>
              <p:cNvSpPr>
                <a:spLocks/>
              </p:cNvSpPr>
              <p:nvPr/>
            </p:nvSpPr>
            <p:spPr bwMode="auto">
              <a:xfrm>
                <a:off x="3368" y="1771"/>
                <a:ext cx="94" cy="53"/>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31" name="Freeform 227"/>
              <p:cNvSpPr>
                <a:spLocks/>
              </p:cNvSpPr>
              <p:nvPr/>
            </p:nvSpPr>
            <p:spPr bwMode="auto">
              <a:xfrm>
                <a:off x="3338" y="1830"/>
                <a:ext cx="94" cy="55"/>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11" name="Group 223"/>
            <p:cNvGrpSpPr>
              <a:grpSpLocks/>
            </p:cNvGrpSpPr>
            <p:nvPr/>
          </p:nvGrpSpPr>
          <p:grpSpPr bwMode="auto">
            <a:xfrm rot="-249666">
              <a:off x="1131282" y="6061081"/>
              <a:ext cx="347604" cy="330019"/>
              <a:chOff x="3243" y="1731"/>
              <a:chExt cx="368" cy="314"/>
            </a:xfrm>
          </p:grpSpPr>
          <p:sp>
            <p:nvSpPr>
              <p:cNvPr id="853124" name="Freeform 224"/>
              <p:cNvSpPr>
                <a:spLocks/>
              </p:cNvSpPr>
              <p:nvPr/>
            </p:nvSpPr>
            <p:spPr bwMode="auto">
              <a:xfrm>
                <a:off x="3244" y="1723"/>
                <a:ext cx="368" cy="314"/>
              </a:xfrm>
              <a:custGeom>
                <a:avLst/>
                <a:gdLst>
                  <a:gd name="T0" fmla="*/ 0 w 713"/>
                  <a:gd name="T1" fmla="*/ 0 h 869"/>
                  <a:gd name="T2" fmla="*/ 1 w 713"/>
                  <a:gd name="T3" fmla="*/ 0 h 869"/>
                  <a:gd name="T4" fmla="*/ 1 w 713"/>
                  <a:gd name="T5" fmla="*/ 0 h 869"/>
                  <a:gd name="T6" fmla="*/ 1 w 713"/>
                  <a:gd name="T7" fmla="*/ 0 h 869"/>
                  <a:gd name="T8" fmla="*/ 1 w 713"/>
                  <a:gd name="T9" fmla="*/ 0 h 869"/>
                  <a:gd name="T10" fmla="*/ 1 w 713"/>
                  <a:gd name="T11" fmla="*/ 0 h 869"/>
                  <a:gd name="T12" fmla="*/ 1 w 713"/>
                  <a:gd name="T13" fmla="*/ 0 h 869"/>
                  <a:gd name="T14" fmla="*/ 1 w 713"/>
                  <a:gd name="T15" fmla="*/ 0 h 869"/>
                  <a:gd name="T16" fmla="*/ 1 w 713"/>
                  <a:gd name="T17" fmla="*/ 0 h 869"/>
                  <a:gd name="T18" fmla="*/ 1 w 713"/>
                  <a:gd name="T19" fmla="*/ 0 h 869"/>
                  <a:gd name="T20" fmla="*/ 1 w 713"/>
                  <a:gd name="T21" fmla="*/ 0 h 869"/>
                  <a:gd name="T22" fmla="*/ 1 w 713"/>
                  <a:gd name="T23" fmla="*/ 0 h 869"/>
                  <a:gd name="T24" fmla="*/ 1 w 713"/>
                  <a:gd name="T25" fmla="*/ 0 h 869"/>
                  <a:gd name="T26" fmla="*/ 1 w 713"/>
                  <a:gd name="T27" fmla="*/ 0 h 869"/>
                  <a:gd name="T28" fmla="*/ 1 w 713"/>
                  <a:gd name="T29" fmla="*/ 0 h 869"/>
                  <a:gd name="T30" fmla="*/ 1 w 713"/>
                  <a:gd name="T31" fmla="*/ 0 h 869"/>
                  <a:gd name="T32" fmla="*/ 1 w 713"/>
                  <a:gd name="T33" fmla="*/ 0 h 869"/>
                  <a:gd name="T34" fmla="*/ 1 w 713"/>
                  <a:gd name="T35" fmla="*/ 0 h 869"/>
                  <a:gd name="T36" fmla="*/ 1 w 713"/>
                  <a:gd name="T37" fmla="*/ 0 h 869"/>
                  <a:gd name="T38" fmla="*/ 1 w 713"/>
                  <a:gd name="T39" fmla="*/ 0 h 869"/>
                  <a:gd name="T40" fmla="*/ 1 w 713"/>
                  <a:gd name="T41" fmla="*/ 0 h 869"/>
                  <a:gd name="T42" fmla="*/ 1 w 713"/>
                  <a:gd name="T43" fmla="*/ 0 h 869"/>
                  <a:gd name="T44" fmla="*/ 1 w 713"/>
                  <a:gd name="T45" fmla="*/ 0 h 869"/>
                  <a:gd name="T46" fmla="*/ 1 w 713"/>
                  <a:gd name="T47" fmla="*/ 0 h 869"/>
                  <a:gd name="T48" fmla="*/ 1 w 713"/>
                  <a:gd name="T49" fmla="*/ 0 h 869"/>
                  <a:gd name="T50" fmla="*/ 1 w 713"/>
                  <a:gd name="T51" fmla="*/ 0 h 869"/>
                  <a:gd name="T52" fmla="*/ 1 w 713"/>
                  <a:gd name="T53" fmla="*/ 0 h 869"/>
                  <a:gd name="T54" fmla="*/ 1 w 713"/>
                  <a:gd name="T55" fmla="*/ 0 h 869"/>
                  <a:gd name="T56" fmla="*/ 1 w 713"/>
                  <a:gd name="T57" fmla="*/ 0 h 869"/>
                  <a:gd name="T58" fmla="*/ 1 w 713"/>
                  <a:gd name="T59" fmla="*/ 0 h 869"/>
                  <a:gd name="T60" fmla="*/ 1 w 713"/>
                  <a:gd name="T61" fmla="*/ 0 h 869"/>
                  <a:gd name="T62" fmla="*/ 1 w 713"/>
                  <a:gd name="T63" fmla="*/ 0 h 869"/>
                  <a:gd name="T64" fmla="*/ 1 w 713"/>
                  <a:gd name="T65" fmla="*/ 0 h 869"/>
                  <a:gd name="T66" fmla="*/ 1 w 713"/>
                  <a:gd name="T67" fmla="*/ 0 h 869"/>
                  <a:gd name="T68" fmla="*/ 1 w 713"/>
                  <a:gd name="T69" fmla="*/ 0 h 869"/>
                  <a:gd name="T70" fmla="*/ 1 w 713"/>
                  <a:gd name="T71" fmla="*/ 0 h 869"/>
                  <a:gd name="T72" fmla="*/ 1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125" name="Freeform 225"/>
              <p:cNvSpPr>
                <a:spLocks/>
              </p:cNvSpPr>
              <p:nvPr/>
            </p:nvSpPr>
            <p:spPr bwMode="auto">
              <a:xfrm>
                <a:off x="3471" y="1855"/>
                <a:ext cx="94"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26" name="Freeform 226"/>
              <p:cNvSpPr>
                <a:spLocks/>
              </p:cNvSpPr>
              <p:nvPr/>
            </p:nvSpPr>
            <p:spPr bwMode="auto">
              <a:xfrm>
                <a:off x="3367" y="1768"/>
                <a:ext cx="97" cy="53"/>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27" name="Freeform 227"/>
              <p:cNvSpPr>
                <a:spLocks/>
              </p:cNvSpPr>
              <p:nvPr/>
            </p:nvSpPr>
            <p:spPr bwMode="auto">
              <a:xfrm>
                <a:off x="3343" y="1833"/>
                <a:ext cx="91" cy="53"/>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12" name="Group 223"/>
            <p:cNvGrpSpPr>
              <a:grpSpLocks/>
            </p:cNvGrpSpPr>
            <p:nvPr/>
          </p:nvGrpSpPr>
          <p:grpSpPr bwMode="auto">
            <a:xfrm rot="-2272316">
              <a:off x="1737231" y="5750828"/>
              <a:ext cx="322849" cy="331915"/>
              <a:chOff x="3301" y="1694"/>
              <a:chExt cx="347" cy="351"/>
            </a:xfrm>
          </p:grpSpPr>
          <p:sp>
            <p:nvSpPr>
              <p:cNvPr id="853120" name="Freeform 224"/>
              <p:cNvSpPr>
                <a:spLocks/>
              </p:cNvSpPr>
              <p:nvPr/>
            </p:nvSpPr>
            <p:spPr bwMode="auto">
              <a:xfrm>
                <a:off x="3297" y="1694"/>
                <a:ext cx="353" cy="351"/>
              </a:xfrm>
              <a:custGeom>
                <a:avLst/>
                <a:gdLst>
                  <a:gd name="T0" fmla="*/ 0 w 713"/>
                  <a:gd name="T1" fmla="*/ 0 h 869"/>
                  <a:gd name="T2" fmla="*/ 0 w 713"/>
                  <a:gd name="T3" fmla="*/ 0 h 869"/>
                  <a:gd name="T4" fmla="*/ 0 w 713"/>
                  <a:gd name="T5" fmla="*/ 0 h 869"/>
                  <a:gd name="T6" fmla="*/ 0 w 713"/>
                  <a:gd name="T7" fmla="*/ 0 h 869"/>
                  <a:gd name="T8" fmla="*/ 0 w 713"/>
                  <a:gd name="T9" fmla="*/ 0 h 869"/>
                  <a:gd name="T10" fmla="*/ 0 w 713"/>
                  <a:gd name="T11" fmla="*/ 0 h 869"/>
                  <a:gd name="T12" fmla="*/ 0 w 713"/>
                  <a:gd name="T13" fmla="*/ 0 h 869"/>
                  <a:gd name="T14" fmla="*/ 0 w 713"/>
                  <a:gd name="T15" fmla="*/ 0 h 869"/>
                  <a:gd name="T16" fmla="*/ 0 w 713"/>
                  <a:gd name="T17" fmla="*/ 0 h 869"/>
                  <a:gd name="T18" fmla="*/ 0 w 713"/>
                  <a:gd name="T19" fmla="*/ 0 h 869"/>
                  <a:gd name="T20" fmla="*/ 0 w 713"/>
                  <a:gd name="T21" fmla="*/ 0 h 869"/>
                  <a:gd name="T22" fmla="*/ 0 w 713"/>
                  <a:gd name="T23" fmla="*/ 0 h 869"/>
                  <a:gd name="T24" fmla="*/ 0 w 713"/>
                  <a:gd name="T25" fmla="*/ 0 h 869"/>
                  <a:gd name="T26" fmla="*/ 0 w 713"/>
                  <a:gd name="T27" fmla="*/ 0 h 869"/>
                  <a:gd name="T28" fmla="*/ 0 w 713"/>
                  <a:gd name="T29" fmla="*/ 0 h 869"/>
                  <a:gd name="T30" fmla="*/ 0 w 713"/>
                  <a:gd name="T31" fmla="*/ 0 h 869"/>
                  <a:gd name="T32" fmla="*/ 0 w 713"/>
                  <a:gd name="T33" fmla="*/ 0 h 869"/>
                  <a:gd name="T34" fmla="*/ 0 w 713"/>
                  <a:gd name="T35" fmla="*/ 0 h 869"/>
                  <a:gd name="T36" fmla="*/ 0 w 713"/>
                  <a:gd name="T37" fmla="*/ 0 h 869"/>
                  <a:gd name="T38" fmla="*/ 0 w 713"/>
                  <a:gd name="T39" fmla="*/ 0 h 869"/>
                  <a:gd name="T40" fmla="*/ 0 w 713"/>
                  <a:gd name="T41" fmla="*/ 0 h 869"/>
                  <a:gd name="T42" fmla="*/ 0 w 713"/>
                  <a:gd name="T43" fmla="*/ 0 h 869"/>
                  <a:gd name="T44" fmla="*/ 0 w 713"/>
                  <a:gd name="T45" fmla="*/ 0 h 869"/>
                  <a:gd name="T46" fmla="*/ 0 w 713"/>
                  <a:gd name="T47" fmla="*/ 0 h 869"/>
                  <a:gd name="T48" fmla="*/ 0 w 713"/>
                  <a:gd name="T49" fmla="*/ 0 h 869"/>
                  <a:gd name="T50" fmla="*/ 0 w 713"/>
                  <a:gd name="T51" fmla="*/ 0 h 869"/>
                  <a:gd name="T52" fmla="*/ 0 w 713"/>
                  <a:gd name="T53" fmla="*/ 0 h 869"/>
                  <a:gd name="T54" fmla="*/ 0 w 713"/>
                  <a:gd name="T55" fmla="*/ 0 h 869"/>
                  <a:gd name="T56" fmla="*/ 0 w 713"/>
                  <a:gd name="T57" fmla="*/ 0 h 869"/>
                  <a:gd name="T58" fmla="*/ 0 w 713"/>
                  <a:gd name="T59" fmla="*/ 0 h 869"/>
                  <a:gd name="T60" fmla="*/ 0 w 713"/>
                  <a:gd name="T61" fmla="*/ 0 h 869"/>
                  <a:gd name="T62" fmla="*/ 0 w 713"/>
                  <a:gd name="T63" fmla="*/ 0 h 869"/>
                  <a:gd name="T64" fmla="*/ 0 w 713"/>
                  <a:gd name="T65" fmla="*/ 0 h 869"/>
                  <a:gd name="T66" fmla="*/ 0 w 713"/>
                  <a:gd name="T67" fmla="*/ 0 h 869"/>
                  <a:gd name="T68" fmla="*/ 0 w 713"/>
                  <a:gd name="T69" fmla="*/ 0 h 869"/>
                  <a:gd name="T70" fmla="*/ 0 w 713"/>
                  <a:gd name="T71" fmla="*/ 0 h 869"/>
                  <a:gd name="T72" fmla="*/ 0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121" name="Freeform 225"/>
              <p:cNvSpPr>
                <a:spLocks/>
              </p:cNvSpPr>
              <p:nvPr/>
            </p:nvSpPr>
            <p:spPr bwMode="auto">
              <a:xfrm>
                <a:off x="3465" y="1847"/>
                <a:ext cx="97"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22" name="Freeform 226"/>
              <p:cNvSpPr>
                <a:spLocks/>
              </p:cNvSpPr>
              <p:nvPr/>
            </p:nvSpPr>
            <p:spPr bwMode="auto">
              <a:xfrm>
                <a:off x="3367" y="1769"/>
                <a:ext cx="97" cy="52"/>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23" name="Freeform 227"/>
              <p:cNvSpPr>
                <a:spLocks/>
              </p:cNvSpPr>
              <p:nvPr/>
            </p:nvSpPr>
            <p:spPr bwMode="auto">
              <a:xfrm>
                <a:off x="3343" y="1833"/>
                <a:ext cx="96" cy="55"/>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13" name="Group 208"/>
            <p:cNvGrpSpPr>
              <a:grpSpLocks/>
            </p:cNvGrpSpPr>
            <p:nvPr/>
          </p:nvGrpSpPr>
          <p:grpSpPr bwMode="auto">
            <a:xfrm>
              <a:off x="295274" y="5619750"/>
              <a:ext cx="312737" cy="231774"/>
              <a:chOff x="4150" y="2750"/>
              <a:chExt cx="421" cy="378"/>
            </a:xfrm>
          </p:grpSpPr>
          <p:sp>
            <p:nvSpPr>
              <p:cNvPr id="853118" name="Freeform 209"/>
              <p:cNvSpPr>
                <a:spLocks/>
              </p:cNvSpPr>
              <p:nvPr/>
            </p:nvSpPr>
            <p:spPr bwMode="auto">
              <a:xfrm rot="-12360">
                <a:off x="4150" y="2750"/>
                <a:ext cx="421" cy="378"/>
              </a:xfrm>
              <a:custGeom>
                <a:avLst/>
                <a:gdLst>
                  <a:gd name="T0" fmla="*/ 107 w 406"/>
                  <a:gd name="T1" fmla="*/ 328 h 378"/>
                  <a:gd name="T2" fmla="*/ 246 w 406"/>
                  <a:gd name="T3" fmla="*/ 0 h 378"/>
                  <a:gd name="T4" fmla="*/ 529 w 406"/>
                  <a:gd name="T5" fmla="*/ 10 h 378"/>
                  <a:gd name="T6" fmla="*/ 595 w 406"/>
                  <a:gd name="T7" fmla="*/ 82 h 378"/>
                  <a:gd name="T8" fmla="*/ 624 w 406"/>
                  <a:gd name="T9" fmla="*/ 300 h 378"/>
                  <a:gd name="T10" fmla="*/ 612 w 406"/>
                  <a:gd name="T11" fmla="*/ 346 h 378"/>
                  <a:gd name="T12" fmla="*/ 372 w 406"/>
                  <a:gd name="T13" fmla="*/ 373 h 378"/>
                  <a:gd name="T14" fmla="*/ 107 w 406"/>
                  <a:gd name="T15" fmla="*/ 355 h 378"/>
                  <a:gd name="T16" fmla="*/ 107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119" name="Oval 210"/>
              <p:cNvSpPr>
                <a:spLocks noChangeArrowheads="1"/>
              </p:cNvSpPr>
              <p:nvPr/>
            </p:nvSpPr>
            <p:spPr bwMode="auto">
              <a:xfrm rot="-12360">
                <a:off x="4377" y="2887"/>
                <a:ext cx="49" cy="47"/>
              </a:xfrm>
              <a:prstGeom prst="ellipse">
                <a:avLst/>
              </a:prstGeom>
              <a:solidFill>
                <a:srgbClr val="800000"/>
              </a:solidFill>
              <a:ln w="9525">
                <a:solidFill>
                  <a:srgbClr val="000000"/>
                </a:solidFill>
                <a:round/>
                <a:headEnd/>
                <a:tailEnd/>
              </a:ln>
            </p:spPr>
            <p:txBody>
              <a:bodyPr wrap="none" anchor="ctr"/>
              <a:lstStyle/>
              <a:p>
                <a:endParaRPr lang="it-IT">
                  <a:solidFill>
                    <a:srgbClr val="000000"/>
                  </a:solidFill>
                  <a:latin typeface="Arial" pitchFamily="34" charset="0"/>
                </a:endParaRPr>
              </a:p>
            </p:txBody>
          </p:sp>
        </p:grpSp>
        <p:grpSp>
          <p:nvGrpSpPr>
            <p:cNvPr id="14" name="Group 208"/>
            <p:cNvGrpSpPr>
              <a:grpSpLocks/>
            </p:cNvGrpSpPr>
            <p:nvPr/>
          </p:nvGrpSpPr>
          <p:grpSpPr bwMode="auto">
            <a:xfrm>
              <a:off x="2076450" y="5591175"/>
              <a:ext cx="388937" cy="260349"/>
              <a:chOff x="4150" y="2750"/>
              <a:chExt cx="421" cy="378"/>
            </a:xfrm>
          </p:grpSpPr>
          <p:sp>
            <p:nvSpPr>
              <p:cNvPr id="853116" name="Freeform 209"/>
              <p:cNvSpPr>
                <a:spLocks/>
              </p:cNvSpPr>
              <p:nvPr/>
            </p:nvSpPr>
            <p:spPr bwMode="auto">
              <a:xfrm rot="-12360">
                <a:off x="4150" y="2750"/>
                <a:ext cx="421" cy="378"/>
              </a:xfrm>
              <a:custGeom>
                <a:avLst/>
                <a:gdLst>
                  <a:gd name="T0" fmla="*/ 107 w 406"/>
                  <a:gd name="T1" fmla="*/ 328 h 378"/>
                  <a:gd name="T2" fmla="*/ 246 w 406"/>
                  <a:gd name="T3" fmla="*/ 0 h 378"/>
                  <a:gd name="T4" fmla="*/ 529 w 406"/>
                  <a:gd name="T5" fmla="*/ 10 h 378"/>
                  <a:gd name="T6" fmla="*/ 595 w 406"/>
                  <a:gd name="T7" fmla="*/ 82 h 378"/>
                  <a:gd name="T8" fmla="*/ 624 w 406"/>
                  <a:gd name="T9" fmla="*/ 300 h 378"/>
                  <a:gd name="T10" fmla="*/ 612 w 406"/>
                  <a:gd name="T11" fmla="*/ 346 h 378"/>
                  <a:gd name="T12" fmla="*/ 372 w 406"/>
                  <a:gd name="T13" fmla="*/ 373 h 378"/>
                  <a:gd name="T14" fmla="*/ 107 w 406"/>
                  <a:gd name="T15" fmla="*/ 355 h 378"/>
                  <a:gd name="T16" fmla="*/ 107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117" name="Oval 210"/>
              <p:cNvSpPr>
                <a:spLocks noChangeArrowheads="1"/>
              </p:cNvSpPr>
              <p:nvPr/>
            </p:nvSpPr>
            <p:spPr bwMode="auto">
              <a:xfrm rot="-12360">
                <a:off x="4377" y="2886"/>
                <a:ext cx="50" cy="48"/>
              </a:xfrm>
              <a:prstGeom prst="ellipse">
                <a:avLst/>
              </a:prstGeom>
              <a:solidFill>
                <a:srgbClr val="800000"/>
              </a:solidFill>
              <a:ln w="9525">
                <a:solidFill>
                  <a:srgbClr val="000000"/>
                </a:solidFill>
                <a:round/>
                <a:headEnd/>
                <a:tailEnd/>
              </a:ln>
            </p:spPr>
            <p:txBody>
              <a:bodyPr wrap="none" anchor="ctr"/>
              <a:lstStyle/>
              <a:p>
                <a:endParaRPr lang="it-IT">
                  <a:solidFill>
                    <a:srgbClr val="000000"/>
                  </a:solidFill>
                  <a:latin typeface="Arial" pitchFamily="34" charset="0"/>
                </a:endParaRPr>
              </a:p>
            </p:txBody>
          </p:sp>
        </p:grpSp>
      </p:grpSp>
      <p:grpSp>
        <p:nvGrpSpPr>
          <p:cNvPr id="15" name="Gruppo 58"/>
          <p:cNvGrpSpPr>
            <a:grpSpLocks/>
          </p:cNvGrpSpPr>
          <p:nvPr/>
        </p:nvGrpSpPr>
        <p:grpSpPr bwMode="auto">
          <a:xfrm>
            <a:off x="4381500" y="4687888"/>
            <a:ext cx="295275" cy="260350"/>
            <a:chOff x="4248150" y="5248275"/>
            <a:chExt cx="361949" cy="327024"/>
          </a:xfrm>
        </p:grpSpPr>
        <p:sp>
          <p:nvSpPr>
            <p:cNvPr id="853108"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109" name="Ovale 57"/>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16" name="Gruppo 59"/>
          <p:cNvGrpSpPr>
            <a:grpSpLocks/>
          </p:cNvGrpSpPr>
          <p:nvPr/>
        </p:nvGrpSpPr>
        <p:grpSpPr bwMode="auto">
          <a:xfrm>
            <a:off x="4527550" y="5340350"/>
            <a:ext cx="257175" cy="250825"/>
            <a:chOff x="4248150" y="5248275"/>
            <a:chExt cx="361949" cy="327024"/>
          </a:xfrm>
        </p:grpSpPr>
        <p:sp>
          <p:nvSpPr>
            <p:cNvPr id="853106"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107" name="Ovale 61"/>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17" name="Gruppo 62"/>
          <p:cNvGrpSpPr>
            <a:grpSpLocks/>
          </p:cNvGrpSpPr>
          <p:nvPr/>
        </p:nvGrpSpPr>
        <p:grpSpPr bwMode="auto">
          <a:xfrm>
            <a:off x="3990975" y="5621338"/>
            <a:ext cx="285750" cy="250825"/>
            <a:chOff x="4248150" y="5248275"/>
            <a:chExt cx="361949" cy="327024"/>
          </a:xfrm>
        </p:grpSpPr>
        <p:sp>
          <p:nvSpPr>
            <p:cNvPr id="853104"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105" name="Ovale 64"/>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18" name="Gruppo 65"/>
          <p:cNvGrpSpPr>
            <a:grpSpLocks/>
          </p:cNvGrpSpPr>
          <p:nvPr/>
        </p:nvGrpSpPr>
        <p:grpSpPr bwMode="auto">
          <a:xfrm>
            <a:off x="4076700" y="4411663"/>
            <a:ext cx="285750" cy="298450"/>
            <a:chOff x="4248150" y="5248275"/>
            <a:chExt cx="361949" cy="327024"/>
          </a:xfrm>
        </p:grpSpPr>
        <p:sp>
          <p:nvSpPr>
            <p:cNvPr id="853102"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103" name="Ovale 67"/>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sp>
        <p:nvSpPr>
          <p:cNvPr id="853012" name="Figura a mano libera 69"/>
          <p:cNvSpPr>
            <a:spLocks/>
          </p:cNvSpPr>
          <p:nvPr/>
        </p:nvSpPr>
        <p:spPr bwMode="auto">
          <a:xfrm>
            <a:off x="6904038" y="5202238"/>
            <a:ext cx="1555750" cy="885825"/>
          </a:xfrm>
          <a:custGeom>
            <a:avLst/>
            <a:gdLst>
              <a:gd name="T0" fmla="*/ 11690 w 1556396"/>
              <a:gd name="T1" fmla="*/ 156768559 h 542925"/>
              <a:gd name="T2" fmla="*/ 21151 w 1556396"/>
              <a:gd name="T3" fmla="*/ 274347080 h 542925"/>
              <a:gd name="T4" fmla="*/ 68463 w 1556396"/>
              <a:gd name="T5" fmla="*/ 470304895 h 542925"/>
              <a:gd name="T6" fmla="*/ 125238 w 1556396"/>
              <a:gd name="T7" fmla="*/ 548690402 h 542925"/>
              <a:gd name="T8" fmla="*/ 144160 w 1556396"/>
              <a:gd name="T9" fmla="*/ 666268035 h 542925"/>
              <a:gd name="T10" fmla="*/ 172543 w 1556396"/>
              <a:gd name="T11" fmla="*/ 783846086 h 542925"/>
              <a:gd name="T12" fmla="*/ 182004 w 1556396"/>
              <a:gd name="T13" fmla="*/ 940615638 h 542925"/>
              <a:gd name="T14" fmla="*/ 191465 w 1556396"/>
              <a:gd name="T15" fmla="*/ 1058189512 h 542925"/>
              <a:gd name="T16" fmla="*/ 229316 w 1556396"/>
              <a:gd name="T17" fmla="*/ 1293345614 h 542925"/>
              <a:gd name="T18" fmla="*/ 305013 w 1556396"/>
              <a:gd name="T19" fmla="*/ 1371730703 h 542925"/>
              <a:gd name="T20" fmla="*/ 352322 w 1556396"/>
              <a:gd name="T21" fmla="*/ 1606881793 h 542925"/>
              <a:gd name="T22" fmla="*/ 390170 w 1556396"/>
              <a:gd name="T23" fmla="*/ 2037996441 h 542925"/>
              <a:gd name="T24" fmla="*/ 428017 w 1556396"/>
              <a:gd name="T25" fmla="*/ 2077188568 h 542925"/>
              <a:gd name="T26" fmla="*/ 522637 w 1556396"/>
              <a:gd name="T27" fmla="*/ 2116379024 h 542925"/>
              <a:gd name="T28" fmla="*/ 617257 w 1556396"/>
              <a:gd name="T29" fmla="*/ 2147483647 h 542925"/>
              <a:gd name="T30" fmla="*/ 683491 w 1556396"/>
              <a:gd name="T31" fmla="*/ 2147483647 h 542925"/>
              <a:gd name="T32" fmla="*/ 702415 w 1556396"/>
              <a:gd name="T33" fmla="*/ 2077188568 h 542925"/>
              <a:gd name="T34" fmla="*/ 768648 w 1556396"/>
              <a:gd name="T35" fmla="*/ 1998807656 h 542925"/>
              <a:gd name="T36" fmla="*/ 1090356 w 1556396"/>
              <a:gd name="T37" fmla="*/ 2077188568 h 542925"/>
              <a:gd name="T38" fmla="*/ 1118741 w 1556396"/>
              <a:gd name="T39" fmla="*/ 2116379024 h 542925"/>
              <a:gd name="T40" fmla="*/ 1128203 w 1556396"/>
              <a:gd name="T41" fmla="*/ 1998807656 h 542925"/>
              <a:gd name="T42" fmla="*/ 1184974 w 1556396"/>
              <a:gd name="T43" fmla="*/ 1842035807 h 542925"/>
              <a:gd name="T44" fmla="*/ 1222821 w 1556396"/>
              <a:gd name="T45" fmla="*/ 1567687996 h 542925"/>
              <a:gd name="T46" fmla="*/ 1251207 w 1556396"/>
              <a:gd name="T47" fmla="*/ 1489307919 h 542925"/>
              <a:gd name="T48" fmla="*/ 1289055 w 1556396"/>
              <a:gd name="T49" fmla="*/ 1214958854 h 542925"/>
              <a:gd name="T50" fmla="*/ 1298518 w 1556396"/>
              <a:gd name="T51" fmla="*/ 1018998220 h 542925"/>
              <a:gd name="T52" fmla="*/ 1402597 w 1556396"/>
              <a:gd name="T53" fmla="*/ 940615638 h 542925"/>
              <a:gd name="T54" fmla="*/ 1421523 w 1556396"/>
              <a:gd name="T55" fmla="*/ 823038213 h 542925"/>
              <a:gd name="T56" fmla="*/ 1459370 w 1556396"/>
              <a:gd name="T57" fmla="*/ 470304895 h 542925"/>
              <a:gd name="T58" fmla="*/ 1544527 w 1556396"/>
              <a:gd name="T59" fmla="*/ 274347080 h 542925"/>
              <a:gd name="T60" fmla="*/ 1535065 w 1556396"/>
              <a:gd name="T61" fmla="*/ 117575180 h 542925"/>
              <a:gd name="T62" fmla="*/ 1468832 w 1556396"/>
              <a:gd name="T63" fmla="*/ 78385585 h 542925"/>
              <a:gd name="T64" fmla="*/ 1383675 w 1556396"/>
              <a:gd name="T65" fmla="*/ 0 h 542925"/>
              <a:gd name="T66" fmla="*/ 1241745 w 1556396"/>
              <a:gd name="T67" fmla="*/ 39191748 h 542925"/>
              <a:gd name="T68" fmla="*/ 1147126 w 1556396"/>
              <a:gd name="T69" fmla="*/ 156768559 h 542925"/>
              <a:gd name="T70" fmla="*/ 1080894 w 1556396"/>
              <a:gd name="T71" fmla="*/ 235155998 h 542925"/>
              <a:gd name="T72" fmla="*/ 815956 w 1556396"/>
              <a:gd name="T73" fmla="*/ 195961730 h 542925"/>
              <a:gd name="T74" fmla="*/ 683491 w 1556396"/>
              <a:gd name="T75" fmla="*/ 117575180 h 542925"/>
              <a:gd name="T76" fmla="*/ 598333 w 1556396"/>
              <a:gd name="T77" fmla="*/ 78385585 h 542925"/>
              <a:gd name="T78" fmla="*/ 314474 w 1556396"/>
              <a:gd name="T79" fmla="*/ 0 h 542925"/>
              <a:gd name="T80" fmla="*/ 87393 w 1556396"/>
              <a:gd name="T81" fmla="*/ 39191748 h 542925"/>
              <a:gd name="T82" fmla="*/ 30612 w 1556396"/>
              <a:gd name="T83" fmla="*/ 117575180 h 542925"/>
              <a:gd name="T84" fmla="*/ 11690 w 1556396"/>
              <a:gd name="T85" fmla="*/ 156768559 h 5429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56396"/>
              <a:gd name="T130" fmla="*/ 0 h 542925"/>
              <a:gd name="T131" fmla="*/ 1556396 w 1556396"/>
              <a:gd name="T132" fmla="*/ 542925 h 5429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56396" h="542925">
                <a:moveTo>
                  <a:pt x="11770" y="38100"/>
                </a:moveTo>
                <a:cubicBezTo>
                  <a:pt x="10183" y="44450"/>
                  <a:pt x="16805" y="57695"/>
                  <a:pt x="21295" y="66675"/>
                </a:cubicBezTo>
                <a:cubicBezTo>
                  <a:pt x="33088" y="90261"/>
                  <a:pt x="44427" y="103414"/>
                  <a:pt x="68920" y="114300"/>
                </a:cubicBezTo>
                <a:cubicBezTo>
                  <a:pt x="87270" y="122455"/>
                  <a:pt x="126070" y="133350"/>
                  <a:pt x="126070" y="133350"/>
                </a:cubicBezTo>
                <a:cubicBezTo>
                  <a:pt x="132420" y="142875"/>
                  <a:pt x="137791" y="153131"/>
                  <a:pt x="145120" y="161925"/>
                </a:cubicBezTo>
                <a:cubicBezTo>
                  <a:pt x="153744" y="172273"/>
                  <a:pt x="167012" y="178804"/>
                  <a:pt x="173695" y="190500"/>
                </a:cubicBezTo>
                <a:cubicBezTo>
                  <a:pt x="180190" y="201866"/>
                  <a:pt x="179624" y="216013"/>
                  <a:pt x="183220" y="228600"/>
                </a:cubicBezTo>
                <a:cubicBezTo>
                  <a:pt x="185978" y="238254"/>
                  <a:pt x="187869" y="248398"/>
                  <a:pt x="192745" y="257175"/>
                </a:cubicBezTo>
                <a:cubicBezTo>
                  <a:pt x="203864" y="277189"/>
                  <a:pt x="208394" y="309835"/>
                  <a:pt x="230845" y="314325"/>
                </a:cubicBezTo>
                <a:cubicBezTo>
                  <a:pt x="288315" y="325819"/>
                  <a:pt x="263111" y="318730"/>
                  <a:pt x="307045" y="333375"/>
                </a:cubicBezTo>
                <a:cubicBezTo>
                  <a:pt x="321423" y="347753"/>
                  <a:pt x="347092" y="369686"/>
                  <a:pt x="354670" y="390525"/>
                </a:cubicBezTo>
                <a:cubicBezTo>
                  <a:pt x="358879" y="402099"/>
                  <a:pt x="366900" y="478053"/>
                  <a:pt x="392770" y="495300"/>
                </a:cubicBezTo>
                <a:cubicBezTo>
                  <a:pt x="403662" y="502562"/>
                  <a:pt x="417911" y="502974"/>
                  <a:pt x="430870" y="504825"/>
                </a:cubicBezTo>
                <a:cubicBezTo>
                  <a:pt x="462458" y="509338"/>
                  <a:pt x="494370" y="511175"/>
                  <a:pt x="526120" y="514350"/>
                </a:cubicBezTo>
                <a:cubicBezTo>
                  <a:pt x="595689" y="537540"/>
                  <a:pt x="563789" y="528530"/>
                  <a:pt x="621370" y="542925"/>
                </a:cubicBezTo>
                <a:cubicBezTo>
                  <a:pt x="643595" y="539750"/>
                  <a:pt x="667529" y="542518"/>
                  <a:pt x="688045" y="533400"/>
                </a:cubicBezTo>
                <a:cubicBezTo>
                  <a:pt x="698506" y="528751"/>
                  <a:pt x="698156" y="511976"/>
                  <a:pt x="707095" y="504825"/>
                </a:cubicBezTo>
                <a:cubicBezTo>
                  <a:pt x="713306" y="499856"/>
                  <a:pt x="771281" y="486397"/>
                  <a:pt x="773770" y="485775"/>
                </a:cubicBezTo>
                <a:cubicBezTo>
                  <a:pt x="938103" y="491253"/>
                  <a:pt x="985538" y="472801"/>
                  <a:pt x="1097620" y="504825"/>
                </a:cubicBezTo>
                <a:cubicBezTo>
                  <a:pt x="1107274" y="507583"/>
                  <a:pt x="1116670" y="511175"/>
                  <a:pt x="1126195" y="514350"/>
                </a:cubicBezTo>
                <a:cubicBezTo>
                  <a:pt x="1129370" y="504825"/>
                  <a:pt x="1128620" y="492875"/>
                  <a:pt x="1135720" y="485775"/>
                </a:cubicBezTo>
                <a:cubicBezTo>
                  <a:pt x="1151909" y="469586"/>
                  <a:pt x="1192870" y="447675"/>
                  <a:pt x="1192870" y="447675"/>
                </a:cubicBezTo>
                <a:cubicBezTo>
                  <a:pt x="1200341" y="432734"/>
                  <a:pt x="1217507" y="394463"/>
                  <a:pt x="1230970" y="381000"/>
                </a:cubicBezTo>
                <a:cubicBezTo>
                  <a:pt x="1239065" y="372905"/>
                  <a:pt x="1250020" y="368300"/>
                  <a:pt x="1259545" y="361950"/>
                </a:cubicBezTo>
                <a:cubicBezTo>
                  <a:pt x="1273480" y="341047"/>
                  <a:pt x="1289588" y="319445"/>
                  <a:pt x="1297645" y="295275"/>
                </a:cubicBezTo>
                <a:cubicBezTo>
                  <a:pt x="1302765" y="279916"/>
                  <a:pt x="1293186" y="255807"/>
                  <a:pt x="1307170" y="247650"/>
                </a:cubicBezTo>
                <a:cubicBezTo>
                  <a:pt x="1337832" y="229764"/>
                  <a:pt x="1377020" y="234950"/>
                  <a:pt x="1411945" y="228600"/>
                </a:cubicBezTo>
                <a:cubicBezTo>
                  <a:pt x="1418295" y="219075"/>
                  <a:pt x="1426346" y="210486"/>
                  <a:pt x="1430995" y="200025"/>
                </a:cubicBezTo>
                <a:cubicBezTo>
                  <a:pt x="1441960" y="175353"/>
                  <a:pt x="1445579" y="134876"/>
                  <a:pt x="1469095" y="114300"/>
                </a:cubicBezTo>
                <a:cubicBezTo>
                  <a:pt x="1509405" y="79029"/>
                  <a:pt x="1515573" y="79757"/>
                  <a:pt x="1554820" y="66675"/>
                </a:cubicBezTo>
                <a:cubicBezTo>
                  <a:pt x="1551645" y="53975"/>
                  <a:pt x="1556396" y="35513"/>
                  <a:pt x="1545295" y="28575"/>
                </a:cubicBezTo>
                <a:cubicBezTo>
                  <a:pt x="1526257" y="16676"/>
                  <a:pt x="1500765" y="22741"/>
                  <a:pt x="1478620" y="19050"/>
                </a:cubicBezTo>
                <a:cubicBezTo>
                  <a:pt x="1442343" y="13004"/>
                  <a:pt x="1427145" y="8563"/>
                  <a:pt x="1392895" y="0"/>
                </a:cubicBezTo>
                <a:cubicBezTo>
                  <a:pt x="1345270" y="3175"/>
                  <a:pt x="1297488" y="4528"/>
                  <a:pt x="1250020" y="9525"/>
                </a:cubicBezTo>
                <a:cubicBezTo>
                  <a:pt x="1228981" y="11740"/>
                  <a:pt x="1168287" y="33594"/>
                  <a:pt x="1154770" y="38100"/>
                </a:cubicBezTo>
                <a:cubicBezTo>
                  <a:pt x="1113776" y="51765"/>
                  <a:pt x="1135935" y="45190"/>
                  <a:pt x="1088095" y="57150"/>
                </a:cubicBezTo>
                <a:lnTo>
                  <a:pt x="821395" y="47625"/>
                </a:lnTo>
                <a:cubicBezTo>
                  <a:pt x="603888" y="36177"/>
                  <a:pt x="801914" y="46093"/>
                  <a:pt x="688045" y="28575"/>
                </a:cubicBezTo>
                <a:cubicBezTo>
                  <a:pt x="659628" y="24203"/>
                  <a:pt x="630928" y="21911"/>
                  <a:pt x="602320" y="19050"/>
                </a:cubicBezTo>
                <a:cubicBezTo>
                  <a:pt x="469039" y="5722"/>
                  <a:pt x="478039" y="8498"/>
                  <a:pt x="316570" y="0"/>
                </a:cubicBezTo>
                <a:cubicBezTo>
                  <a:pt x="240370" y="3175"/>
                  <a:pt x="163858" y="1936"/>
                  <a:pt x="87970" y="9525"/>
                </a:cubicBezTo>
                <a:cubicBezTo>
                  <a:pt x="67989" y="11523"/>
                  <a:pt x="30820" y="28575"/>
                  <a:pt x="30820" y="28575"/>
                </a:cubicBezTo>
                <a:cubicBezTo>
                  <a:pt x="0" y="59395"/>
                  <a:pt x="13358" y="31750"/>
                  <a:pt x="11770" y="38100"/>
                </a:cubicBezTo>
                <a:close/>
              </a:path>
            </a:pathLst>
          </a:custGeom>
          <a:solidFill>
            <a:schemeClr val="bg1"/>
          </a:solidFill>
          <a:ln w="9525">
            <a:noFill/>
            <a:round/>
            <a:headEnd/>
            <a:tailEnd/>
          </a:ln>
        </p:spPr>
        <p:txBody>
          <a:bodyPr/>
          <a:lstStyle/>
          <a:p>
            <a:endParaRPr lang="it-IT"/>
          </a:p>
        </p:txBody>
      </p:sp>
      <p:grpSp>
        <p:nvGrpSpPr>
          <p:cNvPr id="19" name="Group 223"/>
          <p:cNvGrpSpPr>
            <a:grpSpLocks/>
          </p:cNvGrpSpPr>
          <p:nvPr/>
        </p:nvGrpSpPr>
        <p:grpSpPr bwMode="auto">
          <a:xfrm rot="1848513">
            <a:off x="6870700" y="5213350"/>
            <a:ext cx="268288" cy="284163"/>
            <a:chOff x="3243" y="1661"/>
            <a:chExt cx="379" cy="384"/>
          </a:xfrm>
        </p:grpSpPr>
        <p:sp>
          <p:nvSpPr>
            <p:cNvPr id="853098" name="Freeform 224"/>
            <p:cNvSpPr>
              <a:spLocks/>
            </p:cNvSpPr>
            <p:nvPr/>
          </p:nvSpPr>
          <p:spPr bwMode="auto">
            <a:xfrm>
              <a:off x="3243" y="1661"/>
              <a:ext cx="379" cy="384"/>
            </a:xfrm>
            <a:custGeom>
              <a:avLst/>
              <a:gdLst>
                <a:gd name="T0" fmla="*/ 0 w 713"/>
                <a:gd name="T1" fmla="*/ 0 h 869"/>
                <a:gd name="T2" fmla="*/ 1 w 713"/>
                <a:gd name="T3" fmla="*/ 0 h 869"/>
                <a:gd name="T4" fmla="*/ 1 w 713"/>
                <a:gd name="T5" fmla="*/ 0 h 869"/>
                <a:gd name="T6" fmla="*/ 1 w 713"/>
                <a:gd name="T7" fmla="*/ 0 h 869"/>
                <a:gd name="T8" fmla="*/ 1 w 713"/>
                <a:gd name="T9" fmla="*/ 0 h 869"/>
                <a:gd name="T10" fmla="*/ 1 w 713"/>
                <a:gd name="T11" fmla="*/ 0 h 869"/>
                <a:gd name="T12" fmla="*/ 1 w 713"/>
                <a:gd name="T13" fmla="*/ 0 h 869"/>
                <a:gd name="T14" fmla="*/ 1 w 713"/>
                <a:gd name="T15" fmla="*/ 0 h 869"/>
                <a:gd name="T16" fmla="*/ 1 w 713"/>
                <a:gd name="T17" fmla="*/ 0 h 869"/>
                <a:gd name="T18" fmla="*/ 1 w 713"/>
                <a:gd name="T19" fmla="*/ 0 h 869"/>
                <a:gd name="T20" fmla="*/ 1 w 713"/>
                <a:gd name="T21" fmla="*/ 0 h 869"/>
                <a:gd name="T22" fmla="*/ 1 w 713"/>
                <a:gd name="T23" fmla="*/ 0 h 869"/>
                <a:gd name="T24" fmla="*/ 1 w 713"/>
                <a:gd name="T25" fmla="*/ 0 h 869"/>
                <a:gd name="T26" fmla="*/ 1 w 713"/>
                <a:gd name="T27" fmla="*/ 0 h 869"/>
                <a:gd name="T28" fmla="*/ 1 w 713"/>
                <a:gd name="T29" fmla="*/ 0 h 869"/>
                <a:gd name="T30" fmla="*/ 1 w 713"/>
                <a:gd name="T31" fmla="*/ 0 h 869"/>
                <a:gd name="T32" fmla="*/ 1 w 713"/>
                <a:gd name="T33" fmla="*/ 0 h 869"/>
                <a:gd name="T34" fmla="*/ 1 w 713"/>
                <a:gd name="T35" fmla="*/ 0 h 869"/>
                <a:gd name="T36" fmla="*/ 1 w 713"/>
                <a:gd name="T37" fmla="*/ 0 h 869"/>
                <a:gd name="T38" fmla="*/ 1 w 713"/>
                <a:gd name="T39" fmla="*/ 0 h 869"/>
                <a:gd name="T40" fmla="*/ 1 w 713"/>
                <a:gd name="T41" fmla="*/ 0 h 869"/>
                <a:gd name="T42" fmla="*/ 1 w 713"/>
                <a:gd name="T43" fmla="*/ 0 h 869"/>
                <a:gd name="T44" fmla="*/ 1 w 713"/>
                <a:gd name="T45" fmla="*/ 0 h 869"/>
                <a:gd name="T46" fmla="*/ 1 w 713"/>
                <a:gd name="T47" fmla="*/ 0 h 869"/>
                <a:gd name="T48" fmla="*/ 1 w 713"/>
                <a:gd name="T49" fmla="*/ 0 h 869"/>
                <a:gd name="T50" fmla="*/ 1 w 713"/>
                <a:gd name="T51" fmla="*/ 0 h 869"/>
                <a:gd name="T52" fmla="*/ 1 w 713"/>
                <a:gd name="T53" fmla="*/ 0 h 869"/>
                <a:gd name="T54" fmla="*/ 1 w 713"/>
                <a:gd name="T55" fmla="*/ 0 h 869"/>
                <a:gd name="T56" fmla="*/ 1 w 713"/>
                <a:gd name="T57" fmla="*/ 0 h 869"/>
                <a:gd name="T58" fmla="*/ 1 w 713"/>
                <a:gd name="T59" fmla="*/ 0 h 869"/>
                <a:gd name="T60" fmla="*/ 1 w 713"/>
                <a:gd name="T61" fmla="*/ 0 h 869"/>
                <a:gd name="T62" fmla="*/ 1 w 713"/>
                <a:gd name="T63" fmla="*/ 0 h 869"/>
                <a:gd name="T64" fmla="*/ 1 w 713"/>
                <a:gd name="T65" fmla="*/ 0 h 869"/>
                <a:gd name="T66" fmla="*/ 1 w 713"/>
                <a:gd name="T67" fmla="*/ 0 h 869"/>
                <a:gd name="T68" fmla="*/ 1 w 713"/>
                <a:gd name="T69" fmla="*/ 0 h 869"/>
                <a:gd name="T70" fmla="*/ 1 w 713"/>
                <a:gd name="T71" fmla="*/ 0 h 869"/>
                <a:gd name="T72" fmla="*/ 1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099" name="Freeform 225"/>
            <p:cNvSpPr>
              <a:spLocks/>
            </p:cNvSpPr>
            <p:nvPr/>
          </p:nvSpPr>
          <p:spPr bwMode="auto">
            <a:xfrm>
              <a:off x="3470" y="1853"/>
              <a:ext cx="94" cy="56"/>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00" name="Freeform 226"/>
            <p:cNvSpPr>
              <a:spLocks/>
            </p:cNvSpPr>
            <p:nvPr/>
          </p:nvSpPr>
          <p:spPr bwMode="auto">
            <a:xfrm>
              <a:off x="3368" y="1771"/>
              <a:ext cx="96"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101" name="Freeform 227"/>
            <p:cNvSpPr>
              <a:spLocks/>
            </p:cNvSpPr>
            <p:nvPr/>
          </p:nvSpPr>
          <p:spPr bwMode="auto">
            <a:xfrm>
              <a:off x="3337" y="1834"/>
              <a:ext cx="94"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20" name="Group 223"/>
          <p:cNvGrpSpPr>
            <a:grpSpLocks/>
          </p:cNvGrpSpPr>
          <p:nvPr/>
        </p:nvGrpSpPr>
        <p:grpSpPr bwMode="auto">
          <a:xfrm rot="2557140">
            <a:off x="7019925" y="5430838"/>
            <a:ext cx="261938" cy="290512"/>
            <a:chOff x="3243" y="1661"/>
            <a:chExt cx="379" cy="384"/>
          </a:xfrm>
        </p:grpSpPr>
        <p:sp>
          <p:nvSpPr>
            <p:cNvPr id="853094" name="Freeform 224"/>
            <p:cNvSpPr>
              <a:spLocks/>
            </p:cNvSpPr>
            <p:nvPr/>
          </p:nvSpPr>
          <p:spPr bwMode="auto">
            <a:xfrm>
              <a:off x="3243" y="1661"/>
              <a:ext cx="379" cy="384"/>
            </a:xfrm>
            <a:custGeom>
              <a:avLst/>
              <a:gdLst>
                <a:gd name="T0" fmla="*/ 0 w 713"/>
                <a:gd name="T1" fmla="*/ 0 h 869"/>
                <a:gd name="T2" fmla="*/ 1 w 713"/>
                <a:gd name="T3" fmla="*/ 0 h 869"/>
                <a:gd name="T4" fmla="*/ 1 w 713"/>
                <a:gd name="T5" fmla="*/ 0 h 869"/>
                <a:gd name="T6" fmla="*/ 1 w 713"/>
                <a:gd name="T7" fmla="*/ 0 h 869"/>
                <a:gd name="T8" fmla="*/ 1 w 713"/>
                <a:gd name="T9" fmla="*/ 0 h 869"/>
                <a:gd name="T10" fmla="*/ 1 w 713"/>
                <a:gd name="T11" fmla="*/ 0 h 869"/>
                <a:gd name="T12" fmla="*/ 1 w 713"/>
                <a:gd name="T13" fmla="*/ 0 h 869"/>
                <a:gd name="T14" fmla="*/ 1 w 713"/>
                <a:gd name="T15" fmla="*/ 0 h 869"/>
                <a:gd name="T16" fmla="*/ 1 w 713"/>
                <a:gd name="T17" fmla="*/ 0 h 869"/>
                <a:gd name="T18" fmla="*/ 1 w 713"/>
                <a:gd name="T19" fmla="*/ 0 h 869"/>
                <a:gd name="T20" fmla="*/ 1 w 713"/>
                <a:gd name="T21" fmla="*/ 0 h 869"/>
                <a:gd name="T22" fmla="*/ 1 w 713"/>
                <a:gd name="T23" fmla="*/ 0 h 869"/>
                <a:gd name="T24" fmla="*/ 1 w 713"/>
                <a:gd name="T25" fmla="*/ 0 h 869"/>
                <a:gd name="T26" fmla="*/ 1 w 713"/>
                <a:gd name="T27" fmla="*/ 0 h 869"/>
                <a:gd name="T28" fmla="*/ 1 w 713"/>
                <a:gd name="T29" fmla="*/ 0 h 869"/>
                <a:gd name="T30" fmla="*/ 1 w 713"/>
                <a:gd name="T31" fmla="*/ 0 h 869"/>
                <a:gd name="T32" fmla="*/ 1 w 713"/>
                <a:gd name="T33" fmla="*/ 0 h 869"/>
                <a:gd name="T34" fmla="*/ 1 w 713"/>
                <a:gd name="T35" fmla="*/ 0 h 869"/>
                <a:gd name="T36" fmla="*/ 1 w 713"/>
                <a:gd name="T37" fmla="*/ 0 h 869"/>
                <a:gd name="T38" fmla="*/ 1 w 713"/>
                <a:gd name="T39" fmla="*/ 0 h 869"/>
                <a:gd name="T40" fmla="*/ 1 w 713"/>
                <a:gd name="T41" fmla="*/ 0 h 869"/>
                <a:gd name="T42" fmla="*/ 1 w 713"/>
                <a:gd name="T43" fmla="*/ 0 h 869"/>
                <a:gd name="T44" fmla="*/ 1 w 713"/>
                <a:gd name="T45" fmla="*/ 0 h 869"/>
                <a:gd name="T46" fmla="*/ 1 w 713"/>
                <a:gd name="T47" fmla="*/ 0 h 869"/>
                <a:gd name="T48" fmla="*/ 1 w 713"/>
                <a:gd name="T49" fmla="*/ 0 h 869"/>
                <a:gd name="T50" fmla="*/ 1 w 713"/>
                <a:gd name="T51" fmla="*/ 0 h 869"/>
                <a:gd name="T52" fmla="*/ 1 w 713"/>
                <a:gd name="T53" fmla="*/ 0 h 869"/>
                <a:gd name="T54" fmla="*/ 1 w 713"/>
                <a:gd name="T55" fmla="*/ 0 h 869"/>
                <a:gd name="T56" fmla="*/ 1 w 713"/>
                <a:gd name="T57" fmla="*/ 0 h 869"/>
                <a:gd name="T58" fmla="*/ 1 w 713"/>
                <a:gd name="T59" fmla="*/ 0 h 869"/>
                <a:gd name="T60" fmla="*/ 1 w 713"/>
                <a:gd name="T61" fmla="*/ 0 h 869"/>
                <a:gd name="T62" fmla="*/ 1 w 713"/>
                <a:gd name="T63" fmla="*/ 0 h 869"/>
                <a:gd name="T64" fmla="*/ 1 w 713"/>
                <a:gd name="T65" fmla="*/ 0 h 869"/>
                <a:gd name="T66" fmla="*/ 1 w 713"/>
                <a:gd name="T67" fmla="*/ 0 h 869"/>
                <a:gd name="T68" fmla="*/ 1 w 713"/>
                <a:gd name="T69" fmla="*/ 0 h 869"/>
                <a:gd name="T70" fmla="*/ 1 w 713"/>
                <a:gd name="T71" fmla="*/ 0 h 869"/>
                <a:gd name="T72" fmla="*/ 1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095" name="Freeform 225"/>
            <p:cNvSpPr>
              <a:spLocks/>
            </p:cNvSpPr>
            <p:nvPr/>
          </p:nvSpPr>
          <p:spPr bwMode="auto">
            <a:xfrm>
              <a:off x="3461" y="1851"/>
              <a:ext cx="96" cy="55"/>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96" name="Freeform 226"/>
            <p:cNvSpPr>
              <a:spLocks/>
            </p:cNvSpPr>
            <p:nvPr/>
          </p:nvSpPr>
          <p:spPr bwMode="auto">
            <a:xfrm>
              <a:off x="3362" y="1768"/>
              <a:ext cx="94" cy="61"/>
            </a:xfrm>
            <a:custGeom>
              <a:avLst/>
              <a:gdLst>
                <a:gd name="T0" fmla="*/ 1 w 180"/>
                <a:gd name="T1" fmla="*/ 1 h 122"/>
                <a:gd name="T2" fmla="*/ 1 w 180"/>
                <a:gd name="T3" fmla="*/ 1 h 122"/>
                <a:gd name="T4" fmla="*/ 1 w 180"/>
                <a:gd name="T5" fmla="*/ 1 h 122"/>
                <a:gd name="T6" fmla="*/ 1 w 180"/>
                <a:gd name="T7" fmla="*/ 1 h 122"/>
                <a:gd name="T8" fmla="*/ 1 w 180"/>
                <a:gd name="T9" fmla="*/ 1 h 122"/>
                <a:gd name="T10" fmla="*/ 1 w 180"/>
                <a:gd name="T11" fmla="*/ 1 h 122"/>
                <a:gd name="T12" fmla="*/ 1 w 180"/>
                <a:gd name="T13" fmla="*/ 1 h 122"/>
                <a:gd name="T14" fmla="*/ 1 w 180"/>
                <a:gd name="T15" fmla="*/ 1 h 122"/>
                <a:gd name="T16" fmla="*/ 1 w 180"/>
                <a:gd name="T17" fmla="*/ 1 h 122"/>
                <a:gd name="T18" fmla="*/ 1 w 180"/>
                <a:gd name="T19" fmla="*/ 1 h 122"/>
                <a:gd name="T20" fmla="*/ 1 w 180"/>
                <a:gd name="T21" fmla="*/ 1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97" name="Freeform 227"/>
            <p:cNvSpPr>
              <a:spLocks/>
            </p:cNvSpPr>
            <p:nvPr/>
          </p:nvSpPr>
          <p:spPr bwMode="auto">
            <a:xfrm>
              <a:off x="3339" y="1828"/>
              <a:ext cx="92" cy="59"/>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21" name="Group 223"/>
          <p:cNvGrpSpPr>
            <a:grpSpLocks/>
          </p:cNvGrpSpPr>
          <p:nvPr/>
        </p:nvGrpSpPr>
        <p:grpSpPr bwMode="auto">
          <a:xfrm rot="-1197093">
            <a:off x="7794625" y="5783263"/>
            <a:ext cx="254000" cy="284162"/>
            <a:chOff x="3243" y="1661"/>
            <a:chExt cx="379" cy="384"/>
          </a:xfrm>
        </p:grpSpPr>
        <p:sp>
          <p:nvSpPr>
            <p:cNvPr id="853090" name="Freeform 224"/>
            <p:cNvSpPr>
              <a:spLocks/>
            </p:cNvSpPr>
            <p:nvPr/>
          </p:nvSpPr>
          <p:spPr bwMode="auto">
            <a:xfrm>
              <a:off x="3243" y="1661"/>
              <a:ext cx="379" cy="384"/>
            </a:xfrm>
            <a:custGeom>
              <a:avLst/>
              <a:gdLst>
                <a:gd name="T0" fmla="*/ 0 w 713"/>
                <a:gd name="T1" fmla="*/ 0 h 869"/>
                <a:gd name="T2" fmla="*/ 1 w 713"/>
                <a:gd name="T3" fmla="*/ 0 h 869"/>
                <a:gd name="T4" fmla="*/ 1 w 713"/>
                <a:gd name="T5" fmla="*/ 0 h 869"/>
                <a:gd name="T6" fmla="*/ 1 w 713"/>
                <a:gd name="T7" fmla="*/ 0 h 869"/>
                <a:gd name="T8" fmla="*/ 1 w 713"/>
                <a:gd name="T9" fmla="*/ 0 h 869"/>
                <a:gd name="T10" fmla="*/ 1 w 713"/>
                <a:gd name="T11" fmla="*/ 0 h 869"/>
                <a:gd name="T12" fmla="*/ 1 w 713"/>
                <a:gd name="T13" fmla="*/ 0 h 869"/>
                <a:gd name="T14" fmla="*/ 1 w 713"/>
                <a:gd name="T15" fmla="*/ 0 h 869"/>
                <a:gd name="T16" fmla="*/ 1 w 713"/>
                <a:gd name="T17" fmla="*/ 0 h 869"/>
                <a:gd name="T18" fmla="*/ 1 w 713"/>
                <a:gd name="T19" fmla="*/ 0 h 869"/>
                <a:gd name="T20" fmla="*/ 1 w 713"/>
                <a:gd name="T21" fmla="*/ 0 h 869"/>
                <a:gd name="T22" fmla="*/ 1 w 713"/>
                <a:gd name="T23" fmla="*/ 0 h 869"/>
                <a:gd name="T24" fmla="*/ 1 w 713"/>
                <a:gd name="T25" fmla="*/ 0 h 869"/>
                <a:gd name="T26" fmla="*/ 1 w 713"/>
                <a:gd name="T27" fmla="*/ 0 h 869"/>
                <a:gd name="T28" fmla="*/ 1 w 713"/>
                <a:gd name="T29" fmla="*/ 0 h 869"/>
                <a:gd name="T30" fmla="*/ 1 w 713"/>
                <a:gd name="T31" fmla="*/ 0 h 869"/>
                <a:gd name="T32" fmla="*/ 1 w 713"/>
                <a:gd name="T33" fmla="*/ 0 h 869"/>
                <a:gd name="T34" fmla="*/ 1 w 713"/>
                <a:gd name="T35" fmla="*/ 0 h 869"/>
                <a:gd name="T36" fmla="*/ 1 w 713"/>
                <a:gd name="T37" fmla="*/ 0 h 869"/>
                <a:gd name="T38" fmla="*/ 1 w 713"/>
                <a:gd name="T39" fmla="*/ 0 h 869"/>
                <a:gd name="T40" fmla="*/ 1 w 713"/>
                <a:gd name="T41" fmla="*/ 0 h 869"/>
                <a:gd name="T42" fmla="*/ 1 w 713"/>
                <a:gd name="T43" fmla="*/ 0 h 869"/>
                <a:gd name="T44" fmla="*/ 1 w 713"/>
                <a:gd name="T45" fmla="*/ 0 h 869"/>
                <a:gd name="T46" fmla="*/ 1 w 713"/>
                <a:gd name="T47" fmla="*/ 0 h 869"/>
                <a:gd name="T48" fmla="*/ 1 w 713"/>
                <a:gd name="T49" fmla="*/ 0 h 869"/>
                <a:gd name="T50" fmla="*/ 1 w 713"/>
                <a:gd name="T51" fmla="*/ 0 h 869"/>
                <a:gd name="T52" fmla="*/ 1 w 713"/>
                <a:gd name="T53" fmla="*/ 0 h 869"/>
                <a:gd name="T54" fmla="*/ 1 w 713"/>
                <a:gd name="T55" fmla="*/ 0 h 869"/>
                <a:gd name="T56" fmla="*/ 1 w 713"/>
                <a:gd name="T57" fmla="*/ 0 h 869"/>
                <a:gd name="T58" fmla="*/ 1 w 713"/>
                <a:gd name="T59" fmla="*/ 0 h 869"/>
                <a:gd name="T60" fmla="*/ 1 w 713"/>
                <a:gd name="T61" fmla="*/ 0 h 869"/>
                <a:gd name="T62" fmla="*/ 1 w 713"/>
                <a:gd name="T63" fmla="*/ 0 h 869"/>
                <a:gd name="T64" fmla="*/ 1 w 713"/>
                <a:gd name="T65" fmla="*/ 0 h 869"/>
                <a:gd name="T66" fmla="*/ 1 w 713"/>
                <a:gd name="T67" fmla="*/ 0 h 869"/>
                <a:gd name="T68" fmla="*/ 1 w 713"/>
                <a:gd name="T69" fmla="*/ 0 h 869"/>
                <a:gd name="T70" fmla="*/ 1 w 713"/>
                <a:gd name="T71" fmla="*/ 0 h 869"/>
                <a:gd name="T72" fmla="*/ 1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091" name="Freeform 225"/>
            <p:cNvSpPr>
              <a:spLocks/>
            </p:cNvSpPr>
            <p:nvPr/>
          </p:nvSpPr>
          <p:spPr bwMode="auto">
            <a:xfrm>
              <a:off x="3464" y="1843"/>
              <a:ext cx="97" cy="56"/>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92" name="Freeform 226"/>
            <p:cNvSpPr>
              <a:spLocks/>
            </p:cNvSpPr>
            <p:nvPr/>
          </p:nvSpPr>
          <p:spPr bwMode="auto">
            <a:xfrm>
              <a:off x="3368" y="1768"/>
              <a:ext cx="95"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93" name="Freeform 227"/>
            <p:cNvSpPr>
              <a:spLocks/>
            </p:cNvSpPr>
            <p:nvPr/>
          </p:nvSpPr>
          <p:spPr bwMode="auto">
            <a:xfrm>
              <a:off x="3340" y="1825"/>
              <a:ext cx="95" cy="56"/>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22" name="Group 208"/>
          <p:cNvGrpSpPr>
            <a:grpSpLocks/>
          </p:cNvGrpSpPr>
          <p:nvPr/>
        </p:nvGrpSpPr>
        <p:grpSpPr bwMode="auto">
          <a:xfrm>
            <a:off x="6553200" y="5049838"/>
            <a:ext cx="312738" cy="231775"/>
            <a:chOff x="4150" y="2750"/>
            <a:chExt cx="421" cy="378"/>
          </a:xfrm>
        </p:grpSpPr>
        <p:sp>
          <p:nvSpPr>
            <p:cNvPr id="853088" name="Freeform 209"/>
            <p:cNvSpPr>
              <a:spLocks/>
            </p:cNvSpPr>
            <p:nvPr/>
          </p:nvSpPr>
          <p:spPr bwMode="auto">
            <a:xfrm rot="-12360">
              <a:off x="4150" y="2750"/>
              <a:ext cx="421" cy="378"/>
            </a:xfrm>
            <a:custGeom>
              <a:avLst/>
              <a:gdLst>
                <a:gd name="T0" fmla="*/ 107 w 406"/>
                <a:gd name="T1" fmla="*/ 328 h 378"/>
                <a:gd name="T2" fmla="*/ 246 w 406"/>
                <a:gd name="T3" fmla="*/ 0 h 378"/>
                <a:gd name="T4" fmla="*/ 529 w 406"/>
                <a:gd name="T5" fmla="*/ 10 h 378"/>
                <a:gd name="T6" fmla="*/ 595 w 406"/>
                <a:gd name="T7" fmla="*/ 82 h 378"/>
                <a:gd name="T8" fmla="*/ 624 w 406"/>
                <a:gd name="T9" fmla="*/ 300 h 378"/>
                <a:gd name="T10" fmla="*/ 612 w 406"/>
                <a:gd name="T11" fmla="*/ 346 h 378"/>
                <a:gd name="T12" fmla="*/ 372 w 406"/>
                <a:gd name="T13" fmla="*/ 373 h 378"/>
                <a:gd name="T14" fmla="*/ 107 w 406"/>
                <a:gd name="T15" fmla="*/ 355 h 378"/>
                <a:gd name="T16" fmla="*/ 107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089" name="Oval 210"/>
            <p:cNvSpPr>
              <a:spLocks noChangeArrowheads="1"/>
            </p:cNvSpPr>
            <p:nvPr/>
          </p:nvSpPr>
          <p:spPr bwMode="auto">
            <a:xfrm rot="-12360">
              <a:off x="4377" y="2887"/>
              <a:ext cx="49" cy="47"/>
            </a:xfrm>
            <a:prstGeom prst="ellipse">
              <a:avLst/>
            </a:prstGeom>
            <a:solidFill>
              <a:srgbClr val="800000"/>
            </a:solidFill>
            <a:ln w="9525">
              <a:solidFill>
                <a:srgbClr val="000000"/>
              </a:solidFill>
              <a:round/>
              <a:headEnd/>
              <a:tailEnd/>
            </a:ln>
          </p:spPr>
          <p:txBody>
            <a:bodyPr wrap="none" anchor="ctr"/>
            <a:lstStyle/>
            <a:p>
              <a:endParaRPr lang="it-IT">
                <a:solidFill>
                  <a:srgbClr val="000000"/>
                </a:solidFill>
                <a:latin typeface="Arial" pitchFamily="34" charset="0"/>
              </a:endParaRPr>
            </a:p>
          </p:txBody>
        </p:sp>
      </p:grpSp>
      <p:grpSp>
        <p:nvGrpSpPr>
          <p:cNvPr id="23" name="Group 208"/>
          <p:cNvGrpSpPr>
            <a:grpSpLocks/>
          </p:cNvGrpSpPr>
          <p:nvPr/>
        </p:nvGrpSpPr>
        <p:grpSpPr bwMode="auto">
          <a:xfrm>
            <a:off x="8334375" y="5021263"/>
            <a:ext cx="388938" cy="260350"/>
            <a:chOff x="4150" y="2750"/>
            <a:chExt cx="421" cy="378"/>
          </a:xfrm>
        </p:grpSpPr>
        <p:sp>
          <p:nvSpPr>
            <p:cNvPr id="853086" name="Freeform 209"/>
            <p:cNvSpPr>
              <a:spLocks/>
            </p:cNvSpPr>
            <p:nvPr/>
          </p:nvSpPr>
          <p:spPr bwMode="auto">
            <a:xfrm rot="-12360">
              <a:off x="4150" y="2750"/>
              <a:ext cx="421" cy="378"/>
            </a:xfrm>
            <a:custGeom>
              <a:avLst/>
              <a:gdLst>
                <a:gd name="T0" fmla="*/ 107 w 406"/>
                <a:gd name="T1" fmla="*/ 328 h 378"/>
                <a:gd name="T2" fmla="*/ 246 w 406"/>
                <a:gd name="T3" fmla="*/ 0 h 378"/>
                <a:gd name="T4" fmla="*/ 529 w 406"/>
                <a:gd name="T5" fmla="*/ 10 h 378"/>
                <a:gd name="T6" fmla="*/ 595 w 406"/>
                <a:gd name="T7" fmla="*/ 82 h 378"/>
                <a:gd name="T8" fmla="*/ 624 w 406"/>
                <a:gd name="T9" fmla="*/ 300 h 378"/>
                <a:gd name="T10" fmla="*/ 612 w 406"/>
                <a:gd name="T11" fmla="*/ 346 h 378"/>
                <a:gd name="T12" fmla="*/ 372 w 406"/>
                <a:gd name="T13" fmla="*/ 373 h 378"/>
                <a:gd name="T14" fmla="*/ 107 w 406"/>
                <a:gd name="T15" fmla="*/ 355 h 378"/>
                <a:gd name="T16" fmla="*/ 107 w 406"/>
                <a:gd name="T17" fmla="*/ 328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087" name="Oval 210"/>
            <p:cNvSpPr>
              <a:spLocks noChangeArrowheads="1"/>
            </p:cNvSpPr>
            <p:nvPr/>
          </p:nvSpPr>
          <p:spPr bwMode="auto">
            <a:xfrm rot="-12360">
              <a:off x="4377" y="2886"/>
              <a:ext cx="50" cy="48"/>
            </a:xfrm>
            <a:prstGeom prst="ellipse">
              <a:avLst/>
            </a:prstGeom>
            <a:solidFill>
              <a:srgbClr val="800000"/>
            </a:solidFill>
            <a:ln w="9525">
              <a:solidFill>
                <a:srgbClr val="000000"/>
              </a:solidFill>
              <a:round/>
              <a:headEnd/>
              <a:tailEnd/>
            </a:ln>
          </p:spPr>
          <p:txBody>
            <a:bodyPr wrap="none" anchor="ctr"/>
            <a:lstStyle/>
            <a:p>
              <a:endParaRPr lang="it-IT">
                <a:solidFill>
                  <a:srgbClr val="000000"/>
                </a:solidFill>
                <a:latin typeface="Arial" pitchFamily="34" charset="0"/>
              </a:endParaRPr>
            </a:p>
          </p:txBody>
        </p:sp>
      </p:grpSp>
      <p:grpSp>
        <p:nvGrpSpPr>
          <p:cNvPr id="24" name="Gruppo 91"/>
          <p:cNvGrpSpPr>
            <a:grpSpLocks/>
          </p:cNvGrpSpPr>
          <p:nvPr/>
        </p:nvGrpSpPr>
        <p:grpSpPr bwMode="auto">
          <a:xfrm>
            <a:off x="7458075" y="5564188"/>
            <a:ext cx="361950" cy="327025"/>
            <a:chOff x="4248150" y="5248275"/>
            <a:chExt cx="361949" cy="327024"/>
          </a:xfrm>
        </p:grpSpPr>
        <p:sp>
          <p:nvSpPr>
            <p:cNvPr id="853084"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085" name="Ovale 93"/>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25" name="Gruppo 94"/>
          <p:cNvGrpSpPr>
            <a:grpSpLocks/>
          </p:cNvGrpSpPr>
          <p:nvPr/>
        </p:nvGrpSpPr>
        <p:grpSpPr bwMode="auto">
          <a:xfrm>
            <a:off x="7286625" y="5335588"/>
            <a:ext cx="361950" cy="327025"/>
            <a:chOff x="4248150" y="5248275"/>
            <a:chExt cx="361949" cy="327024"/>
          </a:xfrm>
        </p:grpSpPr>
        <p:sp>
          <p:nvSpPr>
            <p:cNvPr id="853082"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083" name="Ovale 96"/>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26" name="Gruppo 97"/>
          <p:cNvGrpSpPr>
            <a:grpSpLocks/>
          </p:cNvGrpSpPr>
          <p:nvPr/>
        </p:nvGrpSpPr>
        <p:grpSpPr bwMode="auto">
          <a:xfrm>
            <a:off x="7591425" y="5345113"/>
            <a:ext cx="361950" cy="327025"/>
            <a:chOff x="4248150" y="5248275"/>
            <a:chExt cx="361949" cy="327024"/>
          </a:xfrm>
        </p:grpSpPr>
        <p:sp>
          <p:nvSpPr>
            <p:cNvPr id="853080"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081" name="Ovale 99"/>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27" name="Gruppo 100"/>
          <p:cNvGrpSpPr>
            <a:grpSpLocks/>
          </p:cNvGrpSpPr>
          <p:nvPr/>
        </p:nvGrpSpPr>
        <p:grpSpPr bwMode="auto">
          <a:xfrm>
            <a:off x="7458075" y="5135563"/>
            <a:ext cx="361950" cy="327025"/>
            <a:chOff x="4248150" y="5248275"/>
            <a:chExt cx="361949" cy="327024"/>
          </a:xfrm>
        </p:grpSpPr>
        <p:sp>
          <p:nvSpPr>
            <p:cNvPr id="853078"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079" name="Ovale 102"/>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28" name="Gruppo 103"/>
          <p:cNvGrpSpPr>
            <a:grpSpLocks/>
          </p:cNvGrpSpPr>
          <p:nvPr/>
        </p:nvGrpSpPr>
        <p:grpSpPr bwMode="auto">
          <a:xfrm>
            <a:off x="7724775" y="5145088"/>
            <a:ext cx="361950" cy="327025"/>
            <a:chOff x="4248150" y="5248275"/>
            <a:chExt cx="361949" cy="327024"/>
          </a:xfrm>
        </p:grpSpPr>
        <p:sp>
          <p:nvSpPr>
            <p:cNvPr id="853076"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077" name="Ovale 105"/>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29" name="Gruppo 106"/>
          <p:cNvGrpSpPr>
            <a:grpSpLocks/>
          </p:cNvGrpSpPr>
          <p:nvPr/>
        </p:nvGrpSpPr>
        <p:grpSpPr bwMode="auto">
          <a:xfrm>
            <a:off x="7239000" y="5126038"/>
            <a:ext cx="361950" cy="327025"/>
            <a:chOff x="4248150" y="5248275"/>
            <a:chExt cx="361949" cy="327024"/>
          </a:xfrm>
        </p:grpSpPr>
        <p:sp>
          <p:nvSpPr>
            <p:cNvPr id="853074"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075" name="Ovale 108"/>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30" name="Gruppo 109"/>
          <p:cNvGrpSpPr>
            <a:grpSpLocks/>
          </p:cNvGrpSpPr>
          <p:nvPr/>
        </p:nvGrpSpPr>
        <p:grpSpPr bwMode="auto">
          <a:xfrm>
            <a:off x="7410450" y="4954588"/>
            <a:ext cx="361950" cy="327025"/>
            <a:chOff x="4248150" y="5248275"/>
            <a:chExt cx="361949" cy="327024"/>
          </a:xfrm>
        </p:grpSpPr>
        <p:sp>
          <p:nvSpPr>
            <p:cNvPr id="853072"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073" name="Ovale 111"/>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31" name="Gruppo 112"/>
          <p:cNvGrpSpPr>
            <a:grpSpLocks/>
          </p:cNvGrpSpPr>
          <p:nvPr/>
        </p:nvGrpSpPr>
        <p:grpSpPr bwMode="auto">
          <a:xfrm>
            <a:off x="4314825" y="5059363"/>
            <a:ext cx="295275" cy="241300"/>
            <a:chOff x="4248150" y="5248275"/>
            <a:chExt cx="361949" cy="327024"/>
          </a:xfrm>
        </p:grpSpPr>
        <p:sp>
          <p:nvSpPr>
            <p:cNvPr id="853070" name="Freeform 133"/>
            <p:cNvSpPr>
              <a:spLocks/>
            </p:cNvSpPr>
            <p:nvPr/>
          </p:nvSpPr>
          <p:spPr bwMode="auto">
            <a:xfrm>
              <a:off x="4248150" y="5248275"/>
              <a:ext cx="361949" cy="327024"/>
            </a:xfrm>
            <a:custGeom>
              <a:avLst/>
              <a:gdLst>
                <a:gd name="T0" fmla="*/ 2147483647 w 736"/>
                <a:gd name="T1" fmla="*/ 2147483647 h 620"/>
                <a:gd name="T2" fmla="*/ 2147483647 w 736"/>
                <a:gd name="T3" fmla="*/ 2147483647 h 620"/>
                <a:gd name="T4" fmla="*/ 2147483647 w 736"/>
                <a:gd name="T5" fmla="*/ 2147483647 h 620"/>
                <a:gd name="T6" fmla="*/ 2147483647 w 736"/>
                <a:gd name="T7" fmla="*/ 2147483647 h 620"/>
                <a:gd name="T8" fmla="*/ 2147483647 w 736"/>
                <a:gd name="T9" fmla="*/ 2147483647 h 620"/>
                <a:gd name="T10" fmla="*/ 2147483647 w 736"/>
                <a:gd name="T11" fmla="*/ 2147483647 h 620"/>
                <a:gd name="T12" fmla="*/ 2147483647 w 736"/>
                <a:gd name="T13" fmla="*/ 2147483647 h 620"/>
                <a:gd name="T14" fmla="*/ 2147483647 w 736"/>
                <a:gd name="T15" fmla="*/ 2147483647 h 620"/>
                <a:gd name="T16" fmla="*/ 2147483647 w 736"/>
                <a:gd name="T17" fmla="*/ 2147483647 h 620"/>
                <a:gd name="T18" fmla="*/ 2147483647 w 736"/>
                <a:gd name="T19" fmla="*/ 2147483647 h 620"/>
                <a:gd name="T20" fmla="*/ 2147483647 w 736"/>
                <a:gd name="T21" fmla="*/ 2147483647 h 620"/>
                <a:gd name="T22" fmla="*/ 2147483647 w 736"/>
                <a:gd name="T23" fmla="*/ 2147483647 h 620"/>
                <a:gd name="T24" fmla="*/ 2147483647 w 736"/>
                <a:gd name="T25" fmla="*/ 2147483647 h 620"/>
                <a:gd name="T26" fmla="*/ 2147483647 w 736"/>
                <a:gd name="T27" fmla="*/ 2147483647 h 620"/>
                <a:gd name="T28" fmla="*/ 2147483647 w 736"/>
                <a:gd name="T29" fmla="*/ 2147483647 h 620"/>
                <a:gd name="T30" fmla="*/ 2147483647 w 736"/>
                <a:gd name="T31" fmla="*/ 2147483647 h 620"/>
                <a:gd name="T32" fmla="*/ 2147483647 w 736"/>
                <a:gd name="T33" fmla="*/ 2147483647 h 620"/>
                <a:gd name="T34" fmla="*/ 2147483647 w 736"/>
                <a:gd name="T35" fmla="*/ 2147483647 h 620"/>
                <a:gd name="T36" fmla="*/ 2147483647 w 736"/>
                <a:gd name="T37" fmla="*/ 2147483647 h 620"/>
                <a:gd name="T38" fmla="*/ 2147483647 w 736"/>
                <a:gd name="T39" fmla="*/ 2147483647 h 620"/>
                <a:gd name="T40" fmla="*/ 2147483647 w 736"/>
                <a:gd name="T41" fmla="*/ 2147483647 h 620"/>
                <a:gd name="T42" fmla="*/ 2147483647 w 736"/>
                <a:gd name="T43" fmla="*/ 0 h 620"/>
                <a:gd name="T44" fmla="*/ 2147483647 w 736"/>
                <a:gd name="T45" fmla="*/ 2147483647 h 620"/>
                <a:gd name="T46" fmla="*/ 2147483647 w 736"/>
                <a:gd name="T47" fmla="*/ 2147483647 h 620"/>
                <a:gd name="T48" fmla="*/ 2147483647 w 736"/>
                <a:gd name="T49" fmla="*/ 2147483647 h 620"/>
                <a:gd name="T50" fmla="*/ 2147483647 w 736"/>
                <a:gd name="T51" fmla="*/ 2147483647 h 6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6"/>
                <a:gd name="T79" fmla="*/ 0 h 620"/>
                <a:gd name="T80" fmla="*/ 736 w 736"/>
                <a:gd name="T81" fmla="*/ 620 h 6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6" h="620">
                  <a:moveTo>
                    <a:pt x="160" y="36"/>
                  </a:moveTo>
                  <a:cubicBezTo>
                    <a:pt x="145" y="41"/>
                    <a:pt x="95" y="54"/>
                    <a:pt x="88" y="72"/>
                  </a:cubicBezTo>
                  <a:cubicBezTo>
                    <a:pt x="83" y="84"/>
                    <a:pt x="96" y="96"/>
                    <a:pt x="100" y="108"/>
                  </a:cubicBezTo>
                  <a:cubicBezTo>
                    <a:pt x="96" y="120"/>
                    <a:pt x="95" y="133"/>
                    <a:pt x="88" y="144"/>
                  </a:cubicBezTo>
                  <a:cubicBezTo>
                    <a:pt x="79" y="158"/>
                    <a:pt x="60" y="165"/>
                    <a:pt x="52" y="180"/>
                  </a:cubicBezTo>
                  <a:cubicBezTo>
                    <a:pt x="39" y="206"/>
                    <a:pt x="36" y="236"/>
                    <a:pt x="28" y="264"/>
                  </a:cubicBezTo>
                  <a:cubicBezTo>
                    <a:pt x="40" y="276"/>
                    <a:pt x="62" y="283"/>
                    <a:pt x="64" y="300"/>
                  </a:cubicBezTo>
                  <a:cubicBezTo>
                    <a:pt x="67" y="325"/>
                    <a:pt x="40" y="372"/>
                    <a:pt x="40" y="372"/>
                  </a:cubicBezTo>
                  <a:cubicBezTo>
                    <a:pt x="61" y="620"/>
                    <a:pt x="0" y="460"/>
                    <a:pt x="244" y="528"/>
                  </a:cubicBezTo>
                  <a:cubicBezTo>
                    <a:pt x="261" y="533"/>
                    <a:pt x="257" y="562"/>
                    <a:pt x="268" y="576"/>
                  </a:cubicBezTo>
                  <a:cubicBezTo>
                    <a:pt x="277" y="587"/>
                    <a:pt x="292" y="592"/>
                    <a:pt x="304" y="600"/>
                  </a:cubicBezTo>
                  <a:cubicBezTo>
                    <a:pt x="396" y="596"/>
                    <a:pt x="489" y="603"/>
                    <a:pt x="580" y="588"/>
                  </a:cubicBezTo>
                  <a:cubicBezTo>
                    <a:pt x="594" y="586"/>
                    <a:pt x="594" y="562"/>
                    <a:pt x="604" y="552"/>
                  </a:cubicBezTo>
                  <a:cubicBezTo>
                    <a:pt x="614" y="542"/>
                    <a:pt x="626" y="533"/>
                    <a:pt x="640" y="528"/>
                  </a:cubicBezTo>
                  <a:cubicBezTo>
                    <a:pt x="671" y="517"/>
                    <a:pt x="704" y="512"/>
                    <a:pt x="736" y="504"/>
                  </a:cubicBezTo>
                  <a:cubicBezTo>
                    <a:pt x="699" y="448"/>
                    <a:pt x="716" y="432"/>
                    <a:pt x="736" y="372"/>
                  </a:cubicBezTo>
                  <a:cubicBezTo>
                    <a:pt x="718" y="318"/>
                    <a:pt x="683" y="311"/>
                    <a:pt x="652" y="264"/>
                  </a:cubicBezTo>
                  <a:cubicBezTo>
                    <a:pt x="656" y="236"/>
                    <a:pt x="656" y="207"/>
                    <a:pt x="664" y="180"/>
                  </a:cubicBezTo>
                  <a:cubicBezTo>
                    <a:pt x="668" y="166"/>
                    <a:pt x="699" y="153"/>
                    <a:pt x="688" y="144"/>
                  </a:cubicBezTo>
                  <a:cubicBezTo>
                    <a:pt x="656" y="118"/>
                    <a:pt x="463" y="109"/>
                    <a:pt x="448" y="108"/>
                  </a:cubicBezTo>
                  <a:cubicBezTo>
                    <a:pt x="436" y="96"/>
                    <a:pt x="420" y="87"/>
                    <a:pt x="412" y="72"/>
                  </a:cubicBezTo>
                  <a:cubicBezTo>
                    <a:pt x="400" y="50"/>
                    <a:pt x="388" y="0"/>
                    <a:pt x="388" y="0"/>
                  </a:cubicBezTo>
                  <a:cubicBezTo>
                    <a:pt x="364" y="4"/>
                    <a:pt x="339" y="5"/>
                    <a:pt x="316" y="12"/>
                  </a:cubicBezTo>
                  <a:cubicBezTo>
                    <a:pt x="299" y="17"/>
                    <a:pt x="286" y="34"/>
                    <a:pt x="268" y="36"/>
                  </a:cubicBezTo>
                  <a:cubicBezTo>
                    <a:pt x="257" y="37"/>
                    <a:pt x="198" y="17"/>
                    <a:pt x="184" y="12"/>
                  </a:cubicBezTo>
                  <a:cubicBezTo>
                    <a:pt x="145" y="38"/>
                    <a:pt x="134" y="36"/>
                    <a:pt x="160" y="36"/>
                  </a:cubicBezTo>
                  <a:close/>
                </a:path>
              </a:pathLst>
            </a:custGeom>
            <a:gradFill rotWithShape="0">
              <a:gsLst>
                <a:gs pos="0">
                  <a:srgbClr val="002F76"/>
                </a:gs>
                <a:gs pos="100000">
                  <a:srgbClr val="0066FF"/>
                </a:gs>
              </a:gsLst>
              <a:path path="rect">
                <a:fillToRect l="50000" t="50000" r="50000" b="50000"/>
              </a:path>
            </a:gradFill>
            <a:ln w="9525">
              <a:solidFill>
                <a:srgbClr val="000000"/>
              </a:solidFill>
              <a:round/>
              <a:headEnd/>
              <a:tailEnd/>
            </a:ln>
          </p:spPr>
          <p:txBody>
            <a:bodyPr wrap="none" anchor="ctr"/>
            <a:lstStyle/>
            <a:p>
              <a:endParaRPr lang="it-IT"/>
            </a:p>
          </p:txBody>
        </p:sp>
        <p:sp>
          <p:nvSpPr>
            <p:cNvPr id="853071" name="Ovale 114"/>
            <p:cNvSpPr>
              <a:spLocks noChangeArrowheads="1"/>
            </p:cNvSpPr>
            <p:nvPr/>
          </p:nvSpPr>
          <p:spPr bwMode="auto">
            <a:xfrm>
              <a:off x="4381500" y="5343525"/>
              <a:ext cx="47625" cy="57150"/>
            </a:xfrm>
            <a:prstGeom prst="ellipse">
              <a:avLst/>
            </a:prstGeom>
            <a:solidFill>
              <a:schemeClr val="tx1"/>
            </a:solid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grpSp>
      <p:grpSp>
        <p:nvGrpSpPr>
          <p:cNvPr id="852992" name="Group 223"/>
          <p:cNvGrpSpPr>
            <a:grpSpLocks/>
          </p:cNvGrpSpPr>
          <p:nvPr/>
        </p:nvGrpSpPr>
        <p:grpSpPr bwMode="auto">
          <a:xfrm rot="-3527109">
            <a:off x="8146257" y="5344318"/>
            <a:ext cx="254000" cy="284163"/>
            <a:chOff x="3243" y="1661"/>
            <a:chExt cx="379" cy="384"/>
          </a:xfrm>
        </p:grpSpPr>
        <p:sp>
          <p:nvSpPr>
            <p:cNvPr id="853066" name="Freeform 224"/>
            <p:cNvSpPr>
              <a:spLocks/>
            </p:cNvSpPr>
            <p:nvPr/>
          </p:nvSpPr>
          <p:spPr bwMode="auto">
            <a:xfrm>
              <a:off x="3243" y="1661"/>
              <a:ext cx="379" cy="384"/>
            </a:xfrm>
            <a:custGeom>
              <a:avLst/>
              <a:gdLst>
                <a:gd name="T0" fmla="*/ 0 w 713"/>
                <a:gd name="T1" fmla="*/ 0 h 869"/>
                <a:gd name="T2" fmla="*/ 1 w 713"/>
                <a:gd name="T3" fmla="*/ 0 h 869"/>
                <a:gd name="T4" fmla="*/ 1 w 713"/>
                <a:gd name="T5" fmla="*/ 0 h 869"/>
                <a:gd name="T6" fmla="*/ 1 w 713"/>
                <a:gd name="T7" fmla="*/ 0 h 869"/>
                <a:gd name="T8" fmla="*/ 1 w 713"/>
                <a:gd name="T9" fmla="*/ 0 h 869"/>
                <a:gd name="T10" fmla="*/ 1 w 713"/>
                <a:gd name="T11" fmla="*/ 0 h 869"/>
                <a:gd name="T12" fmla="*/ 1 w 713"/>
                <a:gd name="T13" fmla="*/ 0 h 869"/>
                <a:gd name="T14" fmla="*/ 1 w 713"/>
                <a:gd name="T15" fmla="*/ 0 h 869"/>
                <a:gd name="T16" fmla="*/ 1 w 713"/>
                <a:gd name="T17" fmla="*/ 0 h 869"/>
                <a:gd name="T18" fmla="*/ 1 w 713"/>
                <a:gd name="T19" fmla="*/ 0 h 869"/>
                <a:gd name="T20" fmla="*/ 1 w 713"/>
                <a:gd name="T21" fmla="*/ 0 h 869"/>
                <a:gd name="T22" fmla="*/ 1 w 713"/>
                <a:gd name="T23" fmla="*/ 0 h 869"/>
                <a:gd name="T24" fmla="*/ 1 w 713"/>
                <a:gd name="T25" fmla="*/ 0 h 869"/>
                <a:gd name="T26" fmla="*/ 1 w 713"/>
                <a:gd name="T27" fmla="*/ 0 h 869"/>
                <a:gd name="T28" fmla="*/ 1 w 713"/>
                <a:gd name="T29" fmla="*/ 0 h 869"/>
                <a:gd name="T30" fmla="*/ 1 w 713"/>
                <a:gd name="T31" fmla="*/ 0 h 869"/>
                <a:gd name="T32" fmla="*/ 1 w 713"/>
                <a:gd name="T33" fmla="*/ 0 h 869"/>
                <a:gd name="T34" fmla="*/ 1 w 713"/>
                <a:gd name="T35" fmla="*/ 0 h 869"/>
                <a:gd name="T36" fmla="*/ 1 w 713"/>
                <a:gd name="T37" fmla="*/ 0 h 869"/>
                <a:gd name="T38" fmla="*/ 1 w 713"/>
                <a:gd name="T39" fmla="*/ 0 h 869"/>
                <a:gd name="T40" fmla="*/ 1 w 713"/>
                <a:gd name="T41" fmla="*/ 0 h 869"/>
                <a:gd name="T42" fmla="*/ 1 w 713"/>
                <a:gd name="T43" fmla="*/ 0 h 869"/>
                <a:gd name="T44" fmla="*/ 1 w 713"/>
                <a:gd name="T45" fmla="*/ 0 h 869"/>
                <a:gd name="T46" fmla="*/ 1 w 713"/>
                <a:gd name="T47" fmla="*/ 0 h 869"/>
                <a:gd name="T48" fmla="*/ 1 w 713"/>
                <a:gd name="T49" fmla="*/ 0 h 869"/>
                <a:gd name="T50" fmla="*/ 1 w 713"/>
                <a:gd name="T51" fmla="*/ 0 h 869"/>
                <a:gd name="T52" fmla="*/ 1 w 713"/>
                <a:gd name="T53" fmla="*/ 0 h 869"/>
                <a:gd name="T54" fmla="*/ 1 w 713"/>
                <a:gd name="T55" fmla="*/ 0 h 869"/>
                <a:gd name="T56" fmla="*/ 1 w 713"/>
                <a:gd name="T57" fmla="*/ 0 h 869"/>
                <a:gd name="T58" fmla="*/ 1 w 713"/>
                <a:gd name="T59" fmla="*/ 0 h 869"/>
                <a:gd name="T60" fmla="*/ 1 w 713"/>
                <a:gd name="T61" fmla="*/ 0 h 869"/>
                <a:gd name="T62" fmla="*/ 1 w 713"/>
                <a:gd name="T63" fmla="*/ 0 h 869"/>
                <a:gd name="T64" fmla="*/ 1 w 713"/>
                <a:gd name="T65" fmla="*/ 0 h 869"/>
                <a:gd name="T66" fmla="*/ 1 w 713"/>
                <a:gd name="T67" fmla="*/ 0 h 869"/>
                <a:gd name="T68" fmla="*/ 1 w 713"/>
                <a:gd name="T69" fmla="*/ 0 h 869"/>
                <a:gd name="T70" fmla="*/ 1 w 713"/>
                <a:gd name="T71" fmla="*/ 0 h 869"/>
                <a:gd name="T72" fmla="*/ 1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067" name="Freeform 225"/>
            <p:cNvSpPr>
              <a:spLocks/>
            </p:cNvSpPr>
            <p:nvPr/>
          </p:nvSpPr>
          <p:spPr bwMode="auto">
            <a:xfrm>
              <a:off x="3476" y="1849"/>
              <a:ext cx="95" cy="56"/>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68" name="Freeform 226"/>
            <p:cNvSpPr>
              <a:spLocks/>
            </p:cNvSpPr>
            <p:nvPr/>
          </p:nvSpPr>
          <p:spPr bwMode="auto">
            <a:xfrm>
              <a:off x="3369" y="1770"/>
              <a:ext cx="95"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69" name="Freeform 227"/>
            <p:cNvSpPr>
              <a:spLocks/>
            </p:cNvSpPr>
            <p:nvPr/>
          </p:nvSpPr>
          <p:spPr bwMode="auto">
            <a:xfrm>
              <a:off x="3343" y="1834"/>
              <a:ext cx="95"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852993" name="Group 223"/>
          <p:cNvGrpSpPr>
            <a:grpSpLocks/>
          </p:cNvGrpSpPr>
          <p:nvPr/>
        </p:nvGrpSpPr>
        <p:grpSpPr bwMode="auto">
          <a:xfrm rot="3214730">
            <a:off x="7155657" y="5696743"/>
            <a:ext cx="254000" cy="284163"/>
            <a:chOff x="3243" y="1661"/>
            <a:chExt cx="379" cy="384"/>
          </a:xfrm>
        </p:grpSpPr>
        <p:sp>
          <p:nvSpPr>
            <p:cNvPr id="853062" name="Freeform 224"/>
            <p:cNvSpPr>
              <a:spLocks/>
            </p:cNvSpPr>
            <p:nvPr/>
          </p:nvSpPr>
          <p:spPr bwMode="auto">
            <a:xfrm>
              <a:off x="3243" y="1661"/>
              <a:ext cx="379" cy="384"/>
            </a:xfrm>
            <a:custGeom>
              <a:avLst/>
              <a:gdLst>
                <a:gd name="T0" fmla="*/ 0 w 713"/>
                <a:gd name="T1" fmla="*/ 0 h 869"/>
                <a:gd name="T2" fmla="*/ 1 w 713"/>
                <a:gd name="T3" fmla="*/ 0 h 869"/>
                <a:gd name="T4" fmla="*/ 1 w 713"/>
                <a:gd name="T5" fmla="*/ 0 h 869"/>
                <a:gd name="T6" fmla="*/ 1 w 713"/>
                <a:gd name="T7" fmla="*/ 0 h 869"/>
                <a:gd name="T8" fmla="*/ 1 w 713"/>
                <a:gd name="T9" fmla="*/ 0 h 869"/>
                <a:gd name="T10" fmla="*/ 1 w 713"/>
                <a:gd name="T11" fmla="*/ 0 h 869"/>
                <a:gd name="T12" fmla="*/ 1 w 713"/>
                <a:gd name="T13" fmla="*/ 0 h 869"/>
                <a:gd name="T14" fmla="*/ 1 w 713"/>
                <a:gd name="T15" fmla="*/ 0 h 869"/>
                <a:gd name="T16" fmla="*/ 1 w 713"/>
                <a:gd name="T17" fmla="*/ 0 h 869"/>
                <a:gd name="T18" fmla="*/ 1 w 713"/>
                <a:gd name="T19" fmla="*/ 0 h 869"/>
                <a:gd name="T20" fmla="*/ 1 w 713"/>
                <a:gd name="T21" fmla="*/ 0 h 869"/>
                <a:gd name="T22" fmla="*/ 1 w 713"/>
                <a:gd name="T23" fmla="*/ 0 h 869"/>
                <a:gd name="T24" fmla="*/ 1 w 713"/>
                <a:gd name="T25" fmla="*/ 0 h 869"/>
                <a:gd name="T26" fmla="*/ 1 w 713"/>
                <a:gd name="T27" fmla="*/ 0 h 869"/>
                <a:gd name="T28" fmla="*/ 1 w 713"/>
                <a:gd name="T29" fmla="*/ 0 h 869"/>
                <a:gd name="T30" fmla="*/ 1 w 713"/>
                <a:gd name="T31" fmla="*/ 0 h 869"/>
                <a:gd name="T32" fmla="*/ 1 w 713"/>
                <a:gd name="T33" fmla="*/ 0 h 869"/>
                <a:gd name="T34" fmla="*/ 1 w 713"/>
                <a:gd name="T35" fmla="*/ 0 h 869"/>
                <a:gd name="T36" fmla="*/ 1 w 713"/>
                <a:gd name="T37" fmla="*/ 0 h 869"/>
                <a:gd name="T38" fmla="*/ 1 w 713"/>
                <a:gd name="T39" fmla="*/ 0 h 869"/>
                <a:gd name="T40" fmla="*/ 1 w 713"/>
                <a:gd name="T41" fmla="*/ 0 h 869"/>
                <a:gd name="T42" fmla="*/ 1 w 713"/>
                <a:gd name="T43" fmla="*/ 0 h 869"/>
                <a:gd name="T44" fmla="*/ 1 w 713"/>
                <a:gd name="T45" fmla="*/ 0 h 869"/>
                <a:gd name="T46" fmla="*/ 1 w 713"/>
                <a:gd name="T47" fmla="*/ 0 h 869"/>
                <a:gd name="T48" fmla="*/ 1 w 713"/>
                <a:gd name="T49" fmla="*/ 0 h 869"/>
                <a:gd name="T50" fmla="*/ 1 w 713"/>
                <a:gd name="T51" fmla="*/ 0 h 869"/>
                <a:gd name="T52" fmla="*/ 1 w 713"/>
                <a:gd name="T53" fmla="*/ 0 h 869"/>
                <a:gd name="T54" fmla="*/ 1 w 713"/>
                <a:gd name="T55" fmla="*/ 0 h 869"/>
                <a:gd name="T56" fmla="*/ 1 w 713"/>
                <a:gd name="T57" fmla="*/ 0 h 869"/>
                <a:gd name="T58" fmla="*/ 1 w 713"/>
                <a:gd name="T59" fmla="*/ 0 h 869"/>
                <a:gd name="T60" fmla="*/ 1 w 713"/>
                <a:gd name="T61" fmla="*/ 0 h 869"/>
                <a:gd name="T62" fmla="*/ 1 w 713"/>
                <a:gd name="T63" fmla="*/ 0 h 869"/>
                <a:gd name="T64" fmla="*/ 1 w 713"/>
                <a:gd name="T65" fmla="*/ 0 h 869"/>
                <a:gd name="T66" fmla="*/ 1 w 713"/>
                <a:gd name="T67" fmla="*/ 0 h 869"/>
                <a:gd name="T68" fmla="*/ 1 w 713"/>
                <a:gd name="T69" fmla="*/ 0 h 869"/>
                <a:gd name="T70" fmla="*/ 1 w 713"/>
                <a:gd name="T71" fmla="*/ 0 h 869"/>
                <a:gd name="T72" fmla="*/ 1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063" name="Freeform 225"/>
            <p:cNvSpPr>
              <a:spLocks/>
            </p:cNvSpPr>
            <p:nvPr/>
          </p:nvSpPr>
          <p:spPr bwMode="auto">
            <a:xfrm>
              <a:off x="3462" y="1844"/>
              <a:ext cx="97" cy="56"/>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64" name="Freeform 226"/>
            <p:cNvSpPr>
              <a:spLocks/>
            </p:cNvSpPr>
            <p:nvPr/>
          </p:nvSpPr>
          <p:spPr bwMode="auto">
            <a:xfrm>
              <a:off x="3366" y="1771"/>
              <a:ext cx="95"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65" name="Freeform 227"/>
            <p:cNvSpPr>
              <a:spLocks/>
            </p:cNvSpPr>
            <p:nvPr/>
          </p:nvSpPr>
          <p:spPr bwMode="auto">
            <a:xfrm>
              <a:off x="3333" y="1839"/>
              <a:ext cx="95"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grpSp>
        <p:nvGrpSpPr>
          <p:cNvPr id="852994" name="Group 223"/>
          <p:cNvGrpSpPr>
            <a:grpSpLocks/>
          </p:cNvGrpSpPr>
          <p:nvPr/>
        </p:nvGrpSpPr>
        <p:grpSpPr bwMode="auto">
          <a:xfrm rot="-2272316">
            <a:off x="8013700" y="5621338"/>
            <a:ext cx="254000" cy="284162"/>
            <a:chOff x="3243" y="1661"/>
            <a:chExt cx="379" cy="384"/>
          </a:xfrm>
        </p:grpSpPr>
        <p:sp>
          <p:nvSpPr>
            <p:cNvPr id="853058" name="Freeform 224"/>
            <p:cNvSpPr>
              <a:spLocks/>
            </p:cNvSpPr>
            <p:nvPr/>
          </p:nvSpPr>
          <p:spPr bwMode="auto">
            <a:xfrm>
              <a:off x="3243" y="1661"/>
              <a:ext cx="379" cy="384"/>
            </a:xfrm>
            <a:custGeom>
              <a:avLst/>
              <a:gdLst>
                <a:gd name="T0" fmla="*/ 0 w 713"/>
                <a:gd name="T1" fmla="*/ 0 h 869"/>
                <a:gd name="T2" fmla="*/ 1 w 713"/>
                <a:gd name="T3" fmla="*/ 0 h 869"/>
                <a:gd name="T4" fmla="*/ 1 w 713"/>
                <a:gd name="T5" fmla="*/ 0 h 869"/>
                <a:gd name="T6" fmla="*/ 1 w 713"/>
                <a:gd name="T7" fmla="*/ 0 h 869"/>
                <a:gd name="T8" fmla="*/ 1 w 713"/>
                <a:gd name="T9" fmla="*/ 0 h 869"/>
                <a:gd name="T10" fmla="*/ 1 w 713"/>
                <a:gd name="T11" fmla="*/ 0 h 869"/>
                <a:gd name="T12" fmla="*/ 1 w 713"/>
                <a:gd name="T13" fmla="*/ 0 h 869"/>
                <a:gd name="T14" fmla="*/ 1 w 713"/>
                <a:gd name="T15" fmla="*/ 0 h 869"/>
                <a:gd name="T16" fmla="*/ 1 w 713"/>
                <a:gd name="T17" fmla="*/ 0 h 869"/>
                <a:gd name="T18" fmla="*/ 1 w 713"/>
                <a:gd name="T19" fmla="*/ 0 h 869"/>
                <a:gd name="T20" fmla="*/ 1 w 713"/>
                <a:gd name="T21" fmla="*/ 0 h 869"/>
                <a:gd name="T22" fmla="*/ 1 w 713"/>
                <a:gd name="T23" fmla="*/ 0 h 869"/>
                <a:gd name="T24" fmla="*/ 1 w 713"/>
                <a:gd name="T25" fmla="*/ 0 h 869"/>
                <a:gd name="T26" fmla="*/ 1 w 713"/>
                <a:gd name="T27" fmla="*/ 0 h 869"/>
                <a:gd name="T28" fmla="*/ 1 w 713"/>
                <a:gd name="T29" fmla="*/ 0 h 869"/>
                <a:gd name="T30" fmla="*/ 1 w 713"/>
                <a:gd name="T31" fmla="*/ 0 h 869"/>
                <a:gd name="T32" fmla="*/ 1 w 713"/>
                <a:gd name="T33" fmla="*/ 0 h 869"/>
                <a:gd name="T34" fmla="*/ 1 w 713"/>
                <a:gd name="T35" fmla="*/ 0 h 869"/>
                <a:gd name="T36" fmla="*/ 1 w 713"/>
                <a:gd name="T37" fmla="*/ 0 h 869"/>
                <a:gd name="T38" fmla="*/ 1 w 713"/>
                <a:gd name="T39" fmla="*/ 0 h 869"/>
                <a:gd name="T40" fmla="*/ 1 w 713"/>
                <a:gd name="T41" fmla="*/ 0 h 869"/>
                <a:gd name="T42" fmla="*/ 1 w 713"/>
                <a:gd name="T43" fmla="*/ 0 h 869"/>
                <a:gd name="T44" fmla="*/ 1 w 713"/>
                <a:gd name="T45" fmla="*/ 0 h 869"/>
                <a:gd name="T46" fmla="*/ 1 w 713"/>
                <a:gd name="T47" fmla="*/ 0 h 869"/>
                <a:gd name="T48" fmla="*/ 1 w 713"/>
                <a:gd name="T49" fmla="*/ 0 h 869"/>
                <a:gd name="T50" fmla="*/ 1 w 713"/>
                <a:gd name="T51" fmla="*/ 0 h 869"/>
                <a:gd name="T52" fmla="*/ 1 w 713"/>
                <a:gd name="T53" fmla="*/ 0 h 869"/>
                <a:gd name="T54" fmla="*/ 1 w 713"/>
                <a:gd name="T55" fmla="*/ 0 h 869"/>
                <a:gd name="T56" fmla="*/ 1 w 713"/>
                <a:gd name="T57" fmla="*/ 0 h 869"/>
                <a:gd name="T58" fmla="*/ 1 w 713"/>
                <a:gd name="T59" fmla="*/ 0 h 869"/>
                <a:gd name="T60" fmla="*/ 1 w 713"/>
                <a:gd name="T61" fmla="*/ 0 h 869"/>
                <a:gd name="T62" fmla="*/ 1 w 713"/>
                <a:gd name="T63" fmla="*/ 0 h 869"/>
                <a:gd name="T64" fmla="*/ 1 w 713"/>
                <a:gd name="T65" fmla="*/ 0 h 869"/>
                <a:gd name="T66" fmla="*/ 1 w 713"/>
                <a:gd name="T67" fmla="*/ 0 h 869"/>
                <a:gd name="T68" fmla="*/ 1 w 713"/>
                <a:gd name="T69" fmla="*/ 0 h 869"/>
                <a:gd name="T70" fmla="*/ 1 w 713"/>
                <a:gd name="T71" fmla="*/ 0 h 869"/>
                <a:gd name="T72" fmla="*/ 1 w 713"/>
                <a:gd name="T73" fmla="*/ 0 h 8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3"/>
                <a:gd name="T112" fmla="*/ 0 h 869"/>
                <a:gd name="T113" fmla="*/ 713 w 713"/>
                <a:gd name="T114" fmla="*/ 869 h 8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3" h="869">
                  <a:moveTo>
                    <a:pt x="0" y="852"/>
                  </a:moveTo>
                  <a:cubicBezTo>
                    <a:pt x="7" y="806"/>
                    <a:pt x="17" y="764"/>
                    <a:pt x="24" y="718"/>
                  </a:cubicBezTo>
                  <a:cubicBezTo>
                    <a:pt x="9" y="557"/>
                    <a:pt x="7" y="573"/>
                    <a:pt x="24" y="331"/>
                  </a:cubicBezTo>
                  <a:cubicBezTo>
                    <a:pt x="26" y="301"/>
                    <a:pt x="57" y="224"/>
                    <a:pt x="71" y="197"/>
                  </a:cubicBezTo>
                  <a:cubicBezTo>
                    <a:pt x="80" y="180"/>
                    <a:pt x="103" y="150"/>
                    <a:pt x="103" y="150"/>
                  </a:cubicBezTo>
                  <a:cubicBezTo>
                    <a:pt x="114" y="118"/>
                    <a:pt x="131" y="105"/>
                    <a:pt x="158" y="86"/>
                  </a:cubicBezTo>
                  <a:cubicBezTo>
                    <a:pt x="183" y="49"/>
                    <a:pt x="165" y="66"/>
                    <a:pt x="221" y="47"/>
                  </a:cubicBezTo>
                  <a:cubicBezTo>
                    <a:pt x="230" y="44"/>
                    <a:pt x="236" y="35"/>
                    <a:pt x="245" y="31"/>
                  </a:cubicBezTo>
                  <a:cubicBezTo>
                    <a:pt x="260" y="24"/>
                    <a:pt x="276" y="20"/>
                    <a:pt x="292" y="15"/>
                  </a:cubicBezTo>
                  <a:cubicBezTo>
                    <a:pt x="300" y="12"/>
                    <a:pt x="316" y="7"/>
                    <a:pt x="316" y="7"/>
                  </a:cubicBezTo>
                  <a:cubicBezTo>
                    <a:pt x="364" y="10"/>
                    <a:pt x="416" y="0"/>
                    <a:pt x="458" y="23"/>
                  </a:cubicBezTo>
                  <a:cubicBezTo>
                    <a:pt x="491" y="42"/>
                    <a:pt x="518" y="76"/>
                    <a:pt x="553" y="86"/>
                  </a:cubicBezTo>
                  <a:cubicBezTo>
                    <a:pt x="572" y="123"/>
                    <a:pt x="589" y="124"/>
                    <a:pt x="608" y="157"/>
                  </a:cubicBezTo>
                  <a:cubicBezTo>
                    <a:pt x="638" y="209"/>
                    <a:pt x="651" y="270"/>
                    <a:pt x="679" y="323"/>
                  </a:cubicBezTo>
                  <a:cubicBezTo>
                    <a:pt x="713" y="459"/>
                    <a:pt x="703" y="598"/>
                    <a:pt x="671" y="734"/>
                  </a:cubicBezTo>
                  <a:cubicBezTo>
                    <a:pt x="659" y="783"/>
                    <a:pt x="664" y="814"/>
                    <a:pt x="616" y="836"/>
                  </a:cubicBezTo>
                  <a:cubicBezTo>
                    <a:pt x="583" y="788"/>
                    <a:pt x="604" y="736"/>
                    <a:pt x="553" y="702"/>
                  </a:cubicBezTo>
                  <a:cubicBezTo>
                    <a:pt x="545" y="705"/>
                    <a:pt x="535" y="704"/>
                    <a:pt x="529" y="710"/>
                  </a:cubicBezTo>
                  <a:cubicBezTo>
                    <a:pt x="518" y="721"/>
                    <a:pt x="502" y="816"/>
                    <a:pt x="498" y="836"/>
                  </a:cubicBezTo>
                  <a:cubicBezTo>
                    <a:pt x="435" y="818"/>
                    <a:pt x="483" y="752"/>
                    <a:pt x="450" y="710"/>
                  </a:cubicBezTo>
                  <a:cubicBezTo>
                    <a:pt x="439" y="695"/>
                    <a:pt x="419" y="691"/>
                    <a:pt x="403" y="686"/>
                  </a:cubicBezTo>
                  <a:cubicBezTo>
                    <a:pt x="341" y="698"/>
                    <a:pt x="344" y="705"/>
                    <a:pt x="356" y="765"/>
                  </a:cubicBezTo>
                  <a:cubicBezTo>
                    <a:pt x="353" y="784"/>
                    <a:pt x="361" y="808"/>
                    <a:pt x="348" y="821"/>
                  </a:cubicBezTo>
                  <a:cubicBezTo>
                    <a:pt x="340" y="829"/>
                    <a:pt x="330" y="807"/>
                    <a:pt x="324" y="797"/>
                  </a:cubicBezTo>
                  <a:cubicBezTo>
                    <a:pt x="323" y="795"/>
                    <a:pt x="304" y="739"/>
                    <a:pt x="300" y="726"/>
                  </a:cubicBezTo>
                  <a:cubicBezTo>
                    <a:pt x="297" y="718"/>
                    <a:pt x="292" y="702"/>
                    <a:pt x="292" y="702"/>
                  </a:cubicBezTo>
                  <a:cubicBezTo>
                    <a:pt x="258" y="714"/>
                    <a:pt x="253" y="734"/>
                    <a:pt x="237" y="765"/>
                  </a:cubicBezTo>
                  <a:cubicBezTo>
                    <a:pt x="234" y="797"/>
                    <a:pt x="241" y="830"/>
                    <a:pt x="229" y="860"/>
                  </a:cubicBezTo>
                  <a:cubicBezTo>
                    <a:pt x="226" y="869"/>
                    <a:pt x="209" y="853"/>
                    <a:pt x="206" y="844"/>
                  </a:cubicBezTo>
                  <a:cubicBezTo>
                    <a:pt x="175" y="734"/>
                    <a:pt x="234" y="762"/>
                    <a:pt x="174" y="742"/>
                  </a:cubicBezTo>
                  <a:cubicBezTo>
                    <a:pt x="166" y="745"/>
                    <a:pt x="156" y="744"/>
                    <a:pt x="150" y="750"/>
                  </a:cubicBezTo>
                  <a:cubicBezTo>
                    <a:pt x="140" y="760"/>
                    <a:pt x="123" y="837"/>
                    <a:pt x="119" y="852"/>
                  </a:cubicBezTo>
                  <a:cubicBezTo>
                    <a:pt x="108" y="847"/>
                    <a:pt x="93" y="846"/>
                    <a:pt x="87" y="836"/>
                  </a:cubicBezTo>
                  <a:cubicBezTo>
                    <a:pt x="78" y="820"/>
                    <a:pt x="97" y="786"/>
                    <a:pt x="79" y="781"/>
                  </a:cubicBezTo>
                  <a:cubicBezTo>
                    <a:pt x="63" y="776"/>
                    <a:pt x="68" y="813"/>
                    <a:pt x="63" y="829"/>
                  </a:cubicBezTo>
                  <a:cubicBezTo>
                    <a:pt x="52" y="862"/>
                    <a:pt x="64" y="847"/>
                    <a:pt x="32" y="868"/>
                  </a:cubicBezTo>
                  <a:cubicBezTo>
                    <a:pt x="21" y="834"/>
                    <a:pt x="24" y="852"/>
                    <a:pt x="24" y="813"/>
                  </a:cubicBezTo>
                </a:path>
              </a:pathLst>
            </a:custGeom>
            <a:gradFill rotWithShape="0">
              <a:gsLst>
                <a:gs pos="0">
                  <a:srgbClr val="765E00"/>
                </a:gs>
                <a:gs pos="100000">
                  <a:srgbClr val="FFCC00"/>
                </a:gs>
              </a:gsLst>
              <a:path path="rect">
                <a:fillToRect l="50000" t="50000" r="50000" b="50000"/>
              </a:path>
            </a:gradFill>
            <a:ln w="9525">
              <a:solidFill>
                <a:schemeClr val="bg1"/>
              </a:solidFill>
              <a:round/>
              <a:headEnd/>
              <a:tailEnd/>
            </a:ln>
          </p:spPr>
          <p:txBody>
            <a:bodyPr wrap="none" anchor="ctr"/>
            <a:lstStyle/>
            <a:p>
              <a:endParaRPr lang="it-IT"/>
            </a:p>
          </p:txBody>
        </p:sp>
        <p:sp>
          <p:nvSpPr>
            <p:cNvPr id="853059" name="Freeform 225"/>
            <p:cNvSpPr>
              <a:spLocks/>
            </p:cNvSpPr>
            <p:nvPr/>
          </p:nvSpPr>
          <p:spPr bwMode="auto">
            <a:xfrm>
              <a:off x="3466" y="1843"/>
              <a:ext cx="97" cy="56"/>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60" name="Freeform 226"/>
            <p:cNvSpPr>
              <a:spLocks/>
            </p:cNvSpPr>
            <p:nvPr/>
          </p:nvSpPr>
          <p:spPr bwMode="auto">
            <a:xfrm>
              <a:off x="3365" y="1761"/>
              <a:ext cx="95" cy="56"/>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sp>
          <p:nvSpPr>
            <p:cNvPr id="853061" name="Freeform 227"/>
            <p:cNvSpPr>
              <a:spLocks/>
            </p:cNvSpPr>
            <p:nvPr/>
          </p:nvSpPr>
          <p:spPr bwMode="auto">
            <a:xfrm>
              <a:off x="3342" y="1834"/>
              <a:ext cx="95" cy="54"/>
            </a:xfrm>
            <a:custGeom>
              <a:avLst/>
              <a:gdLst>
                <a:gd name="T0" fmla="*/ 1 w 180"/>
                <a:gd name="T1" fmla="*/ 0 h 122"/>
                <a:gd name="T2" fmla="*/ 1 w 180"/>
                <a:gd name="T3" fmla="*/ 0 h 122"/>
                <a:gd name="T4" fmla="*/ 1 w 180"/>
                <a:gd name="T5" fmla="*/ 0 h 122"/>
                <a:gd name="T6" fmla="*/ 1 w 180"/>
                <a:gd name="T7" fmla="*/ 0 h 122"/>
                <a:gd name="T8" fmla="*/ 1 w 180"/>
                <a:gd name="T9" fmla="*/ 0 h 122"/>
                <a:gd name="T10" fmla="*/ 1 w 180"/>
                <a:gd name="T11" fmla="*/ 0 h 122"/>
                <a:gd name="T12" fmla="*/ 1 w 180"/>
                <a:gd name="T13" fmla="*/ 0 h 122"/>
                <a:gd name="T14" fmla="*/ 1 w 180"/>
                <a:gd name="T15" fmla="*/ 0 h 122"/>
                <a:gd name="T16" fmla="*/ 1 w 180"/>
                <a:gd name="T17" fmla="*/ 0 h 122"/>
                <a:gd name="T18" fmla="*/ 1 w 180"/>
                <a:gd name="T19" fmla="*/ 0 h 122"/>
                <a:gd name="T20" fmla="*/ 1 w 180"/>
                <a:gd name="T21" fmla="*/ 0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0"/>
                <a:gd name="T34" fmla="*/ 0 h 122"/>
                <a:gd name="T35" fmla="*/ 180 w 180"/>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0" h="122">
                  <a:moveTo>
                    <a:pt x="17" y="51"/>
                  </a:moveTo>
                  <a:cubicBezTo>
                    <a:pt x="13" y="64"/>
                    <a:pt x="0" y="85"/>
                    <a:pt x="17" y="98"/>
                  </a:cubicBezTo>
                  <a:cubicBezTo>
                    <a:pt x="30" y="108"/>
                    <a:pt x="64" y="114"/>
                    <a:pt x="64" y="114"/>
                  </a:cubicBezTo>
                  <a:cubicBezTo>
                    <a:pt x="75" y="111"/>
                    <a:pt x="85" y="104"/>
                    <a:pt x="96" y="106"/>
                  </a:cubicBezTo>
                  <a:cubicBezTo>
                    <a:pt x="106" y="107"/>
                    <a:pt x="110" y="122"/>
                    <a:pt x="120" y="122"/>
                  </a:cubicBezTo>
                  <a:cubicBezTo>
                    <a:pt x="134" y="122"/>
                    <a:pt x="146" y="111"/>
                    <a:pt x="159" y="106"/>
                  </a:cubicBezTo>
                  <a:cubicBezTo>
                    <a:pt x="180" y="75"/>
                    <a:pt x="180" y="63"/>
                    <a:pt x="143" y="51"/>
                  </a:cubicBezTo>
                  <a:cubicBezTo>
                    <a:pt x="126" y="0"/>
                    <a:pt x="150" y="47"/>
                    <a:pt x="104" y="35"/>
                  </a:cubicBezTo>
                  <a:cubicBezTo>
                    <a:pt x="91" y="32"/>
                    <a:pt x="83" y="19"/>
                    <a:pt x="72" y="11"/>
                  </a:cubicBezTo>
                  <a:cubicBezTo>
                    <a:pt x="62" y="16"/>
                    <a:pt x="49" y="19"/>
                    <a:pt x="41" y="27"/>
                  </a:cubicBezTo>
                  <a:cubicBezTo>
                    <a:pt x="13" y="56"/>
                    <a:pt x="53" y="51"/>
                    <a:pt x="17" y="51"/>
                  </a:cubicBezTo>
                  <a:close/>
                </a:path>
              </a:pathLst>
            </a:custGeom>
            <a:gradFill rotWithShape="0">
              <a:gsLst>
                <a:gs pos="0">
                  <a:srgbClr val="4D4D4D"/>
                </a:gs>
                <a:gs pos="100000">
                  <a:srgbClr val="242424"/>
                </a:gs>
              </a:gsLst>
              <a:path path="rect">
                <a:fillToRect r="100000" b="100000"/>
              </a:path>
            </a:gradFill>
            <a:ln w="9525">
              <a:solidFill>
                <a:schemeClr val="bg1"/>
              </a:solidFill>
              <a:round/>
              <a:headEnd/>
              <a:tailEnd/>
            </a:ln>
          </p:spPr>
          <p:txBody>
            <a:bodyPr wrap="none" anchor="ctr"/>
            <a:lstStyle/>
            <a:p>
              <a:endParaRPr lang="it-IT"/>
            </a:p>
          </p:txBody>
        </p:sp>
      </p:grpSp>
      <p:sp>
        <p:nvSpPr>
          <p:cNvPr id="853029" name="CasellaDiTesto 130"/>
          <p:cNvSpPr txBox="1">
            <a:spLocks noChangeArrowheads="1"/>
          </p:cNvSpPr>
          <p:nvPr/>
        </p:nvSpPr>
        <p:spPr bwMode="auto">
          <a:xfrm>
            <a:off x="823913" y="2008188"/>
            <a:ext cx="1244600" cy="584200"/>
          </a:xfrm>
          <a:prstGeom prst="rect">
            <a:avLst/>
          </a:prstGeom>
          <a:noFill/>
          <a:ln w="9525">
            <a:noFill/>
            <a:miter lim="800000"/>
            <a:headEnd/>
            <a:tailEnd/>
          </a:ln>
        </p:spPr>
        <p:txBody>
          <a:bodyPr wrap="none">
            <a:spAutoFit/>
          </a:bodyPr>
          <a:lstStyle/>
          <a:p>
            <a:r>
              <a:rPr lang="it-IT" altLang="en-US" sz="1600">
                <a:solidFill>
                  <a:srgbClr val="000000"/>
                </a:solidFill>
                <a:latin typeface="Arial" pitchFamily="34" charset="0"/>
                <a:cs typeface="Arial" pitchFamily="34" charset="0"/>
              </a:rPr>
              <a:t>CTIBL</a:t>
            </a:r>
          </a:p>
          <a:p>
            <a:r>
              <a:rPr lang="it-IT" altLang="en-US" sz="1600">
                <a:solidFill>
                  <a:srgbClr val="000000"/>
                </a:solidFill>
                <a:latin typeface="Arial" pitchFamily="34" charset="0"/>
                <a:cs typeface="Arial" pitchFamily="34" charset="0"/>
              </a:rPr>
              <a:t>FRAGILITÀ</a:t>
            </a:r>
          </a:p>
        </p:txBody>
      </p:sp>
      <p:sp>
        <p:nvSpPr>
          <p:cNvPr id="853030" name="CasellaDiTesto 131"/>
          <p:cNvSpPr txBox="1">
            <a:spLocks noChangeArrowheads="1"/>
          </p:cNvSpPr>
          <p:nvPr/>
        </p:nvSpPr>
        <p:spPr bwMode="auto">
          <a:xfrm>
            <a:off x="4559300" y="1997075"/>
            <a:ext cx="1833563" cy="523875"/>
          </a:xfrm>
          <a:prstGeom prst="rect">
            <a:avLst/>
          </a:prstGeom>
          <a:noFill/>
          <a:ln w="9525">
            <a:noFill/>
            <a:miter lim="800000"/>
            <a:headEnd/>
            <a:tailEnd/>
          </a:ln>
        </p:spPr>
        <p:txBody>
          <a:bodyPr>
            <a:spAutoFit/>
          </a:bodyPr>
          <a:lstStyle/>
          <a:p>
            <a:pPr algn="ctr"/>
            <a:r>
              <a:rPr lang="it-IT" altLang="en-US" sz="1400">
                <a:solidFill>
                  <a:srgbClr val="000000"/>
                </a:solidFill>
                <a:latin typeface="Arial" pitchFamily="34" charset="0"/>
                <a:cs typeface="Arial" pitchFamily="34" charset="0"/>
              </a:rPr>
              <a:t>PROGRESSIONE OSSEA</a:t>
            </a:r>
          </a:p>
        </p:txBody>
      </p:sp>
      <p:sp>
        <p:nvSpPr>
          <p:cNvPr id="853031" name="Rettangolo arrotondato 137"/>
          <p:cNvSpPr>
            <a:spLocks noChangeArrowheads="1"/>
          </p:cNvSpPr>
          <p:nvPr/>
        </p:nvSpPr>
        <p:spPr bwMode="auto">
          <a:xfrm>
            <a:off x="576263" y="3594100"/>
            <a:ext cx="1352550" cy="733425"/>
          </a:xfrm>
          <a:prstGeom prst="roundRect">
            <a:avLst>
              <a:gd name="adj" fmla="val 16667"/>
            </a:avLst>
          </a:prstGeom>
          <a:no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sp>
        <p:nvSpPr>
          <p:cNvPr id="853032" name="Rettangolo arrotondato 138"/>
          <p:cNvSpPr>
            <a:spLocks noChangeArrowheads="1"/>
          </p:cNvSpPr>
          <p:nvPr/>
        </p:nvSpPr>
        <p:spPr bwMode="auto">
          <a:xfrm>
            <a:off x="3281363" y="3643313"/>
            <a:ext cx="2324100" cy="733425"/>
          </a:xfrm>
          <a:prstGeom prst="roundRect">
            <a:avLst>
              <a:gd name="adj" fmla="val 16667"/>
            </a:avLst>
          </a:prstGeom>
          <a:no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sp>
        <p:nvSpPr>
          <p:cNvPr id="853033" name="Rettangolo arrotondato 139"/>
          <p:cNvSpPr>
            <a:spLocks noChangeArrowheads="1"/>
          </p:cNvSpPr>
          <p:nvPr/>
        </p:nvSpPr>
        <p:spPr bwMode="auto">
          <a:xfrm>
            <a:off x="6835775" y="3729038"/>
            <a:ext cx="1971675" cy="587099"/>
          </a:xfrm>
          <a:prstGeom prst="roundRect">
            <a:avLst>
              <a:gd name="adj" fmla="val 16667"/>
            </a:avLst>
          </a:prstGeom>
          <a:noFill/>
          <a:ln w="9525" algn="ctr">
            <a:solidFill>
              <a:schemeClr val="tx1"/>
            </a:solidFill>
            <a:round/>
            <a:headEnd/>
            <a:tailEnd/>
          </a:ln>
        </p:spPr>
        <p:txBody>
          <a:bodyPr/>
          <a:lstStyle/>
          <a:p>
            <a:pPr eaLnBrk="0" hangingPunct="0"/>
            <a:endParaRPr lang="it-IT" altLang="en-US" sz="2400">
              <a:solidFill>
                <a:srgbClr val="FFFFFF"/>
              </a:solidFill>
              <a:latin typeface="Times New Roman" pitchFamily="18" charset="0"/>
              <a:cs typeface="Arial" pitchFamily="34" charset="0"/>
            </a:endParaRPr>
          </a:p>
        </p:txBody>
      </p:sp>
      <p:cxnSp>
        <p:nvCxnSpPr>
          <p:cNvPr id="853034" name="Connettore 1 155"/>
          <p:cNvCxnSpPr>
            <a:cxnSpLocks noChangeShapeType="1"/>
            <a:stCxn id="37921" idx="2"/>
            <a:endCxn id="37921" idx="2"/>
          </p:cNvCxnSpPr>
          <p:nvPr/>
        </p:nvCxnSpPr>
        <p:spPr bwMode="auto">
          <a:xfrm>
            <a:off x="1409700" y="2644775"/>
            <a:ext cx="0" cy="0"/>
          </a:xfrm>
          <a:prstGeom prst="line">
            <a:avLst/>
          </a:prstGeom>
          <a:noFill/>
          <a:ln w="9525" algn="ctr">
            <a:solidFill>
              <a:schemeClr val="tx1"/>
            </a:solidFill>
            <a:round/>
            <a:headEnd/>
            <a:tailEnd/>
          </a:ln>
        </p:spPr>
      </p:cxnSp>
      <p:cxnSp>
        <p:nvCxnSpPr>
          <p:cNvPr id="853035" name="Connettore 1 160"/>
          <p:cNvCxnSpPr>
            <a:cxnSpLocks noChangeShapeType="1"/>
            <a:stCxn id="37923" idx="2"/>
            <a:endCxn id="853033" idx="0"/>
          </p:cNvCxnSpPr>
          <p:nvPr/>
        </p:nvCxnSpPr>
        <p:spPr bwMode="auto">
          <a:xfrm flipH="1">
            <a:off x="7821613" y="2568575"/>
            <a:ext cx="185737" cy="1160463"/>
          </a:xfrm>
          <a:prstGeom prst="line">
            <a:avLst/>
          </a:prstGeom>
          <a:noFill/>
          <a:ln w="9525" algn="ctr">
            <a:solidFill>
              <a:schemeClr val="tx1"/>
            </a:solidFill>
            <a:round/>
            <a:headEnd/>
            <a:tailEnd/>
          </a:ln>
        </p:spPr>
      </p:cxnSp>
      <p:cxnSp>
        <p:nvCxnSpPr>
          <p:cNvPr id="853036" name="Connettore 2 164"/>
          <p:cNvCxnSpPr>
            <a:cxnSpLocks noChangeShapeType="1"/>
            <a:stCxn id="853031" idx="0"/>
            <a:endCxn id="37921" idx="2"/>
          </p:cNvCxnSpPr>
          <p:nvPr/>
        </p:nvCxnSpPr>
        <p:spPr bwMode="auto">
          <a:xfrm flipV="1">
            <a:off x="1252538" y="2644775"/>
            <a:ext cx="157162" cy="949325"/>
          </a:xfrm>
          <a:prstGeom prst="straightConnector1">
            <a:avLst/>
          </a:prstGeom>
          <a:noFill/>
          <a:ln w="9525" algn="ctr">
            <a:solidFill>
              <a:schemeClr val="tx1"/>
            </a:solidFill>
            <a:round/>
            <a:headEnd/>
            <a:tailEnd type="arrow" w="med" len="med"/>
          </a:ln>
        </p:spPr>
      </p:cxnSp>
      <p:cxnSp>
        <p:nvCxnSpPr>
          <p:cNvPr id="853037" name="Connettore 2 168"/>
          <p:cNvCxnSpPr>
            <a:cxnSpLocks noChangeShapeType="1"/>
            <a:stCxn id="853033" idx="0"/>
            <a:endCxn id="37923" idx="2"/>
          </p:cNvCxnSpPr>
          <p:nvPr/>
        </p:nvCxnSpPr>
        <p:spPr bwMode="auto">
          <a:xfrm flipV="1">
            <a:off x="7821613" y="2568575"/>
            <a:ext cx="185737" cy="1160463"/>
          </a:xfrm>
          <a:prstGeom prst="straightConnector1">
            <a:avLst/>
          </a:prstGeom>
          <a:noFill/>
          <a:ln w="9525" algn="ctr">
            <a:solidFill>
              <a:schemeClr val="tx1"/>
            </a:solidFill>
            <a:round/>
            <a:headEnd/>
            <a:tailEnd type="arrow" w="med" len="med"/>
          </a:ln>
        </p:spPr>
      </p:cxnSp>
      <p:grpSp>
        <p:nvGrpSpPr>
          <p:cNvPr id="852995" name="Gruppo 180"/>
          <p:cNvGrpSpPr>
            <a:grpSpLocks/>
          </p:cNvGrpSpPr>
          <p:nvPr/>
        </p:nvGrpSpPr>
        <p:grpSpPr bwMode="auto">
          <a:xfrm>
            <a:off x="514350" y="4630738"/>
            <a:ext cx="852488" cy="1123950"/>
            <a:chOff x="533400" y="5124450"/>
            <a:chExt cx="852815" cy="1122818"/>
          </a:xfrm>
        </p:grpSpPr>
        <p:sp>
          <p:nvSpPr>
            <p:cNvPr id="853056" name="CasellaDiTesto 178"/>
            <p:cNvSpPr txBox="1">
              <a:spLocks noChangeArrowheads="1"/>
            </p:cNvSpPr>
            <p:nvPr/>
          </p:nvSpPr>
          <p:spPr bwMode="auto">
            <a:xfrm>
              <a:off x="533400" y="5133975"/>
              <a:ext cx="454081" cy="615243"/>
            </a:xfrm>
            <a:prstGeom prst="rect">
              <a:avLst/>
            </a:prstGeom>
            <a:noFill/>
            <a:ln w="9525">
              <a:noFill/>
              <a:miter lim="800000"/>
              <a:headEnd/>
              <a:tailEnd/>
            </a:ln>
          </p:spPr>
          <p:txBody>
            <a:bodyPr wrap="none">
              <a:spAutoFit/>
            </a:bodyPr>
            <a:lstStyle/>
            <a:p>
              <a:r>
                <a:rPr lang="it-IT" altLang="en-US" sz="800">
                  <a:solidFill>
                    <a:srgbClr val="000000"/>
                  </a:solidFill>
                  <a:latin typeface="Arial" pitchFamily="34" charset="0"/>
                  <a:cs typeface="Arial" pitchFamily="34" charset="0"/>
                </a:rPr>
                <a:t>CTX</a:t>
              </a:r>
              <a:br>
                <a:rPr lang="it-IT" altLang="en-US" sz="800">
                  <a:solidFill>
                    <a:srgbClr val="000000"/>
                  </a:solidFill>
                  <a:latin typeface="Arial" pitchFamily="34" charset="0"/>
                  <a:cs typeface="Arial" pitchFamily="34" charset="0"/>
                </a:rPr>
              </a:br>
              <a:r>
                <a:rPr lang="it-IT" altLang="en-US" sz="800">
                  <a:solidFill>
                    <a:srgbClr val="000000"/>
                  </a:solidFill>
                  <a:latin typeface="Arial" pitchFamily="34" charset="0"/>
                  <a:cs typeface="Arial" pitchFamily="34" charset="0"/>
                </a:rPr>
                <a:t>NTX</a:t>
              </a:r>
            </a:p>
            <a:p>
              <a:r>
                <a:rPr lang="it-IT" altLang="en-US" sz="800">
                  <a:solidFill>
                    <a:srgbClr val="000000"/>
                  </a:solidFill>
                  <a:latin typeface="Arial" pitchFamily="34" charset="0"/>
                  <a:cs typeface="Arial" pitchFamily="34" charset="0"/>
                </a:rPr>
                <a:t>P1NP</a:t>
              </a:r>
            </a:p>
            <a:p>
              <a:endParaRPr lang="it-IT" altLang="en-US" sz="1000">
                <a:solidFill>
                  <a:srgbClr val="000000"/>
                </a:solidFill>
                <a:latin typeface="Arial" pitchFamily="34" charset="0"/>
                <a:cs typeface="Arial" pitchFamily="34" charset="0"/>
              </a:endParaRPr>
            </a:p>
          </p:txBody>
        </p:sp>
        <p:sp>
          <p:nvSpPr>
            <p:cNvPr id="853057" name="CasellaDiTesto 179"/>
            <p:cNvSpPr txBox="1">
              <a:spLocks noChangeArrowheads="1"/>
            </p:cNvSpPr>
            <p:nvPr/>
          </p:nvSpPr>
          <p:spPr bwMode="auto">
            <a:xfrm>
              <a:off x="904875" y="5124450"/>
              <a:ext cx="481340" cy="1122818"/>
            </a:xfrm>
            <a:prstGeom prst="rect">
              <a:avLst/>
            </a:prstGeom>
            <a:noFill/>
            <a:ln w="9525">
              <a:noFill/>
              <a:miter lim="800000"/>
              <a:headEnd/>
              <a:tailEnd/>
            </a:ln>
          </p:spPr>
          <p:txBody>
            <a:bodyPr wrap="none">
              <a:spAutoFit/>
            </a:bodyPr>
            <a:lstStyle/>
            <a:p>
              <a:r>
                <a:rPr lang="it-IT" altLang="en-US" sz="800">
                  <a:solidFill>
                    <a:srgbClr val="000000"/>
                  </a:solidFill>
                  <a:latin typeface="Arial" pitchFamily="34" charset="0"/>
                  <a:cs typeface="Arial" pitchFamily="34" charset="0"/>
                </a:rPr>
                <a:t>SDF-1</a:t>
              </a:r>
              <a:br>
                <a:rPr lang="it-IT" altLang="en-US" sz="800">
                  <a:solidFill>
                    <a:srgbClr val="000000"/>
                  </a:solidFill>
                  <a:latin typeface="Arial" pitchFamily="34" charset="0"/>
                  <a:cs typeface="Arial" pitchFamily="34" charset="0"/>
                </a:rPr>
              </a:br>
              <a:r>
                <a:rPr lang="it-IT" altLang="en-US" sz="800">
                  <a:solidFill>
                    <a:srgbClr val="000000"/>
                  </a:solidFill>
                  <a:latin typeface="Arial" pitchFamily="34" charset="0"/>
                  <a:cs typeface="Arial" pitchFamily="34" charset="0"/>
                </a:rPr>
                <a:t>TGF b</a:t>
              </a:r>
            </a:p>
            <a:p>
              <a:r>
                <a:rPr lang="it-IT" altLang="en-US" sz="800">
                  <a:solidFill>
                    <a:srgbClr val="000000"/>
                  </a:solidFill>
                  <a:latin typeface="Arial" pitchFamily="34" charset="0"/>
                  <a:cs typeface="Arial" pitchFamily="34" charset="0"/>
                </a:rPr>
                <a:t>PDGF</a:t>
              </a:r>
            </a:p>
            <a:p>
              <a:r>
                <a:rPr lang="it-IT" altLang="en-US" sz="800">
                  <a:solidFill>
                    <a:srgbClr val="000000"/>
                  </a:solidFill>
                  <a:latin typeface="Arial" pitchFamily="34" charset="0"/>
                  <a:cs typeface="Arial" pitchFamily="34" charset="0"/>
                </a:rPr>
                <a:t>IGF-1</a:t>
              </a:r>
            </a:p>
            <a:p>
              <a:r>
                <a:rPr lang="it-IT" altLang="en-US" sz="800">
                  <a:solidFill>
                    <a:srgbClr val="000000"/>
                  </a:solidFill>
                  <a:latin typeface="Arial" pitchFamily="34" charset="0"/>
                  <a:cs typeface="Arial" pitchFamily="34" charset="0"/>
                </a:rPr>
                <a:t>OP</a:t>
              </a:r>
            </a:p>
            <a:p>
              <a:endParaRPr lang="it-IT" altLang="en-US" sz="1100">
                <a:solidFill>
                  <a:srgbClr val="000000"/>
                </a:solidFill>
                <a:latin typeface="Arial" pitchFamily="34" charset="0"/>
                <a:cs typeface="Arial" pitchFamily="34" charset="0"/>
              </a:endParaRPr>
            </a:p>
            <a:p>
              <a:endParaRPr lang="it-IT" altLang="en-US" sz="1600">
                <a:solidFill>
                  <a:srgbClr val="000000"/>
                </a:solidFill>
                <a:latin typeface="Arial" pitchFamily="34" charset="0"/>
                <a:cs typeface="Arial" pitchFamily="34" charset="0"/>
              </a:endParaRPr>
            </a:p>
          </p:txBody>
        </p:sp>
      </p:grpSp>
      <p:grpSp>
        <p:nvGrpSpPr>
          <p:cNvPr id="852996" name="Gruppo 181"/>
          <p:cNvGrpSpPr>
            <a:grpSpLocks/>
          </p:cNvGrpSpPr>
          <p:nvPr/>
        </p:nvGrpSpPr>
        <p:grpSpPr bwMode="auto">
          <a:xfrm>
            <a:off x="3257550" y="4640263"/>
            <a:ext cx="852488" cy="1016000"/>
            <a:chOff x="533400" y="5124450"/>
            <a:chExt cx="852815" cy="1015326"/>
          </a:xfrm>
        </p:grpSpPr>
        <p:sp>
          <p:nvSpPr>
            <p:cNvPr id="853054" name="CasellaDiTesto 182"/>
            <p:cNvSpPr txBox="1">
              <a:spLocks noChangeArrowheads="1"/>
            </p:cNvSpPr>
            <p:nvPr/>
          </p:nvSpPr>
          <p:spPr bwMode="auto">
            <a:xfrm>
              <a:off x="533400" y="5133975"/>
              <a:ext cx="454081" cy="615349"/>
            </a:xfrm>
            <a:prstGeom prst="rect">
              <a:avLst/>
            </a:prstGeom>
            <a:noFill/>
            <a:ln w="9525">
              <a:noFill/>
              <a:miter lim="800000"/>
              <a:headEnd/>
              <a:tailEnd/>
            </a:ln>
          </p:spPr>
          <p:txBody>
            <a:bodyPr wrap="none">
              <a:spAutoFit/>
            </a:bodyPr>
            <a:lstStyle/>
            <a:p>
              <a:r>
                <a:rPr lang="it-IT" altLang="en-US" sz="800">
                  <a:solidFill>
                    <a:srgbClr val="000000"/>
                  </a:solidFill>
                  <a:latin typeface="Arial" pitchFamily="34" charset="0"/>
                  <a:cs typeface="Arial" pitchFamily="34" charset="0"/>
                </a:rPr>
                <a:t>CTX</a:t>
              </a:r>
              <a:br>
                <a:rPr lang="it-IT" altLang="en-US" sz="800">
                  <a:solidFill>
                    <a:srgbClr val="000000"/>
                  </a:solidFill>
                  <a:latin typeface="Arial" pitchFamily="34" charset="0"/>
                  <a:cs typeface="Arial" pitchFamily="34" charset="0"/>
                </a:rPr>
              </a:br>
              <a:r>
                <a:rPr lang="it-IT" altLang="en-US" sz="800">
                  <a:solidFill>
                    <a:srgbClr val="000000"/>
                  </a:solidFill>
                  <a:latin typeface="Arial" pitchFamily="34" charset="0"/>
                  <a:cs typeface="Arial" pitchFamily="34" charset="0"/>
                </a:rPr>
                <a:t>NTX</a:t>
              </a:r>
            </a:p>
            <a:p>
              <a:r>
                <a:rPr lang="it-IT" altLang="en-US" sz="800">
                  <a:solidFill>
                    <a:srgbClr val="000000"/>
                  </a:solidFill>
                  <a:latin typeface="Arial" pitchFamily="34" charset="0"/>
                  <a:cs typeface="Arial" pitchFamily="34" charset="0"/>
                </a:rPr>
                <a:t>P1NP</a:t>
              </a:r>
            </a:p>
            <a:p>
              <a:endParaRPr lang="it-IT" altLang="en-US" sz="1000">
                <a:solidFill>
                  <a:srgbClr val="000000"/>
                </a:solidFill>
                <a:latin typeface="Arial" pitchFamily="34" charset="0"/>
                <a:cs typeface="Arial" pitchFamily="34" charset="0"/>
              </a:endParaRPr>
            </a:p>
          </p:txBody>
        </p:sp>
        <p:sp>
          <p:nvSpPr>
            <p:cNvPr id="853055" name="CasellaDiTesto 183"/>
            <p:cNvSpPr txBox="1">
              <a:spLocks noChangeArrowheads="1"/>
            </p:cNvSpPr>
            <p:nvPr/>
          </p:nvSpPr>
          <p:spPr bwMode="auto">
            <a:xfrm>
              <a:off x="904875" y="5124450"/>
              <a:ext cx="481340" cy="1015326"/>
            </a:xfrm>
            <a:prstGeom prst="rect">
              <a:avLst/>
            </a:prstGeom>
            <a:noFill/>
            <a:ln w="9525">
              <a:noFill/>
              <a:miter lim="800000"/>
              <a:headEnd/>
              <a:tailEnd/>
            </a:ln>
          </p:spPr>
          <p:txBody>
            <a:bodyPr wrap="none">
              <a:spAutoFit/>
            </a:bodyPr>
            <a:lstStyle/>
            <a:p>
              <a:r>
                <a:rPr lang="it-IT" altLang="en-US" sz="800">
                  <a:solidFill>
                    <a:srgbClr val="000000"/>
                  </a:solidFill>
                  <a:latin typeface="Arial" pitchFamily="34" charset="0"/>
                  <a:cs typeface="Arial" pitchFamily="34" charset="0"/>
                </a:rPr>
                <a:t>SDF-1</a:t>
              </a:r>
              <a:br>
                <a:rPr lang="it-IT" altLang="en-US" sz="800">
                  <a:solidFill>
                    <a:srgbClr val="000000"/>
                  </a:solidFill>
                  <a:latin typeface="Arial" pitchFamily="34" charset="0"/>
                  <a:cs typeface="Arial" pitchFamily="34" charset="0"/>
                </a:rPr>
              </a:br>
              <a:r>
                <a:rPr lang="it-IT" altLang="en-US" sz="800">
                  <a:solidFill>
                    <a:srgbClr val="000000"/>
                  </a:solidFill>
                  <a:latin typeface="Arial" pitchFamily="34" charset="0"/>
                  <a:cs typeface="Arial" pitchFamily="34" charset="0"/>
                </a:rPr>
                <a:t>TGF b</a:t>
              </a:r>
            </a:p>
            <a:p>
              <a:r>
                <a:rPr lang="it-IT" altLang="en-US" sz="800">
                  <a:solidFill>
                    <a:srgbClr val="000000"/>
                  </a:solidFill>
                  <a:latin typeface="Arial" pitchFamily="34" charset="0"/>
                  <a:cs typeface="Arial" pitchFamily="34" charset="0"/>
                </a:rPr>
                <a:t>PDGF</a:t>
              </a:r>
            </a:p>
            <a:p>
              <a:r>
                <a:rPr lang="it-IT" altLang="en-US" sz="800">
                  <a:solidFill>
                    <a:srgbClr val="000000"/>
                  </a:solidFill>
                  <a:latin typeface="Arial" pitchFamily="34" charset="0"/>
                  <a:cs typeface="Arial" pitchFamily="34" charset="0"/>
                </a:rPr>
                <a:t>O</a:t>
              </a:r>
              <a:r>
                <a:rPr lang="it-IT" altLang="en-US" sz="900">
                  <a:solidFill>
                    <a:srgbClr val="000000"/>
                  </a:solidFill>
                  <a:latin typeface="Arial" pitchFamily="34" charset="0"/>
                  <a:cs typeface="Arial" pitchFamily="34" charset="0"/>
                </a:rPr>
                <a:t>P</a:t>
              </a:r>
            </a:p>
            <a:p>
              <a:endParaRPr lang="it-IT" altLang="en-US" sz="1100">
                <a:solidFill>
                  <a:srgbClr val="000000"/>
                </a:solidFill>
                <a:latin typeface="Arial" pitchFamily="34" charset="0"/>
                <a:cs typeface="Arial" pitchFamily="34" charset="0"/>
              </a:endParaRPr>
            </a:p>
            <a:p>
              <a:endParaRPr lang="it-IT" altLang="en-US" sz="1600">
                <a:solidFill>
                  <a:srgbClr val="000000"/>
                </a:solidFill>
                <a:latin typeface="Arial" pitchFamily="34" charset="0"/>
                <a:cs typeface="Arial" pitchFamily="34" charset="0"/>
              </a:endParaRPr>
            </a:p>
          </p:txBody>
        </p:sp>
      </p:grpSp>
      <p:grpSp>
        <p:nvGrpSpPr>
          <p:cNvPr id="852998" name="Gruppo 184"/>
          <p:cNvGrpSpPr>
            <a:grpSpLocks/>
          </p:cNvGrpSpPr>
          <p:nvPr/>
        </p:nvGrpSpPr>
        <p:grpSpPr bwMode="auto">
          <a:xfrm>
            <a:off x="6553200" y="4573588"/>
            <a:ext cx="852488" cy="1000125"/>
            <a:chOff x="533400" y="5124450"/>
            <a:chExt cx="852815" cy="1000423"/>
          </a:xfrm>
        </p:grpSpPr>
        <p:sp>
          <p:nvSpPr>
            <p:cNvPr id="853052" name="CasellaDiTesto 185"/>
            <p:cNvSpPr txBox="1">
              <a:spLocks noChangeArrowheads="1"/>
            </p:cNvSpPr>
            <p:nvPr/>
          </p:nvSpPr>
          <p:spPr bwMode="auto">
            <a:xfrm>
              <a:off x="533400" y="5133975"/>
              <a:ext cx="454081" cy="615645"/>
            </a:xfrm>
            <a:prstGeom prst="rect">
              <a:avLst/>
            </a:prstGeom>
            <a:noFill/>
            <a:ln w="9525">
              <a:noFill/>
              <a:miter lim="800000"/>
              <a:headEnd/>
              <a:tailEnd/>
            </a:ln>
          </p:spPr>
          <p:txBody>
            <a:bodyPr wrap="none">
              <a:spAutoFit/>
            </a:bodyPr>
            <a:lstStyle/>
            <a:p>
              <a:r>
                <a:rPr lang="it-IT" altLang="en-US" sz="800">
                  <a:solidFill>
                    <a:srgbClr val="000000"/>
                  </a:solidFill>
                  <a:latin typeface="Arial" pitchFamily="34" charset="0"/>
                  <a:cs typeface="Arial" pitchFamily="34" charset="0"/>
                </a:rPr>
                <a:t>CTX</a:t>
              </a:r>
              <a:br>
                <a:rPr lang="it-IT" altLang="en-US" sz="800">
                  <a:solidFill>
                    <a:srgbClr val="000000"/>
                  </a:solidFill>
                  <a:latin typeface="Arial" pitchFamily="34" charset="0"/>
                  <a:cs typeface="Arial" pitchFamily="34" charset="0"/>
                </a:rPr>
              </a:br>
              <a:r>
                <a:rPr lang="it-IT" altLang="en-US" sz="800">
                  <a:solidFill>
                    <a:srgbClr val="000000"/>
                  </a:solidFill>
                  <a:latin typeface="Arial" pitchFamily="34" charset="0"/>
                  <a:cs typeface="Arial" pitchFamily="34" charset="0"/>
                </a:rPr>
                <a:t>NTX</a:t>
              </a:r>
            </a:p>
            <a:p>
              <a:r>
                <a:rPr lang="it-IT" altLang="en-US" sz="800">
                  <a:solidFill>
                    <a:srgbClr val="000000"/>
                  </a:solidFill>
                  <a:latin typeface="Arial" pitchFamily="34" charset="0"/>
                  <a:cs typeface="Arial" pitchFamily="34" charset="0"/>
                </a:rPr>
                <a:t>P1NP</a:t>
              </a:r>
            </a:p>
            <a:p>
              <a:endParaRPr lang="it-IT" altLang="en-US" sz="1000">
                <a:solidFill>
                  <a:srgbClr val="000000"/>
                </a:solidFill>
                <a:latin typeface="Arial" pitchFamily="34" charset="0"/>
                <a:cs typeface="Arial" pitchFamily="34" charset="0"/>
              </a:endParaRPr>
            </a:p>
          </p:txBody>
        </p:sp>
        <p:sp>
          <p:nvSpPr>
            <p:cNvPr id="853053" name="CasellaDiTesto 186"/>
            <p:cNvSpPr txBox="1">
              <a:spLocks noChangeArrowheads="1"/>
            </p:cNvSpPr>
            <p:nvPr/>
          </p:nvSpPr>
          <p:spPr bwMode="auto">
            <a:xfrm>
              <a:off x="904875" y="5124450"/>
              <a:ext cx="481340" cy="1000423"/>
            </a:xfrm>
            <a:prstGeom prst="rect">
              <a:avLst/>
            </a:prstGeom>
            <a:noFill/>
            <a:ln w="9525">
              <a:noFill/>
              <a:miter lim="800000"/>
              <a:headEnd/>
              <a:tailEnd/>
            </a:ln>
          </p:spPr>
          <p:txBody>
            <a:bodyPr wrap="none">
              <a:spAutoFit/>
            </a:bodyPr>
            <a:lstStyle/>
            <a:p>
              <a:r>
                <a:rPr lang="it-IT" altLang="en-US" sz="800">
                  <a:solidFill>
                    <a:srgbClr val="000000"/>
                  </a:solidFill>
                  <a:latin typeface="Arial" pitchFamily="34" charset="0"/>
                  <a:cs typeface="Arial" pitchFamily="34" charset="0"/>
                </a:rPr>
                <a:t>SDF-1</a:t>
              </a:r>
              <a:br>
                <a:rPr lang="it-IT" altLang="en-US" sz="800">
                  <a:solidFill>
                    <a:srgbClr val="000000"/>
                  </a:solidFill>
                  <a:latin typeface="Arial" pitchFamily="34" charset="0"/>
                  <a:cs typeface="Arial" pitchFamily="34" charset="0"/>
                </a:rPr>
              </a:br>
              <a:r>
                <a:rPr lang="it-IT" altLang="en-US" sz="800">
                  <a:solidFill>
                    <a:srgbClr val="000000"/>
                  </a:solidFill>
                  <a:latin typeface="Arial" pitchFamily="34" charset="0"/>
                  <a:cs typeface="Arial" pitchFamily="34" charset="0"/>
                </a:rPr>
                <a:t>TGF b</a:t>
              </a:r>
            </a:p>
            <a:p>
              <a:r>
                <a:rPr lang="it-IT" altLang="en-US" sz="800">
                  <a:solidFill>
                    <a:srgbClr val="000000"/>
                  </a:solidFill>
                  <a:latin typeface="Arial" pitchFamily="34" charset="0"/>
                  <a:cs typeface="Arial" pitchFamily="34" charset="0"/>
                </a:rPr>
                <a:t>PDGF</a:t>
              </a:r>
            </a:p>
            <a:p>
              <a:r>
                <a:rPr lang="it-IT" altLang="en-US" sz="800">
                  <a:solidFill>
                    <a:srgbClr val="000000"/>
                  </a:solidFill>
                  <a:latin typeface="Arial" pitchFamily="34" charset="0"/>
                  <a:cs typeface="Arial" pitchFamily="34" charset="0"/>
                </a:rPr>
                <a:t>OP</a:t>
              </a:r>
            </a:p>
            <a:p>
              <a:endParaRPr lang="it-IT" altLang="en-US" sz="1100">
                <a:solidFill>
                  <a:srgbClr val="000000"/>
                </a:solidFill>
                <a:latin typeface="Arial" pitchFamily="34" charset="0"/>
                <a:cs typeface="Arial" pitchFamily="34" charset="0"/>
              </a:endParaRPr>
            </a:p>
            <a:p>
              <a:endParaRPr lang="it-IT" altLang="en-US" sz="1600">
                <a:solidFill>
                  <a:srgbClr val="000000"/>
                </a:solidFill>
                <a:latin typeface="Arial" pitchFamily="34" charset="0"/>
                <a:cs typeface="Arial" pitchFamily="34" charset="0"/>
              </a:endParaRPr>
            </a:p>
          </p:txBody>
        </p:sp>
      </p:grpSp>
      <p:sp>
        <p:nvSpPr>
          <p:cNvPr id="853041" name="Freeform 209"/>
          <p:cNvSpPr>
            <a:spLocks/>
          </p:cNvSpPr>
          <p:nvPr/>
        </p:nvSpPr>
        <p:spPr bwMode="auto">
          <a:xfrm rot="-12360">
            <a:off x="2381250" y="5059363"/>
            <a:ext cx="388938" cy="207962"/>
          </a:xfrm>
          <a:custGeom>
            <a:avLst/>
            <a:gdLst>
              <a:gd name="T0" fmla="*/ 2147483647 w 406"/>
              <a:gd name="T1" fmla="*/ 2147483647 h 378"/>
              <a:gd name="T2" fmla="*/ 2147483647 w 406"/>
              <a:gd name="T3" fmla="*/ 0 h 378"/>
              <a:gd name="T4" fmla="*/ 2147483647 w 406"/>
              <a:gd name="T5" fmla="*/ 2147483647 h 378"/>
              <a:gd name="T6" fmla="*/ 2147483647 w 406"/>
              <a:gd name="T7" fmla="*/ 2147483647 h 378"/>
              <a:gd name="T8" fmla="*/ 2147483647 w 406"/>
              <a:gd name="T9" fmla="*/ 2147483647 h 378"/>
              <a:gd name="T10" fmla="*/ 2147483647 w 406"/>
              <a:gd name="T11" fmla="*/ 2147483647 h 378"/>
              <a:gd name="T12" fmla="*/ 2147483647 w 406"/>
              <a:gd name="T13" fmla="*/ 2147483647 h 378"/>
              <a:gd name="T14" fmla="*/ 2147483647 w 406"/>
              <a:gd name="T15" fmla="*/ 2147483647 h 378"/>
              <a:gd name="T16" fmla="*/ 2147483647 w 406"/>
              <a:gd name="T17" fmla="*/ 2147483647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042" name="Freeform 209"/>
          <p:cNvSpPr>
            <a:spLocks/>
          </p:cNvSpPr>
          <p:nvPr/>
        </p:nvSpPr>
        <p:spPr bwMode="auto">
          <a:xfrm rot="-12360">
            <a:off x="2714625" y="5059363"/>
            <a:ext cx="388938" cy="207962"/>
          </a:xfrm>
          <a:custGeom>
            <a:avLst/>
            <a:gdLst>
              <a:gd name="T0" fmla="*/ 2147483647 w 406"/>
              <a:gd name="T1" fmla="*/ 2147483647 h 378"/>
              <a:gd name="T2" fmla="*/ 2147483647 w 406"/>
              <a:gd name="T3" fmla="*/ 0 h 378"/>
              <a:gd name="T4" fmla="*/ 2147483647 w 406"/>
              <a:gd name="T5" fmla="*/ 2147483647 h 378"/>
              <a:gd name="T6" fmla="*/ 2147483647 w 406"/>
              <a:gd name="T7" fmla="*/ 2147483647 h 378"/>
              <a:gd name="T8" fmla="*/ 2147483647 w 406"/>
              <a:gd name="T9" fmla="*/ 2147483647 h 378"/>
              <a:gd name="T10" fmla="*/ 2147483647 w 406"/>
              <a:gd name="T11" fmla="*/ 2147483647 h 378"/>
              <a:gd name="T12" fmla="*/ 2147483647 w 406"/>
              <a:gd name="T13" fmla="*/ 2147483647 h 378"/>
              <a:gd name="T14" fmla="*/ 2147483647 w 406"/>
              <a:gd name="T15" fmla="*/ 2147483647 h 378"/>
              <a:gd name="T16" fmla="*/ 2147483647 w 406"/>
              <a:gd name="T17" fmla="*/ 2147483647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043" name="Freeform 209"/>
          <p:cNvSpPr>
            <a:spLocks/>
          </p:cNvSpPr>
          <p:nvPr/>
        </p:nvSpPr>
        <p:spPr bwMode="auto">
          <a:xfrm rot="-12360">
            <a:off x="3048000" y="5078413"/>
            <a:ext cx="388938" cy="207962"/>
          </a:xfrm>
          <a:custGeom>
            <a:avLst/>
            <a:gdLst>
              <a:gd name="T0" fmla="*/ 2147483647 w 406"/>
              <a:gd name="T1" fmla="*/ 2147483647 h 378"/>
              <a:gd name="T2" fmla="*/ 2147483647 w 406"/>
              <a:gd name="T3" fmla="*/ 0 h 378"/>
              <a:gd name="T4" fmla="*/ 2147483647 w 406"/>
              <a:gd name="T5" fmla="*/ 2147483647 h 378"/>
              <a:gd name="T6" fmla="*/ 2147483647 w 406"/>
              <a:gd name="T7" fmla="*/ 2147483647 h 378"/>
              <a:gd name="T8" fmla="*/ 2147483647 w 406"/>
              <a:gd name="T9" fmla="*/ 2147483647 h 378"/>
              <a:gd name="T10" fmla="*/ 2147483647 w 406"/>
              <a:gd name="T11" fmla="*/ 2147483647 h 378"/>
              <a:gd name="T12" fmla="*/ 2147483647 w 406"/>
              <a:gd name="T13" fmla="*/ 2147483647 h 378"/>
              <a:gd name="T14" fmla="*/ 2147483647 w 406"/>
              <a:gd name="T15" fmla="*/ 2147483647 h 378"/>
              <a:gd name="T16" fmla="*/ 2147483647 w 406"/>
              <a:gd name="T17" fmla="*/ 2147483647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044" name="Freeform 209"/>
          <p:cNvSpPr>
            <a:spLocks/>
          </p:cNvSpPr>
          <p:nvPr/>
        </p:nvSpPr>
        <p:spPr bwMode="auto">
          <a:xfrm rot="-12360">
            <a:off x="5476875" y="5068888"/>
            <a:ext cx="388938" cy="207962"/>
          </a:xfrm>
          <a:custGeom>
            <a:avLst/>
            <a:gdLst>
              <a:gd name="T0" fmla="*/ 2147483647 w 406"/>
              <a:gd name="T1" fmla="*/ 2147483647 h 378"/>
              <a:gd name="T2" fmla="*/ 2147483647 w 406"/>
              <a:gd name="T3" fmla="*/ 0 h 378"/>
              <a:gd name="T4" fmla="*/ 2147483647 w 406"/>
              <a:gd name="T5" fmla="*/ 2147483647 h 378"/>
              <a:gd name="T6" fmla="*/ 2147483647 w 406"/>
              <a:gd name="T7" fmla="*/ 2147483647 h 378"/>
              <a:gd name="T8" fmla="*/ 2147483647 w 406"/>
              <a:gd name="T9" fmla="*/ 2147483647 h 378"/>
              <a:gd name="T10" fmla="*/ 2147483647 w 406"/>
              <a:gd name="T11" fmla="*/ 2147483647 h 378"/>
              <a:gd name="T12" fmla="*/ 2147483647 w 406"/>
              <a:gd name="T13" fmla="*/ 2147483647 h 378"/>
              <a:gd name="T14" fmla="*/ 2147483647 w 406"/>
              <a:gd name="T15" fmla="*/ 2147483647 h 378"/>
              <a:gd name="T16" fmla="*/ 2147483647 w 406"/>
              <a:gd name="T17" fmla="*/ 2147483647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045" name="Freeform 209"/>
          <p:cNvSpPr>
            <a:spLocks/>
          </p:cNvSpPr>
          <p:nvPr/>
        </p:nvSpPr>
        <p:spPr bwMode="auto">
          <a:xfrm rot="-12360">
            <a:off x="6029325" y="5078413"/>
            <a:ext cx="388938" cy="207962"/>
          </a:xfrm>
          <a:custGeom>
            <a:avLst/>
            <a:gdLst>
              <a:gd name="T0" fmla="*/ 2147483647 w 406"/>
              <a:gd name="T1" fmla="*/ 2147483647 h 378"/>
              <a:gd name="T2" fmla="*/ 2147483647 w 406"/>
              <a:gd name="T3" fmla="*/ 0 h 378"/>
              <a:gd name="T4" fmla="*/ 2147483647 w 406"/>
              <a:gd name="T5" fmla="*/ 2147483647 h 378"/>
              <a:gd name="T6" fmla="*/ 2147483647 w 406"/>
              <a:gd name="T7" fmla="*/ 2147483647 h 378"/>
              <a:gd name="T8" fmla="*/ 2147483647 w 406"/>
              <a:gd name="T9" fmla="*/ 2147483647 h 378"/>
              <a:gd name="T10" fmla="*/ 2147483647 w 406"/>
              <a:gd name="T11" fmla="*/ 2147483647 h 378"/>
              <a:gd name="T12" fmla="*/ 2147483647 w 406"/>
              <a:gd name="T13" fmla="*/ 2147483647 h 378"/>
              <a:gd name="T14" fmla="*/ 2147483647 w 406"/>
              <a:gd name="T15" fmla="*/ 2147483647 h 378"/>
              <a:gd name="T16" fmla="*/ 2147483647 w 406"/>
              <a:gd name="T17" fmla="*/ 2147483647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046" name="Freeform 209"/>
          <p:cNvSpPr>
            <a:spLocks/>
          </p:cNvSpPr>
          <p:nvPr/>
        </p:nvSpPr>
        <p:spPr bwMode="auto">
          <a:xfrm rot="-12360">
            <a:off x="6267450" y="5078413"/>
            <a:ext cx="388938" cy="207962"/>
          </a:xfrm>
          <a:custGeom>
            <a:avLst/>
            <a:gdLst>
              <a:gd name="T0" fmla="*/ 2147483647 w 406"/>
              <a:gd name="T1" fmla="*/ 2147483647 h 378"/>
              <a:gd name="T2" fmla="*/ 2147483647 w 406"/>
              <a:gd name="T3" fmla="*/ 0 h 378"/>
              <a:gd name="T4" fmla="*/ 2147483647 w 406"/>
              <a:gd name="T5" fmla="*/ 2147483647 h 378"/>
              <a:gd name="T6" fmla="*/ 2147483647 w 406"/>
              <a:gd name="T7" fmla="*/ 2147483647 h 378"/>
              <a:gd name="T8" fmla="*/ 2147483647 w 406"/>
              <a:gd name="T9" fmla="*/ 2147483647 h 378"/>
              <a:gd name="T10" fmla="*/ 2147483647 w 406"/>
              <a:gd name="T11" fmla="*/ 2147483647 h 378"/>
              <a:gd name="T12" fmla="*/ 2147483647 w 406"/>
              <a:gd name="T13" fmla="*/ 2147483647 h 378"/>
              <a:gd name="T14" fmla="*/ 2147483647 w 406"/>
              <a:gd name="T15" fmla="*/ 2147483647 h 378"/>
              <a:gd name="T16" fmla="*/ 2147483647 w 406"/>
              <a:gd name="T17" fmla="*/ 2147483647 h 3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6"/>
              <a:gd name="T28" fmla="*/ 0 h 378"/>
              <a:gd name="T29" fmla="*/ 406 w 406"/>
              <a:gd name="T30" fmla="*/ 378 h 3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6" h="378">
                <a:moveTo>
                  <a:pt x="68" y="328"/>
                </a:moveTo>
                <a:cubicBezTo>
                  <a:pt x="60" y="242"/>
                  <a:pt x="54" y="39"/>
                  <a:pt x="159" y="0"/>
                </a:cubicBezTo>
                <a:cubicBezTo>
                  <a:pt x="220" y="3"/>
                  <a:pt x="281" y="2"/>
                  <a:pt x="341" y="10"/>
                </a:cubicBezTo>
                <a:cubicBezTo>
                  <a:pt x="369" y="14"/>
                  <a:pt x="386" y="82"/>
                  <a:pt x="386" y="82"/>
                </a:cubicBezTo>
                <a:cubicBezTo>
                  <a:pt x="393" y="150"/>
                  <a:pt x="404" y="235"/>
                  <a:pt x="404" y="300"/>
                </a:cubicBezTo>
                <a:cubicBezTo>
                  <a:pt x="404" y="316"/>
                  <a:pt x="406" y="335"/>
                  <a:pt x="395" y="346"/>
                </a:cubicBezTo>
                <a:cubicBezTo>
                  <a:pt x="372" y="369"/>
                  <a:pt x="248" y="372"/>
                  <a:pt x="241" y="373"/>
                </a:cubicBezTo>
                <a:cubicBezTo>
                  <a:pt x="183" y="368"/>
                  <a:pt x="121" y="378"/>
                  <a:pt x="68" y="355"/>
                </a:cubicBezTo>
                <a:cubicBezTo>
                  <a:pt x="0" y="325"/>
                  <a:pt x="68" y="328"/>
                  <a:pt x="68" y="328"/>
                </a:cubicBezTo>
                <a:close/>
              </a:path>
            </a:pathLst>
          </a:custGeom>
          <a:gradFill rotWithShape="0">
            <a:gsLst>
              <a:gs pos="0">
                <a:srgbClr val="CC0066"/>
              </a:gs>
              <a:gs pos="100000">
                <a:srgbClr val="5E002F"/>
              </a:gs>
            </a:gsLst>
            <a:path path="rect">
              <a:fillToRect l="50000" t="50000" r="50000" b="50000"/>
            </a:path>
          </a:gradFill>
          <a:ln w="9525" cap="flat" cmpd="sng">
            <a:solidFill>
              <a:srgbClr val="000000"/>
            </a:solidFill>
            <a:prstDash val="solid"/>
            <a:round/>
            <a:headEnd/>
            <a:tailEnd/>
          </a:ln>
        </p:spPr>
        <p:txBody>
          <a:bodyPr wrap="none" anchor="ctr"/>
          <a:lstStyle/>
          <a:p>
            <a:endParaRPr lang="it-IT"/>
          </a:p>
        </p:txBody>
      </p:sp>
      <p:sp>
        <p:nvSpPr>
          <p:cNvPr id="853047" name="CasellaDiTesto 131"/>
          <p:cNvSpPr txBox="1">
            <a:spLocks noChangeArrowheads="1"/>
          </p:cNvSpPr>
          <p:nvPr/>
        </p:nvSpPr>
        <p:spPr bwMode="auto">
          <a:xfrm>
            <a:off x="7392988" y="2084388"/>
            <a:ext cx="1274762" cy="339725"/>
          </a:xfrm>
          <a:prstGeom prst="rect">
            <a:avLst/>
          </a:prstGeom>
          <a:noFill/>
          <a:ln w="9525">
            <a:noFill/>
            <a:miter lim="800000"/>
            <a:headEnd/>
            <a:tailEnd/>
          </a:ln>
        </p:spPr>
        <p:txBody>
          <a:bodyPr>
            <a:spAutoFit/>
          </a:bodyPr>
          <a:lstStyle/>
          <a:p>
            <a:pPr algn="ctr"/>
            <a:r>
              <a:rPr lang="it-IT" altLang="en-US" sz="1600">
                <a:solidFill>
                  <a:srgbClr val="000000"/>
                </a:solidFill>
                <a:latin typeface="Arial" pitchFamily="34" charset="0"/>
                <a:cs typeface="Arial" pitchFamily="34" charset="0"/>
              </a:rPr>
              <a:t>SRE</a:t>
            </a:r>
          </a:p>
        </p:txBody>
      </p:sp>
      <p:cxnSp>
        <p:nvCxnSpPr>
          <p:cNvPr id="853048" name="Connettore 2 166"/>
          <p:cNvCxnSpPr>
            <a:cxnSpLocks noChangeShapeType="1"/>
          </p:cNvCxnSpPr>
          <p:nvPr/>
        </p:nvCxnSpPr>
        <p:spPr bwMode="auto">
          <a:xfrm flipH="1" flipV="1">
            <a:off x="5949950" y="2552700"/>
            <a:ext cx="1651000" cy="1128713"/>
          </a:xfrm>
          <a:prstGeom prst="straightConnector1">
            <a:avLst/>
          </a:prstGeom>
          <a:noFill/>
          <a:ln w="9525" algn="ctr">
            <a:solidFill>
              <a:schemeClr val="tx1"/>
            </a:solidFill>
            <a:round/>
            <a:headEnd/>
            <a:tailEnd type="arrow" w="med" len="med"/>
          </a:ln>
        </p:spPr>
      </p:cxnSp>
      <p:sp>
        <p:nvSpPr>
          <p:cNvPr id="853049" name="CasellaDiTesto 178"/>
          <p:cNvSpPr txBox="1">
            <a:spLocks noChangeArrowheads="1"/>
          </p:cNvSpPr>
          <p:nvPr/>
        </p:nvSpPr>
        <p:spPr bwMode="auto">
          <a:xfrm>
            <a:off x="261938" y="6162675"/>
            <a:ext cx="8494712" cy="338138"/>
          </a:xfrm>
          <a:prstGeom prst="rect">
            <a:avLst/>
          </a:prstGeom>
          <a:noFill/>
          <a:ln w="9525">
            <a:noFill/>
            <a:miter lim="800000"/>
            <a:headEnd/>
            <a:tailEnd/>
          </a:ln>
        </p:spPr>
        <p:txBody>
          <a:bodyPr wrap="none">
            <a:spAutoFit/>
          </a:bodyPr>
          <a:lstStyle/>
          <a:p>
            <a:r>
              <a:rPr lang="it-IT" sz="1600">
                <a:solidFill>
                  <a:srgbClr val="000000"/>
                </a:solidFill>
                <a:latin typeface="Arial" pitchFamily="34" charset="0"/>
              </a:rPr>
              <a:t>Scheletro non metastatico	       Nicchia premetastatica                        Metastasi ossea	</a:t>
            </a:r>
          </a:p>
        </p:txBody>
      </p:sp>
      <p:sp>
        <p:nvSpPr>
          <p:cNvPr id="853050" name="CasellaDiTesto 160"/>
          <p:cNvSpPr txBox="1">
            <a:spLocks noChangeArrowheads="1"/>
          </p:cNvSpPr>
          <p:nvPr/>
        </p:nvSpPr>
        <p:spPr bwMode="auto">
          <a:xfrm>
            <a:off x="7848600" y="6550025"/>
            <a:ext cx="946150" cy="307975"/>
          </a:xfrm>
          <a:prstGeom prst="rect">
            <a:avLst/>
          </a:prstGeom>
          <a:noFill/>
          <a:ln w="9525">
            <a:noFill/>
            <a:miter lim="800000"/>
            <a:headEnd/>
            <a:tailEnd/>
          </a:ln>
        </p:spPr>
        <p:txBody>
          <a:bodyPr wrap="none">
            <a:spAutoFit/>
          </a:bodyPr>
          <a:lstStyle/>
          <a:p>
            <a:r>
              <a:rPr lang="it-IT" sz="1400"/>
              <a:t>Bertoldo F</a:t>
            </a:r>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ttangolo 31"/>
          <p:cNvSpPr/>
          <p:nvPr/>
        </p:nvSpPr>
        <p:spPr>
          <a:xfrm>
            <a:off x="1702013" y="3171247"/>
            <a:ext cx="5802287" cy="238767"/>
          </a:xfrm>
          <a:prstGeom prst="rect">
            <a:avLst/>
          </a:prstGeom>
          <a:solidFill>
            <a:schemeClr val="bg1"/>
          </a:solidFill>
          <a:ln w="12700" cap="flat">
            <a:noFill/>
            <a:miter lim="400000"/>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6789" tIns="26789" rIns="26789" bIns="26789" numCol="1" spcCol="38100" rtlCol="0" anchor="ctr">
            <a:spAutoFit/>
          </a:bodyPr>
          <a:lstStyle/>
          <a:p>
            <a:pPr algn="ctr" defTabSz="308074" hangingPunct="0"/>
            <a:endParaRPr lang="it-IT" sz="1200">
              <a:solidFill>
                <a:srgbClr val="002060"/>
              </a:solidFill>
              <a:sym typeface="Helvetica Light"/>
            </a:endParaRPr>
          </a:p>
        </p:txBody>
      </p:sp>
      <p:sp>
        <p:nvSpPr>
          <p:cNvPr id="10" name="CasellaDiTesto 9"/>
          <p:cNvSpPr txBox="1"/>
          <p:nvPr/>
        </p:nvSpPr>
        <p:spPr>
          <a:xfrm>
            <a:off x="1702013" y="5357922"/>
            <a:ext cx="5802287" cy="646331"/>
          </a:xfrm>
          <a:prstGeom prst="rect">
            <a:avLst/>
          </a:prstGeom>
          <a:noFill/>
          <a:ln>
            <a:solidFill>
              <a:schemeClr val="bg1"/>
            </a:solidFill>
          </a:ln>
        </p:spPr>
        <p:txBody>
          <a:bodyPr wrap="square" rtlCol="0">
            <a:spAutoFit/>
          </a:bodyPr>
          <a:lstStyle/>
          <a:p>
            <a:pPr algn="ctr"/>
            <a:r>
              <a:rPr lang="it-IT" b="1" dirty="0">
                <a:solidFill>
                  <a:srgbClr val="002060"/>
                </a:solidFill>
                <a:latin typeface="Arial" panose="020B0604020202020204" pitchFamily="34" charset="0"/>
                <a:cs typeface="Arial" panose="020B0604020202020204" pitchFamily="34" charset="0"/>
              </a:rPr>
              <a:t>CABOZANTINIB TREATED OSTEOBLASTS EFFECT OSTEOCLASTS DIFFERENTIATION</a:t>
            </a:r>
          </a:p>
        </p:txBody>
      </p:sp>
      <p:grpSp>
        <p:nvGrpSpPr>
          <p:cNvPr id="11" name="Gruppo 10"/>
          <p:cNvGrpSpPr/>
          <p:nvPr/>
        </p:nvGrpSpPr>
        <p:grpSpPr>
          <a:xfrm>
            <a:off x="1805057" y="1353785"/>
            <a:ext cx="5631031" cy="4156217"/>
            <a:chOff x="521367" y="239355"/>
            <a:chExt cx="6512846" cy="4002502"/>
          </a:xfrm>
        </p:grpSpPr>
        <p:pic>
          <p:nvPicPr>
            <p:cNvPr id="12" name="Immagin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7912" y="511234"/>
              <a:ext cx="2040802" cy="1530602"/>
            </a:xfrm>
            <a:prstGeom prst="rect">
              <a:avLst/>
            </a:prstGeom>
          </p:spPr>
        </p:pic>
        <p:pic>
          <p:nvPicPr>
            <p:cNvPr id="13" name="Immagin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26362" y="511234"/>
              <a:ext cx="2042728" cy="1532046"/>
            </a:xfrm>
            <a:prstGeom prst="rect">
              <a:avLst/>
            </a:prstGeom>
          </p:spPr>
        </p:pic>
        <p:pic>
          <p:nvPicPr>
            <p:cNvPr id="14" name="Immagin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7912" y="2304196"/>
              <a:ext cx="2040802" cy="1530602"/>
            </a:xfrm>
            <a:prstGeom prst="rect">
              <a:avLst/>
            </a:prstGeom>
          </p:spPr>
        </p:pic>
        <p:pic>
          <p:nvPicPr>
            <p:cNvPr id="15" name="Immagin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13751" y="2304196"/>
              <a:ext cx="2055339" cy="1541504"/>
            </a:xfrm>
            <a:prstGeom prst="rect">
              <a:avLst/>
            </a:prstGeom>
          </p:spPr>
        </p:pic>
        <p:sp>
          <p:nvSpPr>
            <p:cNvPr id="16" name="CasellaDiTesto 15"/>
            <p:cNvSpPr txBox="1"/>
            <p:nvPr/>
          </p:nvSpPr>
          <p:spPr>
            <a:xfrm>
              <a:off x="530497" y="239355"/>
              <a:ext cx="343367" cy="283489"/>
            </a:xfrm>
            <a:prstGeom prst="rect">
              <a:avLst/>
            </a:prstGeom>
            <a:noFill/>
          </p:spPr>
          <p:txBody>
            <a:bodyPr wrap="none" rtlCol="0">
              <a:spAutoFit/>
            </a:bodyPr>
            <a:lstStyle/>
            <a:p>
              <a:r>
                <a:rPr lang="it-IT" sz="1313" dirty="0">
                  <a:solidFill>
                    <a:srgbClr val="002060"/>
                  </a:solidFill>
                  <a:latin typeface="Arial" panose="020B0604020202020204" pitchFamily="34" charset="0"/>
                  <a:cs typeface="Arial" panose="020B0604020202020204" pitchFamily="34" charset="0"/>
                </a:rPr>
                <a:t>A</a:t>
              </a:r>
            </a:p>
          </p:txBody>
        </p:sp>
        <p:sp>
          <p:nvSpPr>
            <p:cNvPr id="17" name="CasellaDiTesto 16"/>
            <p:cNvSpPr txBox="1"/>
            <p:nvPr/>
          </p:nvSpPr>
          <p:spPr>
            <a:xfrm>
              <a:off x="2854597" y="239355"/>
              <a:ext cx="343367" cy="283489"/>
            </a:xfrm>
            <a:prstGeom prst="rect">
              <a:avLst/>
            </a:prstGeom>
            <a:noFill/>
          </p:spPr>
          <p:txBody>
            <a:bodyPr wrap="none" rtlCol="0">
              <a:spAutoFit/>
            </a:bodyPr>
            <a:lstStyle/>
            <a:p>
              <a:r>
                <a:rPr lang="it-IT" sz="1313" dirty="0">
                  <a:solidFill>
                    <a:srgbClr val="002060"/>
                  </a:solidFill>
                  <a:latin typeface="Arial" panose="020B0604020202020204" pitchFamily="34" charset="0"/>
                  <a:cs typeface="Arial" panose="020B0604020202020204" pitchFamily="34" charset="0"/>
                </a:rPr>
                <a:t>B</a:t>
              </a:r>
            </a:p>
          </p:txBody>
        </p:sp>
        <p:sp>
          <p:nvSpPr>
            <p:cNvPr id="18" name="CasellaDiTesto 17"/>
            <p:cNvSpPr txBox="1"/>
            <p:nvPr/>
          </p:nvSpPr>
          <p:spPr>
            <a:xfrm>
              <a:off x="2854992" y="2039580"/>
              <a:ext cx="354491" cy="283489"/>
            </a:xfrm>
            <a:prstGeom prst="rect">
              <a:avLst/>
            </a:prstGeom>
            <a:noFill/>
          </p:spPr>
          <p:txBody>
            <a:bodyPr wrap="none" rtlCol="0">
              <a:spAutoFit/>
            </a:bodyPr>
            <a:lstStyle/>
            <a:p>
              <a:r>
                <a:rPr lang="it-IT" sz="1313" dirty="0">
                  <a:solidFill>
                    <a:srgbClr val="002060"/>
                  </a:solidFill>
                  <a:latin typeface="Arial" panose="020B0604020202020204" pitchFamily="34" charset="0"/>
                  <a:cs typeface="Arial" panose="020B0604020202020204" pitchFamily="34" charset="0"/>
                </a:rPr>
                <a:t>D</a:t>
              </a:r>
            </a:p>
          </p:txBody>
        </p:sp>
        <p:sp>
          <p:nvSpPr>
            <p:cNvPr id="19" name="CasellaDiTesto 18"/>
            <p:cNvSpPr txBox="1"/>
            <p:nvPr/>
          </p:nvSpPr>
          <p:spPr>
            <a:xfrm>
              <a:off x="521367" y="2039580"/>
              <a:ext cx="354491" cy="283489"/>
            </a:xfrm>
            <a:prstGeom prst="rect">
              <a:avLst/>
            </a:prstGeom>
            <a:noFill/>
          </p:spPr>
          <p:txBody>
            <a:bodyPr wrap="none" rtlCol="0">
              <a:spAutoFit/>
            </a:bodyPr>
            <a:lstStyle/>
            <a:p>
              <a:r>
                <a:rPr lang="it-IT" sz="1313" dirty="0">
                  <a:solidFill>
                    <a:srgbClr val="002060"/>
                  </a:solidFill>
                  <a:latin typeface="Arial" panose="020B0604020202020204" pitchFamily="34" charset="0"/>
                  <a:cs typeface="Arial" panose="020B0604020202020204" pitchFamily="34" charset="0"/>
                </a:rPr>
                <a:t>C</a:t>
              </a:r>
            </a:p>
          </p:txBody>
        </p:sp>
        <p:grpSp>
          <p:nvGrpSpPr>
            <p:cNvPr id="20" name="Gruppo 19"/>
            <p:cNvGrpSpPr/>
            <p:nvPr/>
          </p:nvGrpSpPr>
          <p:grpSpPr>
            <a:xfrm>
              <a:off x="5463683" y="758154"/>
              <a:ext cx="1570530" cy="3483703"/>
              <a:chOff x="7082933" y="920079"/>
              <a:chExt cx="1570530" cy="3483703"/>
            </a:xfrm>
          </p:grpSpPr>
          <p:pic>
            <p:nvPicPr>
              <p:cNvPr id="2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19988" y="983522"/>
                <a:ext cx="1133475" cy="2085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CasellaDiTesto 22"/>
              <p:cNvSpPr txBox="1"/>
              <p:nvPr/>
            </p:nvSpPr>
            <p:spPr>
              <a:xfrm>
                <a:off x="7488163" y="2782682"/>
                <a:ext cx="274769" cy="200066"/>
              </a:xfrm>
              <a:prstGeom prst="rect">
                <a:avLst/>
              </a:prstGeom>
              <a:noFill/>
            </p:spPr>
            <p:txBody>
              <a:bodyPr wrap="none" rtlCol="0">
                <a:spAutoFit/>
              </a:bodyPr>
              <a:lstStyle/>
              <a:p>
                <a:r>
                  <a:rPr lang="it-IT" sz="750" dirty="0">
                    <a:solidFill>
                      <a:srgbClr val="002060"/>
                    </a:solidFill>
                    <a:latin typeface="Arial" panose="020B0604020202020204" pitchFamily="34" charset="0"/>
                    <a:cs typeface="Arial" panose="020B0604020202020204" pitchFamily="34" charset="0"/>
                  </a:rPr>
                  <a:t>0</a:t>
                </a:r>
              </a:p>
            </p:txBody>
          </p:sp>
          <p:sp>
            <p:nvSpPr>
              <p:cNvPr id="24" name="CasellaDiTesto 23"/>
              <p:cNvSpPr txBox="1"/>
              <p:nvPr/>
            </p:nvSpPr>
            <p:spPr>
              <a:xfrm>
                <a:off x="7353598" y="2173082"/>
                <a:ext cx="397135" cy="200066"/>
              </a:xfrm>
              <a:prstGeom prst="rect">
                <a:avLst/>
              </a:prstGeom>
              <a:noFill/>
            </p:spPr>
            <p:txBody>
              <a:bodyPr wrap="none" rtlCol="0">
                <a:spAutoFit/>
              </a:bodyPr>
              <a:lstStyle/>
              <a:p>
                <a:r>
                  <a:rPr lang="it-IT" sz="750" dirty="0">
                    <a:solidFill>
                      <a:srgbClr val="002060"/>
                    </a:solidFill>
                    <a:latin typeface="Arial" panose="020B0604020202020204" pitchFamily="34" charset="0"/>
                    <a:cs typeface="Arial" panose="020B0604020202020204" pitchFamily="34" charset="0"/>
                  </a:rPr>
                  <a:t>100</a:t>
                </a:r>
              </a:p>
            </p:txBody>
          </p:sp>
          <p:sp>
            <p:nvSpPr>
              <p:cNvPr id="25" name="CasellaDiTesto 24"/>
              <p:cNvSpPr txBox="1"/>
              <p:nvPr/>
            </p:nvSpPr>
            <p:spPr>
              <a:xfrm>
                <a:off x="7353197" y="1577967"/>
                <a:ext cx="397135" cy="200066"/>
              </a:xfrm>
              <a:prstGeom prst="rect">
                <a:avLst/>
              </a:prstGeom>
              <a:noFill/>
            </p:spPr>
            <p:txBody>
              <a:bodyPr wrap="none" rtlCol="0">
                <a:spAutoFit/>
              </a:bodyPr>
              <a:lstStyle/>
              <a:p>
                <a:r>
                  <a:rPr lang="it-IT" sz="750" dirty="0">
                    <a:solidFill>
                      <a:srgbClr val="002060"/>
                    </a:solidFill>
                    <a:latin typeface="Arial" panose="020B0604020202020204" pitchFamily="34" charset="0"/>
                    <a:cs typeface="Arial" panose="020B0604020202020204" pitchFamily="34" charset="0"/>
                  </a:rPr>
                  <a:t>200</a:t>
                </a:r>
              </a:p>
            </p:txBody>
          </p:sp>
          <p:sp>
            <p:nvSpPr>
              <p:cNvPr id="26" name="CasellaDiTesto 25"/>
              <p:cNvSpPr txBox="1"/>
              <p:nvPr/>
            </p:nvSpPr>
            <p:spPr>
              <a:xfrm>
                <a:off x="7355627" y="958842"/>
                <a:ext cx="397135" cy="200066"/>
              </a:xfrm>
              <a:prstGeom prst="rect">
                <a:avLst/>
              </a:prstGeom>
              <a:noFill/>
            </p:spPr>
            <p:txBody>
              <a:bodyPr wrap="none" rtlCol="0">
                <a:spAutoFit/>
              </a:bodyPr>
              <a:lstStyle/>
              <a:p>
                <a:r>
                  <a:rPr lang="it-IT" sz="750" dirty="0">
                    <a:solidFill>
                      <a:srgbClr val="002060"/>
                    </a:solidFill>
                    <a:latin typeface="Arial" panose="020B0604020202020204" pitchFamily="34" charset="0"/>
                    <a:cs typeface="Arial" panose="020B0604020202020204" pitchFamily="34" charset="0"/>
                  </a:rPr>
                  <a:t>300</a:t>
                </a:r>
              </a:p>
            </p:txBody>
          </p:sp>
          <p:sp>
            <p:nvSpPr>
              <p:cNvPr id="27" name="CasellaDiTesto 26"/>
              <p:cNvSpPr txBox="1"/>
              <p:nvPr/>
            </p:nvSpPr>
            <p:spPr>
              <a:xfrm rot="16200000">
                <a:off x="6341251" y="1831331"/>
                <a:ext cx="1823839" cy="340475"/>
              </a:xfrm>
              <a:prstGeom prst="rect">
                <a:avLst/>
              </a:prstGeom>
              <a:noFill/>
            </p:spPr>
            <p:txBody>
              <a:bodyPr wrap="square" rtlCol="0">
                <a:spAutoFit/>
              </a:bodyPr>
              <a:lstStyle/>
              <a:p>
                <a:pPr algn="ctr"/>
                <a:r>
                  <a:rPr lang="it-IT" sz="1313" dirty="0">
                    <a:solidFill>
                      <a:srgbClr val="002060"/>
                    </a:solidFill>
                    <a:latin typeface="Arial" panose="020B0604020202020204" pitchFamily="34" charset="0"/>
                    <a:cs typeface="Arial" panose="020B0604020202020204" pitchFamily="34" charset="0"/>
                  </a:rPr>
                  <a:t>Trap+ Osteoclasts</a:t>
                </a:r>
              </a:p>
            </p:txBody>
          </p:sp>
          <p:sp>
            <p:nvSpPr>
              <p:cNvPr id="28" name="CasellaDiTesto 27"/>
              <p:cNvSpPr txBox="1"/>
              <p:nvPr/>
            </p:nvSpPr>
            <p:spPr>
              <a:xfrm rot="18606331">
                <a:off x="6883123" y="3413463"/>
                <a:ext cx="1576038" cy="340475"/>
              </a:xfrm>
              <a:prstGeom prst="rect">
                <a:avLst/>
              </a:prstGeom>
              <a:noFill/>
            </p:spPr>
            <p:txBody>
              <a:bodyPr wrap="square" rtlCol="0">
                <a:spAutoFit/>
              </a:bodyPr>
              <a:lstStyle/>
              <a:p>
                <a:r>
                  <a:rPr lang="it-IT" sz="1313" dirty="0">
                    <a:solidFill>
                      <a:srgbClr val="002060"/>
                    </a:solidFill>
                    <a:latin typeface="Arial" panose="020B0604020202020204" pitchFamily="34" charset="0"/>
                    <a:cs typeface="Arial" panose="020B0604020202020204" pitchFamily="34" charset="0"/>
                  </a:rPr>
                  <a:t>cabozantinib 3</a:t>
                </a:r>
                <a:r>
                  <a:rPr lang="el-GR" sz="1313" dirty="0">
                    <a:solidFill>
                      <a:srgbClr val="002060"/>
                    </a:solidFill>
                    <a:latin typeface="Arial" panose="020B0604020202020204" pitchFamily="34" charset="0"/>
                    <a:cs typeface="Arial" panose="020B0604020202020204" pitchFamily="34" charset="0"/>
                  </a:rPr>
                  <a:t>μ</a:t>
                </a:r>
                <a:r>
                  <a:rPr lang="it-IT" sz="1313" dirty="0">
                    <a:solidFill>
                      <a:srgbClr val="002060"/>
                    </a:solidFill>
                    <a:latin typeface="Arial" panose="020B0604020202020204" pitchFamily="34" charset="0"/>
                    <a:cs typeface="Arial" panose="020B0604020202020204" pitchFamily="34" charset="0"/>
                  </a:rPr>
                  <a:t>M</a:t>
                </a:r>
              </a:p>
            </p:txBody>
          </p:sp>
          <p:sp>
            <p:nvSpPr>
              <p:cNvPr id="29" name="CasellaDiTesto 28"/>
              <p:cNvSpPr txBox="1"/>
              <p:nvPr/>
            </p:nvSpPr>
            <p:spPr>
              <a:xfrm rot="18606331">
                <a:off x="7041558" y="3139828"/>
                <a:ext cx="1092589" cy="340475"/>
              </a:xfrm>
              <a:prstGeom prst="rect">
                <a:avLst/>
              </a:prstGeom>
              <a:noFill/>
            </p:spPr>
            <p:txBody>
              <a:bodyPr wrap="square" rtlCol="0">
                <a:spAutoFit/>
              </a:bodyPr>
              <a:lstStyle/>
              <a:p>
                <a:r>
                  <a:rPr lang="it-IT" sz="1313" dirty="0">
                    <a:solidFill>
                      <a:srgbClr val="002060"/>
                    </a:solidFill>
                    <a:latin typeface="Arial" panose="020B0604020202020204" pitchFamily="34" charset="0"/>
                    <a:cs typeface="Arial" panose="020B0604020202020204" pitchFamily="34" charset="0"/>
                  </a:rPr>
                  <a:t>control</a:t>
                </a:r>
              </a:p>
            </p:txBody>
          </p:sp>
          <p:sp>
            <p:nvSpPr>
              <p:cNvPr id="30" name="CasellaDiTesto 29"/>
              <p:cNvSpPr txBox="1"/>
              <p:nvPr/>
            </p:nvSpPr>
            <p:spPr>
              <a:xfrm rot="18606331">
                <a:off x="7195061" y="3419665"/>
                <a:ext cx="1627759" cy="340475"/>
              </a:xfrm>
              <a:prstGeom prst="rect">
                <a:avLst/>
              </a:prstGeom>
              <a:noFill/>
            </p:spPr>
            <p:txBody>
              <a:bodyPr wrap="square" rtlCol="0">
                <a:spAutoFit/>
              </a:bodyPr>
              <a:lstStyle/>
              <a:p>
                <a:r>
                  <a:rPr lang="it-IT" sz="1313" dirty="0">
                    <a:solidFill>
                      <a:srgbClr val="002060"/>
                    </a:solidFill>
                    <a:latin typeface="Arial" panose="020B0604020202020204" pitchFamily="34" charset="0"/>
                    <a:cs typeface="Arial" panose="020B0604020202020204" pitchFamily="34" charset="0"/>
                  </a:rPr>
                  <a:t>cabozantinib 5</a:t>
                </a:r>
                <a:r>
                  <a:rPr lang="el-GR" sz="1313" dirty="0">
                    <a:solidFill>
                      <a:srgbClr val="002060"/>
                    </a:solidFill>
                    <a:latin typeface="Arial" panose="020B0604020202020204" pitchFamily="34" charset="0"/>
                    <a:cs typeface="Arial" panose="020B0604020202020204" pitchFamily="34" charset="0"/>
                  </a:rPr>
                  <a:t>μ</a:t>
                </a:r>
                <a:r>
                  <a:rPr lang="it-IT" sz="1313" dirty="0">
                    <a:solidFill>
                      <a:srgbClr val="002060"/>
                    </a:solidFill>
                    <a:latin typeface="Arial" panose="020B0604020202020204" pitchFamily="34" charset="0"/>
                    <a:cs typeface="Arial" panose="020B0604020202020204" pitchFamily="34" charset="0"/>
                  </a:rPr>
                  <a:t>M</a:t>
                </a:r>
              </a:p>
            </p:txBody>
          </p:sp>
          <p:sp>
            <p:nvSpPr>
              <p:cNvPr id="31" name="CasellaDiTesto 30"/>
              <p:cNvSpPr txBox="1"/>
              <p:nvPr/>
            </p:nvSpPr>
            <p:spPr>
              <a:xfrm>
                <a:off x="8048419" y="920079"/>
                <a:ext cx="289601" cy="283489"/>
              </a:xfrm>
              <a:prstGeom prst="rect">
                <a:avLst/>
              </a:prstGeom>
              <a:noFill/>
            </p:spPr>
            <p:txBody>
              <a:bodyPr wrap="none" rtlCol="0">
                <a:spAutoFit/>
              </a:bodyPr>
              <a:lstStyle/>
              <a:p>
                <a:r>
                  <a:rPr lang="it-IT" sz="1313" b="1" dirty="0">
                    <a:solidFill>
                      <a:srgbClr val="002060"/>
                    </a:solidFill>
                    <a:latin typeface="Arial" panose="020B0604020202020204" pitchFamily="34" charset="0"/>
                    <a:cs typeface="Arial" panose="020B0604020202020204" pitchFamily="34" charset="0"/>
                  </a:rPr>
                  <a:t>*</a:t>
                </a:r>
              </a:p>
            </p:txBody>
          </p:sp>
        </p:grpSp>
        <p:sp>
          <p:nvSpPr>
            <p:cNvPr id="21" name="CasellaDiTesto 20"/>
            <p:cNvSpPr txBox="1"/>
            <p:nvPr/>
          </p:nvSpPr>
          <p:spPr>
            <a:xfrm>
              <a:off x="5388247" y="239355"/>
              <a:ext cx="343367" cy="283489"/>
            </a:xfrm>
            <a:prstGeom prst="rect">
              <a:avLst/>
            </a:prstGeom>
            <a:noFill/>
          </p:spPr>
          <p:txBody>
            <a:bodyPr wrap="none" rtlCol="0">
              <a:spAutoFit/>
            </a:bodyPr>
            <a:lstStyle/>
            <a:p>
              <a:r>
                <a:rPr lang="it-IT" sz="1313" dirty="0">
                  <a:solidFill>
                    <a:srgbClr val="002060"/>
                  </a:solidFill>
                  <a:latin typeface="Arial" panose="020B0604020202020204" pitchFamily="34" charset="0"/>
                  <a:cs typeface="Arial" panose="020B0604020202020204" pitchFamily="34" charset="0"/>
                </a:rPr>
                <a:t>E</a:t>
              </a:r>
            </a:p>
          </p:txBody>
        </p:sp>
      </p:grpSp>
    </p:spTree>
    <p:extLst>
      <p:ext uri="{BB962C8B-B14F-4D97-AF65-F5344CB8AC3E}">
        <p14:creationId xmlns:p14="http://schemas.microsoft.com/office/powerpoint/2010/main" val="15314756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7283"/>
            <a:ext cx="7772400" cy="1470025"/>
          </a:xfrm>
        </p:spPr>
        <p:txBody>
          <a:bodyPr/>
          <a:lstStyle/>
          <a:p>
            <a:r>
              <a:rPr lang="it-IT" dirty="0" smtClean="0">
                <a:latin typeface="+mn-lt"/>
              </a:rPr>
              <a:t>….in </a:t>
            </a:r>
            <a:r>
              <a:rPr lang="it-IT" dirty="0" err="1" smtClean="0">
                <a:latin typeface="+mn-lt"/>
              </a:rPr>
              <a:t>summary</a:t>
            </a:r>
            <a:endParaRPr lang="it-IT" dirty="0">
              <a:latin typeface="+mn-lt"/>
            </a:endParaRPr>
          </a:p>
        </p:txBody>
      </p:sp>
      <p:sp>
        <p:nvSpPr>
          <p:cNvPr id="3" name="Sottotitolo 2"/>
          <p:cNvSpPr>
            <a:spLocks noGrp="1"/>
          </p:cNvSpPr>
          <p:nvPr>
            <p:ph type="subTitle" idx="1"/>
          </p:nvPr>
        </p:nvSpPr>
        <p:spPr>
          <a:xfrm>
            <a:off x="251520" y="1529408"/>
            <a:ext cx="8640959" cy="5328592"/>
          </a:xfrm>
        </p:spPr>
        <p:txBody>
          <a:bodyPr/>
          <a:lstStyle/>
          <a:p>
            <a:pPr marL="514350" indent="-514350" algn="l">
              <a:buFont typeface="+mj-lt"/>
              <a:buAutoNum type="arabicPeriod"/>
            </a:pPr>
            <a:r>
              <a:rPr lang="it-IT" altLang="en-US" sz="2400" dirty="0" smtClean="0">
                <a:solidFill>
                  <a:srgbClr val="000000"/>
                </a:solidFill>
                <a:cs typeface="Arial" pitchFamily="34" charset="0"/>
              </a:rPr>
              <a:t>High bone turnover </a:t>
            </a:r>
            <a:r>
              <a:rPr lang="it-IT" altLang="en-US" sz="2400" dirty="0" err="1" smtClean="0">
                <a:solidFill>
                  <a:srgbClr val="000000"/>
                </a:solidFill>
                <a:cs typeface="Arial" pitchFamily="34" charset="0"/>
              </a:rPr>
              <a:t>increases</a:t>
            </a:r>
            <a:r>
              <a:rPr lang="it-IT" altLang="en-US" sz="2400" dirty="0" smtClean="0">
                <a:solidFill>
                  <a:srgbClr val="000000"/>
                </a:solidFill>
                <a:cs typeface="Arial" pitchFamily="34" charset="0"/>
              </a:rPr>
              <a:t> the </a:t>
            </a:r>
            <a:r>
              <a:rPr lang="it-IT" altLang="en-US" sz="2400" dirty="0" err="1" smtClean="0">
                <a:solidFill>
                  <a:srgbClr val="000000"/>
                </a:solidFill>
                <a:cs typeface="Arial" pitchFamily="34" charset="0"/>
              </a:rPr>
              <a:t>risk</a:t>
            </a:r>
            <a:r>
              <a:rPr lang="it-IT" altLang="en-US" sz="2400" dirty="0" smtClean="0">
                <a:solidFill>
                  <a:srgbClr val="000000"/>
                </a:solidFill>
                <a:cs typeface="Arial" pitchFamily="34" charset="0"/>
              </a:rPr>
              <a:t> of new bone </a:t>
            </a:r>
            <a:r>
              <a:rPr lang="it-IT" altLang="en-US" sz="2400" dirty="0" err="1" smtClean="0">
                <a:solidFill>
                  <a:srgbClr val="000000"/>
                </a:solidFill>
                <a:cs typeface="Arial" pitchFamily="34" charset="0"/>
              </a:rPr>
              <a:t>metastases</a:t>
            </a:r>
            <a:r>
              <a:rPr lang="it-IT" altLang="en-US" sz="2400" dirty="0" smtClean="0">
                <a:solidFill>
                  <a:srgbClr val="000000"/>
                </a:solidFill>
                <a:cs typeface="Arial" pitchFamily="34" charset="0"/>
              </a:rPr>
              <a:t> and of </a:t>
            </a:r>
            <a:r>
              <a:rPr lang="it-IT" altLang="en-US" sz="2400" dirty="0" err="1" smtClean="0">
                <a:solidFill>
                  <a:srgbClr val="000000"/>
                </a:solidFill>
                <a:cs typeface="Arial" pitchFamily="34" charset="0"/>
              </a:rPr>
              <a:t>skeletal</a:t>
            </a:r>
            <a:r>
              <a:rPr lang="it-IT" altLang="en-US" sz="2400" dirty="0" smtClean="0">
                <a:solidFill>
                  <a:srgbClr val="000000"/>
                </a:solidFill>
                <a:cs typeface="Arial" pitchFamily="34" charset="0"/>
              </a:rPr>
              <a:t> </a:t>
            </a:r>
            <a:r>
              <a:rPr lang="it-IT" altLang="en-US" sz="2400" dirty="0" err="1" smtClean="0">
                <a:solidFill>
                  <a:srgbClr val="000000"/>
                </a:solidFill>
                <a:cs typeface="Arial" pitchFamily="34" charset="0"/>
              </a:rPr>
              <a:t>progression</a:t>
            </a:r>
            <a:r>
              <a:rPr lang="it-IT" altLang="en-US" sz="2400" dirty="0" smtClean="0">
                <a:solidFill>
                  <a:srgbClr val="000000"/>
                </a:solidFill>
                <a:cs typeface="Arial" pitchFamily="34" charset="0"/>
              </a:rPr>
              <a:t> </a:t>
            </a:r>
          </a:p>
          <a:p>
            <a:pPr marL="514350" indent="-514350" algn="l">
              <a:buFont typeface="+mj-lt"/>
              <a:buAutoNum type="arabicPeriod"/>
            </a:pPr>
            <a:r>
              <a:rPr lang="it-IT" sz="2400" dirty="0" smtClean="0">
                <a:solidFill>
                  <a:srgbClr val="000000"/>
                </a:solidFill>
              </a:rPr>
              <a:t>The osteocytes have an </a:t>
            </a:r>
            <a:r>
              <a:rPr lang="it-IT" sz="2400" dirty="0" err="1" smtClean="0">
                <a:solidFill>
                  <a:srgbClr val="000000"/>
                </a:solidFill>
              </a:rPr>
              <a:t>important</a:t>
            </a:r>
            <a:r>
              <a:rPr lang="it-IT" sz="2400" dirty="0" smtClean="0">
                <a:solidFill>
                  <a:srgbClr val="000000"/>
                </a:solidFill>
              </a:rPr>
              <a:t> </a:t>
            </a:r>
            <a:r>
              <a:rPr lang="it-IT" sz="2400" dirty="0" err="1" smtClean="0">
                <a:solidFill>
                  <a:srgbClr val="000000"/>
                </a:solidFill>
              </a:rPr>
              <a:t>role</a:t>
            </a:r>
            <a:r>
              <a:rPr lang="it-IT" sz="2400" dirty="0" smtClean="0">
                <a:solidFill>
                  <a:srgbClr val="000000"/>
                </a:solidFill>
              </a:rPr>
              <a:t> in bone turnover </a:t>
            </a:r>
            <a:r>
              <a:rPr lang="it-IT" sz="2400" dirty="0" err="1" smtClean="0">
                <a:solidFill>
                  <a:srgbClr val="000000"/>
                </a:solidFill>
              </a:rPr>
              <a:t>regulation</a:t>
            </a:r>
            <a:r>
              <a:rPr lang="it-IT" sz="2400" dirty="0" smtClean="0">
                <a:solidFill>
                  <a:srgbClr val="000000"/>
                </a:solidFill>
              </a:rPr>
              <a:t> and in the </a:t>
            </a:r>
            <a:r>
              <a:rPr lang="it-IT" sz="2400" dirty="0" err="1" smtClean="0">
                <a:solidFill>
                  <a:srgbClr val="000000"/>
                </a:solidFill>
              </a:rPr>
              <a:t>metastatization</a:t>
            </a:r>
            <a:r>
              <a:rPr lang="it-IT" sz="2400" dirty="0" smtClean="0">
                <a:solidFill>
                  <a:srgbClr val="000000"/>
                </a:solidFill>
              </a:rPr>
              <a:t> </a:t>
            </a:r>
            <a:r>
              <a:rPr lang="it-IT" sz="2400" dirty="0" err="1" smtClean="0">
                <a:solidFill>
                  <a:srgbClr val="000000"/>
                </a:solidFill>
              </a:rPr>
              <a:t>process</a:t>
            </a:r>
            <a:r>
              <a:rPr lang="it-IT" sz="2400" dirty="0" smtClean="0">
                <a:solidFill>
                  <a:srgbClr val="000000"/>
                </a:solidFill>
              </a:rPr>
              <a:t> </a:t>
            </a:r>
          </a:p>
          <a:p>
            <a:pPr marL="514350" indent="-514350" algn="l">
              <a:buFont typeface="+mj-lt"/>
              <a:buAutoNum type="arabicPeriod"/>
            </a:pPr>
            <a:r>
              <a:rPr lang="it-IT" sz="2400" dirty="0" smtClean="0">
                <a:solidFill>
                  <a:srgbClr val="000000"/>
                </a:solidFill>
              </a:rPr>
              <a:t>The </a:t>
            </a:r>
            <a:r>
              <a:rPr lang="it-IT" sz="2400" dirty="0" err="1" smtClean="0">
                <a:solidFill>
                  <a:srgbClr val="000000"/>
                </a:solidFill>
              </a:rPr>
              <a:t>osteoblasts</a:t>
            </a:r>
            <a:r>
              <a:rPr lang="it-IT" sz="2400" dirty="0" smtClean="0">
                <a:solidFill>
                  <a:srgbClr val="000000"/>
                </a:solidFill>
              </a:rPr>
              <a:t> </a:t>
            </a:r>
            <a:r>
              <a:rPr lang="it-IT" sz="2400" dirty="0">
                <a:solidFill>
                  <a:srgbClr val="000000"/>
                </a:solidFill>
              </a:rPr>
              <a:t>have an </a:t>
            </a:r>
            <a:r>
              <a:rPr lang="it-IT" sz="2400" dirty="0" err="1">
                <a:solidFill>
                  <a:srgbClr val="000000"/>
                </a:solidFill>
              </a:rPr>
              <a:t>important</a:t>
            </a:r>
            <a:r>
              <a:rPr lang="it-IT" sz="2400" dirty="0">
                <a:solidFill>
                  <a:srgbClr val="000000"/>
                </a:solidFill>
              </a:rPr>
              <a:t> </a:t>
            </a:r>
            <a:r>
              <a:rPr lang="it-IT" sz="2400" dirty="0" err="1">
                <a:solidFill>
                  <a:srgbClr val="000000"/>
                </a:solidFill>
              </a:rPr>
              <a:t>role</a:t>
            </a:r>
            <a:r>
              <a:rPr lang="it-IT" sz="2400" dirty="0">
                <a:solidFill>
                  <a:srgbClr val="000000"/>
                </a:solidFill>
              </a:rPr>
              <a:t> </a:t>
            </a:r>
            <a:r>
              <a:rPr lang="it-IT" sz="2400" dirty="0" smtClean="0">
                <a:solidFill>
                  <a:srgbClr val="000000"/>
                </a:solidFill>
              </a:rPr>
              <a:t>in the </a:t>
            </a:r>
            <a:r>
              <a:rPr lang="it-IT" sz="2400" i="1" dirty="0" smtClean="0">
                <a:solidFill>
                  <a:srgbClr val="000000"/>
                </a:solidFill>
              </a:rPr>
              <a:t>bone </a:t>
            </a:r>
            <a:r>
              <a:rPr lang="it-IT" sz="2400" i="1" dirty="0" err="1" smtClean="0">
                <a:solidFill>
                  <a:srgbClr val="000000"/>
                </a:solidFill>
              </a:rPr>
              <a:t>homing</a:t>
            </a:r>
            <a:r>
              <a:rPr lang="it-IT" sz="2400" dirty="0" smtClean="0">
                <a:solidFill>
                  <a:srgbClr val="000000"/>
                </a:solidFill>
              </a:rPr>
              <a:t> of </a:t>
            </a:r>
            <a:r>
              <a:rPr lang="it-IT" sz="2400" dirty="0" err="1" smtClean="0">
                <a:solidFill>
                  <a:srgbClr val="000000"/>
                </a:solidFill>
              </a:rPr>
              <a:t>cancer</a:t>
            </a:r>
            <a:r>
              <a:rPr lang="it-IT" sz="2400" dirty="0" smtClean="0">
                <a:solidFill>
                  <a:srgbClr val="000000"/>
                </a:solidFill>
              </a:rPr>
              <a:t> </a:t>
            </a:r>
            <a:r>
              <a:rPr lang="it-IT" sz="2400" dirty="0" err="1" smtClean="0">
                <a:solidFill>
                  <a:srgbClr val="000000"/>
                </a:solidFill>
              </a:rPr>
              <a:t>cells</a:t>
            </a:r>
            <a:endParaRPr lang="it-IT" sz="2400" dirty="0" smtClean="0"/>
          </a:p>
          <a:p>
            <a:pPr marL="514350" indent="-514350" algn="l">
              <a:buFont typeface="+mj-lt"/>
              <a:buAutoNum type="arabicPeriod"/>
            </a:pPr>
            <a:r>
              <a:rPr lang="it-IT" sz="2400" dirty="0" smtClean="0"/>
              <a:t>The </a:t>
            </a:r>
            <a:r>
              <a:rPr lang="it-IT" sz="2400" dirty="0" err="1" smtClean="0"/>
              <a:t>cells</a:t>
            </a:r>
            <a:r>
              <a:rPr lang="it-IT" sz="2400" dirty="0" smtClean="0"/>
              <a:t> of bone </a:t>
            </a:r>
            <a:r>
              <a:rPr lang="it-IT" sz="2400" dirty="0" err="1" smtClean="0"/>
              <a:t>microenvironment</a:t>
            </a:r>
            <a:r>
              <a:rPr lang="it-IT" sz="2400" dirty="0" smtClean="0"/>
              <a:t> </a:t>
            </a:r>
            <a:r>
              <a:rPr lang="it-IT" sz="2400" dirty="0" err="1" smtClean="0"/>
              <a:t>interact</a:t>
            </a:r>
            <a:r>
              <a:rPr lang="it-IT" sz="2400" dirty="0" smtClean="0"/>
              <a:t> with the </a:t>
            </a:r>
            <a:r>
              <a:rPr lang="it-IT" sz="2400" dirty="0" err="1"/>
              <a:t>c</a:t>
            </a:r>
            <a:r>
              <a:rPr lang="it-IT" sz="2400" dirty="0" err="1" smtClean="0"/>
              <a:t>ancer</a:t>
            </a:r>
            <a:r>
              <a:rPr lang="it-IT" sz="2400" dirty="0" smtClean="0"/>
              <a:t> </a:t>
            </a:r>
            <a:r>
              <a:rPr lang="it-IT" sz="2400" dirty="0" err="1" smtClean="0"/>
              <a:t>cells</a:t>
            </a:r>
            <a:r>
              <a:rPr lang="it-IT" sz="2400" dirty="0" smtClean="0"/>
              <a:t> </a:t>
            </a:r>
          </a:p>
          <a:p>
            <a:pPr marL="514350" indent="-514350" algn="l">
              <a:buFont typeface="+mj-lt"/>
              <a:buAutoNum type="arabicPeriod"/>
            </a:pPr>
            <a:r>
              <a:rPr lang="it-IT" sz="2400" dirty="0" smtClean="0"/>
              <a:t>The </a:t>
            </a:r>
            <a:r>
              <a:rPr lang="it-IT" sz="2400" dirty="0" err="1" smtClean="0"/>
              <a:t>importance</a:t>
            </a:r>
            <a:r>
              <a:rPr lang="it-IT" sz="2400" dirty="0" smtClean="0"/>
              <a:t> of </a:t>
            </a:r>
            <a:r>
              <a:rPr lang="it-IT" sz="2400" dirty="0" err="1" smtClean="0"/>
              <a:t>preneoplastic</a:t>
            </a:r>
            <a:r>
              <a:rPr lang="it-IT" sz="2400" dirty="0" smtClean="0"/>
              <a:t> </a:t>
            </a:r>
            <a:r>
              <a:rPr lang="it-IT" sz="2400" dirty="0" err="1" smtClean="0"/>
              <a:t>osteoblastic</a:t>
            </a:r>
            <a:r>
              <a:rPr lang="it-IT" sz="2400" dirty="0" smtClean="0"/>
              <a:t> </a:t>
            </a:r>
            <a:r>
              <a:rPr lang="it-IT" sz="2400" dirty="0" err="1" smtClean="0"/>
              <a:t>niche</a:t>
            </a:r>
            <a:endParaRPr lang="it-IT" sz="2400" dirty="0" smtClean="0"/>
          </a:p>
          <a:p>
            <a:pPr marL="514350" indent="-514350" algn="l">
              <a:buFont typeface="+mj-lt"/>
              <a:buAutoNum type="arabicPeriod"/>
            </a:pPr>
            <a:r>
              <a:rPr lang="it-IT" sz="2400" dirty="0" smtClean="0"/>
              <a:t>The </a:t>
            </a:r>
            <a:r>
              <a:rPr lang="it-IT" sz="2400" dirty="0" err="1" smtClean="0"/>
              <a:t>vicious</a:t>
            </a:r>
            <a:r>
              <a:rPr lang="it-IT" sz="2400" dirty="0" smtClean="0"/>
              <a:t> </a:t>
            </a:r>
            <a:r>
              <a:rPr lang="it-IT" sz="2400" dirty="0" err="1" smtClean="0"/>
              <a:t>cycle</a:t>
            </a:r>
            <a:r>
              <a:rPr lang="it-IT" sz="2400" dirty="0" smtClean="0"/>
              <a:t> in the  “</a:t>
            </a:r>
            <a:r>
              <a:rPr lang="it-IT" sz="2400" dirty="0" err="1" smtClean="0"/>
              <a:t>modern</a:t>
            </a:r>
            <a:r>
              <a:rPr lang="it-IT" sz="2400" dirty="0" smtClean="0"/>
              <a:t> era” </a:t>
            </a:r>
          </a:p>
          <a:p>
            <a:pPr marL="514350" indent="-514350" algn="l">
              <a:buFont typeface="+mj-lt"/>
              <a:buAutoNum type="arabicPeriod"/>
            </a:pPr>
            <a:r>
              <a:rPr lang="it-IT" sz="2400" dirty="0" smtClean="0"/>
              <a:t>New bone </a:t>
            </a:r>
            <a:r>
              <a:rPr lang="it-IT" sz="2400" dirty="0" err="1" smtClean="0"/>
              <a:t>effects</a:t>
            </a:r>
            <a:r>
              <a:rPr lang="it-IT" sz="2400" dirty="0" smtClean="0"/>
              <a:t> for new </a:t>
            </a:r>
            <a:r>
              <a:rPr lang="it-IT" sz="2400" dirty="0" err="1" smtClean="0"/>
              <a:t>antitumoral</a:t>
            </a:r>
            <a:r>
              <a:rPr lang="it-IT" sz="2400" dirty="0" smtClean="0"/>
              <a:t> </a:t>
            </a:r>
            <a:r>
              <a:rPr lang="it-IT" sz="2400" dirty="0" err="1" smtClean="0"/>
              <a:t>drugs</a:t>
            </a:r>
            <a:endParaRPr lang="it-IT" sz="2400" dirty="0" smtClean="0"/>
          </a:p>
          <a:p>
            <a:pPr algn="l"/>
            <a:endParaRPr lang="it-IT" sz="2400" dirty="0"/>
          </a:p>
        </p:txBody>
      </p:sp>
    </p:spTree>
    <p:extLst>
      <p:ext uri="{BB962C8B-B14F-4D97-AF65-F5344CB8AC3E}">
        <p14:creationId xmlns:p14="http://schemas.microsoft.com/office/powerpoint/2010/main" val="1408737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6" end="6"/>
                                            </p:txEl>
                                          </p:spTgt>
                                        </p:tgtEl>
                                        <p:attrNameLst>
                                          <p:attrName>style.visibility</p:attrName>
                                        </p:attrNameLst>
                                      </p:cBhvr>
                                      <p:to>
                                        <p:strVal val="visible"/>
                                      </p:to>
                                    </p:set>
                                    <p:animEffect transition="in" filter="fade">
                                      <p:cBhvr>
                                        <p:cTn id="3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2"/>
          <p:cNvSpPr>
            <a:spLocks noGrp="1" noChangeArrowheads="1"/>
          </p:cNvSpPr>
          <p:nvPr>
            <p:ph type="title"/>
          </p:nvPr>
        </p:nvSpPr>
        <p:spPr>
          <a:xfrm>
            <a:off x="304800" y="274638"/>
            <a:ext cx="8610600" cy="1143000"/>
          </a:xfrm>
        </p:spPr>
        <p:txBody>
          <a:bodyPr/>
          <a:lstStyle/>
          <a:p>
            <a:r>
              <a:rPr lang="it-IT" sz="3200" dirty="0" smtClean="0">
                <a:latin typeface="Arial" panose="020B0604020202020204" pitchFamily="34" charset="0"/>
                <a:cs typeface="Arial" panose="020B0604020202020204" pitchFamily="34" charset="0"/>
              </a:rPr>
              <a:t>I </a:t>
            </a:r>
            <a:r>
              <a:rPr lang="it-IT" sz="3200" dirty="0" err="1" smtClean="0">
                <a:latin typeface="Arial" panose="020B0604020202020204" pitchFamily="34" charset="0"/>
                <a:cs typeface="Arial" panose="020B0604020202020204" pitchFamily="34" charset="0"/>
              </a:rPr>
              <a:t>believe</a:t>
            </a:r>
            <a:r>
              <a:rPr lang="it-IT" sz="3200" dirty="0" smtClean="0">
                <a:latin typeface="Arial" panose="020B0604020202020204" pitchFamily="34" charset="0"/>
                <a:cs typeface="Arial" panose="020B0604020202020204" pitchFamily="34" charset="0"/>
              </a:rPr>
              <a:t> in a </a:t>
            </a:r>
            <a:r>
              <a:rPr lang="it-IT" sz="3200" dirty="0" smtClean="0">
                <a:solidFill>
                  <a:srgbClr val="0000FF"/>
                </a:solidFill>
                <a:latin typeface="Arial" panose="020B0604020202020204" pitchFamily="34" charset="0"/>
                <a:cs typeface="Arial" panose="020B0604020202020204" pitchFamily="34" charset="0"/>
              </a:rPr>
              <a:t>“bone </a:t>
            </a:r>
            <a:r>
              <a:rPr lang="it-IT" sz="3200" dirty="0" err="1" smtClean="0">
                <a:solidFill>
                  <a:srgbClr val="0000FF"/>
                </a:solidFill>
                <a:latin typeface="Arial" panose="020B0604020202020204" pitchFamily="34" charset="0"/>
                <a:cs typeface="Arial" panose="020B0604020202020204" pitchFamily="34" charset="0"/>
              </a:rPr>
              <a:t>revolution</a:t>
            </a:r>
            <a:r>
              <a:rPr lang="it-IT" sz="3200" dirty="0" smtClean="0">
                <a:solidFill>
                  <a:srgbClr val="0000FF"/>
                </a:solidFill>
                <a:latin typeface="Arial" panose="020B0604020202020204" pitchFamily="34" charset="0"/>
                <a:cs typeface="Arial" panose="020B0604020202020204" pitchFamily="34" charset="0"/>
              </a:rPr>
              <a:t>”</a:t>
            </a:r>
            <a:br>
              <a:rPr lang="it-IT" sz="3200" dirty="0" smtClean="0">
                <a:solidFill>
                  <a:srgbClr val="0000FF"/>
                </a:solidFill>
                <a:latin typeface="Arial" panose="020B0604020202020204" pitchFamily="34" charset="0"/>
                <a:cs typeface="Arial" panose="020B0604020202020204" pitchFamily="34" charset="0"/>
              </a:rPr>
            </a:br>
            <a:endParaRPr lang="it-IT" sz="3200" dirty="0" smtClean="0">
              <a:solidFill>
                <a:srgbClr val="0000FF"/>
              </a:solidFill>
              <a:latin typeface="Arial" panose="020B0604020202020204" pitchFamily="34" charset="0"/>
              <a:cs typeface="Arial" panose="020B0604020202020204" pitchFamily="34" charset="0"/>
            </a:endParaRPr>
          </a:p>
        </p:txBody>
      </p:sp>
      <p:sp>
        <p:nvSpPr>
          <p:cNvPr id="18434" name="Rectangle 3"/>
          <p:cNvSpPr>
            <a:spLocks noGrp="1" noChangeArrowheads="1"/>
          </p:cNvSpPr>
          <p:nvPr>
            <p:ph idx="1"/>
          </p:nvPr>
        </p:nvSpPr>
        <p:spPr>
          <a:xfrm>
            <a:off x="152400" y="1600200"/>
            <a:ext cx="8839200" cy="4525963"/>
          </a:xfrm>
        </p:spPr>
        <p:txBody>
          <a:bodyPr/>
          <a:lstStyle/>
          <a:p>
            <a:pPr>
              <a:lnSpc>
                <a:spcPct val="90000"/>
              </a:lnSpc>
            </a:pPr>
            <a:r>
              <a:rPr lang="it-IT" sz="2600" dirty="0" err="1" smtClean="0"/>
              <a:t>We</a:t>
            </a:r>
            <a:r>
              <a:rPr lang="it-IT" sz="2600" dirty="0" smtClean="0"/>
              <a:t> </a:t>
            </a:r>
            <a:r>
              <a:rPr lang="it-IT" sz="2600" dirty="0" err="1" smtClean="0"/>
              <a:t>moved</a:t>
            </a:r>
            <a:r>
              <a:rPr lang="it-IT" sz="2600" dirty="0" smtClean="0"/>
              <a:t> from the “</a:t>
            </a:r>
            <a:r>
              <a:rPr lang="it-IT" sz="2600" dirty="0" err="1" smtClean="0"/>
              <a:t>Seed</a:t>
            </a:r>
            <a:r>
              <a:rPr lang="it-IT" sz="2600" dirty="0" smtClean="0"/>
              <a:t> and </a:t>
            </a:r>
            <a:r>
              <a:rPr lang="it-IT" sz="2600" dirty="0" err="1" smtClean="0"/>
              <a:t>Soil</a:t>
            </a:r>
            <a:r>
              <a:rPr lang="it-IT" sz="2600" dirty="0" smtClean="0"/>
              <a:t>” to the </a:t>
            </a:r>
            <a:r>
              <a:rPr lang="it-IT" sz="2600" i="1" dirty="0" err="1" smtClean="0"/>
              <a:t>preneoplastic</a:t>
            </a:r>
            <a:r>
              <a:rPr lang="it-IT" sz="2600" i="1" dirty="0" smtClean="0"/>
              <a:t> </a:t>
            </a:r>
            <a:r>
              <a:rPr lang="it-IT" sz="2600" i="1" dirty="0" err="1" smtClean="0"/>
              <a:t>niche</a:t>
            </a:r>
            <a:r>
              <a:rPr lang="it-IT" sz="2600" i="1" dirty="0" smtClean="0"/>
              <a:t> </a:t>
            </a:r>
            <a:r>
              <a:rPr lang="it-IT" sz="2600" dirty="0" smtClean="0"/>
              <a:t>“era”: </a:t>
            </a:r>
            <a:r>
              <a:rPr lang="it-IT" sz="2600" dirty="0" smtClean="0">
                <a:solidFill>
                  <a:srgbClr val="0000FF"/>
                </a:solidFill>
              </a:rPr>
              <a:t>the </a:t>
            </a:r>
            <a:r>
              <a:rPr lang="it-IT" sz="2600" dirty="0" err="1" smtClean="0">
                <a:solidFill>
                  <a:srgbClr val="0000FF"/>
                </a:solidFill>
              </a:rPr>
              <a:t>cancer</a:t>
            </a:r>
            <a:r>
              <a:rPr lang="it-IT" sz="2600" dirty="0" smtClean="0">
                <a:solidFill>
                  <a:srgbClr val="0000FF"/>
                </a:solidFill>
              </a:rPr>
              <a:t> </a:t>
            </a:r>
            <a:r>
              <a:rPr lang="it-IT" sz="2600" dirty="0" err="1" smtClean="0">
                <a:solidFill>
                  <a:srgbClr val="0000FF"/>
                </a:solidFill>
              </a:rPr>
              <a:t>cells</a:t>
            </a:r>
            <a:r>
              <a:rPr lang="it-IT" sz="2600" dirty="0" smtClean="0">
                <a:solidFill>
                  <a:srgbClr val="0000FF"/>
                </a:solidFill>
              </a:rPr>
              <a:t> </a:t>
            </a:r>
            <a:r>
              <a:rPr lang="it-IT" sz="2600" dirty="0" err="1" smtClean="0">
                <a:solidFill>
                  <a:srgbClr val="0000FF"/>
                </a:solidFill>
              </a:rPr>
              <a:t>know</a:t>
            </a:r>
            <a:r>
              <a:rPr lang="it-IT" sz="2600" dirty="0" smtClean="0">
                <a:solidFill>
                  <a:srgbClr val="0000FF"/>
                </a:solidFill>
              </a:rPr>
              <a:t> </a:t>
            </a:r>
            <a:r>
              <a:rPr lang="it-IT" sz="2600" dirty="0" err="1" smtClean="0">
                <a:solidFill>
                  <a:srgbClr val="0000FF"/>
                </a:solidFill>
              </a:rPr>
              <a:t>where</a:t>
            </a:r>
            <a:r>
              <a:rPr lang="it-IT" sz="2600" dirty="0" smtClean="0">
                <a:solidFill>
                  <a:srgbClr val="0000FF"/>
                </a:solidFill>
              </a:rPr>
              <a:t> to go </a:t>
            </a:r>
            <a:r>
              <a:rPr lang="it-IT" sz="2600" dirty="0" err="1" smtClean="0">
                <a:solidFill>
                  <a:srgbClr val="0000FF"/>
                </a:solidFill>
              </a:rPr>
              <a:t>before</a:t>
            </a:r>
            <a:r>
              <a:rPr lang="it-IT" sz="2600" dirty="0" smtClean="0">
                <a:solidFill>
                  <a:srgbClr val="0000FF"/>
                </a:solidFill>
              </a:rPr>
              <a:t> </a:t>
            </a:r>
            <a:r>
              <a:rPr lang="it-IT" sz="2600" dirty="0" err="1" smtClean="0">
                <a:solidFill>
                  <a:srgbClr val="0000FF"/>
                </a:solidFill>
              </a:rPr>
              <a:t>homing</a:t>
            </a:r>
            <a:r>
              <a:rPr lang="it-IT" sz="2600" dirty="0" smtClean="0">
                <a:solidFill>
                  <a:srgbClr val="0000FF"/>
                </a:solidFill>
              </a:rPr>
              <a:t> bone and </a:t>
            </a:r>
            <a:r>
              <a:rPr lang="it-IT" sz="2600" dirty="0" err="1" smtClean="0">
                <a:solidFill>
                  <a:srgbClr val="0000FF"/>
                </a:solidFill>
              </a:rPr>
              <a:t>how</a:t>
            </a:r>
            <a:r>
              <a:rPr lang="it-IT" sz="2600" dirty="0" smtClean="0">
                <a:solidFill>
                  <a:srgbClr val="0000FF"/>
                </a:solidFill>
              </a:rPr>
              <a:t> to go </a:t>
            </a:r>
            <a:r>
              <a:rPr lang="it-IT" sz="2600" dirty="0" err="1" smtClean="0">
                <a:solidFill>
                  <a:srgbClr val="0000FF"/>
                </a:solidFill>
              </a:rPr>
              <a:t>away</a:t>
            </a:r>
            <a:r>
              <a:rPr lang="it-IT" sz="2600" dirty="0" smtClean="0">
                <a:solidFill>
                  <a:srgbClr val="0000FF"/>
                </a:solidFill>
              </a:rPr>
              <a:t> from the bone </a:t>
            </a:r>
          </a:p>
          <a:p>
            <a:pPr>
              <a:lnSpc>
                <a:spcPct val="90000"/>
              </a:lnSpc>
              <a:buFontTx/>
              <a:buNone/>
            </a:pPr>
            <a:endParaRPr lang="it-IT" sz="2600" dirty="0" smtClean="0"/>
          </a:p>
          <a:p>
            <a:pPr>
              <a:lnSpc>
                <a:spcPct val="90000"/>
              </a:lnSpc>
            </a:pPr>
            <a:r>
              <a:rPr lang="it-IT" sz="2600" dirty="0" err="1" smtClean="0"/>
              <a:t>We</a:t>
            </a:r>
            <a:r>
              <a:rPr lang="it-IT" sz="2600" dirty="0" smtClean="0"/>
              <a:t> </a:t>
            </a:r>
            <a:r>
              <a:rPr lang="it-IT" sz="2600" dirty="0" err="1" smtClean="0"/>
              <a:t>moved</a:t>
            </a:r>
            <a:r>
              <a:rPr lang="it-IT" sz="2600" dirty="0" smtClean="0"/>
              <a:t> from the </a:t>
            </a:r>
            <a:r>
              <a:rPr lang="it-IT" sz="2600" dirty="0" err="1" smtClean="0"/>
              <a:t>osteoclast</a:t>
            </a:r>
            <a:r>
              <a:rPr lang="it-IT" sz="2600" dirty="0" smtClean="0"/>
              <a:t> </a:t>
            </a:r>
            <a:r>
              <a:rPr lang="it-IT" sz="2600" dirty="0" err="1" smtClean="0"/>
              <a:t>protagonist</a:t>
            </a:r>
            <a:r>
              <a:rPr lang="it-IT" sz="2600" dirty="0" smtClean="0"/>
              <a:t> to multiple </a:t>
            </a:r>
            <a:r>
              <a:rPr lang="it-IT" sz="2600" dirty="0" err="1" smtClean="0"/>
              <a:t>cells</a:t>
            </a:r>
            <a:r>
              <a:rPr lang="it-IT" sz="2600" dirty="0" smtClean="0"/>
              <a:t> </a:t>
            </a:r>
            <a:r>
              <a:rPr lang="it-IT" sz="2600" dirty="0" err="1" smtClean="0"/>
              <a:t>interactions</a:t>
            </a:r>
            <a:r>
              <a:rPr lang="it-IT" sz="2600" dirty="0" smtClean="0"/>
              <a:t> in bone </a:t>
            </a:r>
            <a:r>
              <a:rPr lang="it-IT" sz="2600" dirty="0" err="1" smtClean="0"/>
              <a:t>microenviroment</a:t>
            </a:r>
            <a:r>
              <a:rPr lang="it-IT" sz="2600" dirty="0" smtClean="0"/>
              <a:t>: </a:t>
            </a:r>
            <a:r>
              <a:rPr lang="it-IT" sz="2600" dirty="0" smtClean="0">
                <a:solidFill>
                  <a:srgbClr val="0000FF"/>
                </a:solidFill>
              </a:rPr>
              <a:t>new </a:t>
            </a:r>
            <a:r>
              <a:rPr lang="it-IT" sz="2600" dirty="0" err="1" smtClean="0">
                <a:solidFill>
                  <a:srgbClr val="0000FF"/>
                </a:solidFill>
              </a:rPr>
              <a:t>cells</a:t>
            </a:r>
            <a:r>
              <a:rPr lang="it-IT" sz="2600" dirty="0" smtClean="0">
                <a:solidFill>
                  <a:srgbClr val="0000FF"/>
                </a:solidFill>
              </a:rPr>
              <a:t>, new targets, new </a:t>
            </a:r>
            <a:r>
              <a:rPr lang="it-IT" sz="2600" dirty="0" err="1" smtClean="0">
                <a:solidFill>
                  <a:srgbClr val="0000FF"/>
                </a:solidFill>
              </a:rPr>
              <a:t>drugs</a:t>
            </a:r>
            <a:endParaRPr lang="it-IT" sz="2600" dirty="0" smtClean="0">
              <a:solidFill>
                <a:srgbClr val="0000FF"/>
              </a:solidFill>
            </a:endParaRPr>
          </a:p>
          <a:p>
            <a:pPr>
              <a:lnSpc>
                <a:spcPct val="90000"/>
              </a:lnSpc>
            </a:pPr>
            <a:endParaRPr lang="it-IT" sz="2600" dirty="0" smtClean="0">
              <a:solidFill>
                <a:srgbClr val="0000FF"/>
              </a:solidFill>
            </a:endParaRPr>
          </a:p>
          <a:p>
            <a:pPr>
              <a:lnSpc>
                <a:spcPct val="90000"/>
              </a:lnSpc>
            </a:pPr>
            <a:r>
              <a:rPr lang="it-IT" sz="2600" dirty="0" err="1" smtClean="0"/>
              <a:t>We</a:t>
            </a:r>
            <a:r>
              <a:rPr lang="it-IT" sz="2600" dirty="0" smtClean="0"/>
              <a:t> </a:t>
            </a:r>
            <a:r>
              <a:rPr lang="it-IT" sz="2600" dirty="0" err="1" smtClean="0"/>
              <a:t>moved</a:t>
            </a:r>
            <a:r>
              <a:rPr lang="it-IT" sz="2600" dirty="0" smtClean="0"/>
              <a:t> from single </a:t>
            </a:r>
            <a:r>
              <a:rPr lang="it-IT" sz="2600" dirty="0" err="1" smtClean="0"/>
              <a:t>molecular</a:t>
            </a:r>
            <a:r>
              <a:rPr lang="it-IT" sz="2600" dirty="0" smtClean="0"/>
              <a:t> </a:t>
            </a:r>
            <a:r>
              <a:rPr lang="it-IT" sz="2600" dirty="0" err="1" smtClean="0"/>
              <a:t>pathway</a:t>
            </a:r>
            <a:r>
              <a:rPr lang="it-IT" sz="2600" dirty="0" smtClean="0"/>
              <a:t> to multiple </a:t>
            </a:r>
            <a:r>
              <a:rPr lang="it-IT" sz="2600" dirty="0" err="1" smtClean="0"/>
              <a:t>molecular</a:t>
            </a:r>
            <a:r>
              <a:rPr lang="it-IT" sz="2600" dirty="0" smtClean="0"/>
              <a:t> </a:t>
            </a:r>
            <a:r>
              <a:rPr lang="it-IT" sz="2600" dirty="0" err="1" smtClean="0"/>
              <a:t>interactions</a:t>
            </a:r>
            <a:r>
              <a:rPr lang="it-IT" sz="2600" dirty="0" smtClean="0"/>
              <a:t> in bone </a:t>
            </a:r>
            <a:r>
              <a:rPr lang="it-IT" sz="2600" dirty="0" err="1" smtClean="0"/>
              <a:t>microenviroment</a:t>
            </a:r>
            <a:r>
              <a:rPr lang="it-IT" sz="2600" dirty="0" smtClean="0"/>
              <a:t>: </a:t>
            </a:r>
            <a:r>
              <a:rPr lang="it-IT" sz="2600" dirty="0" smtClean="0">
                <a:solidFill>
                  <a:srgbClr val="0000FF"/>
                </a:solidFill>
              </a:rPr>
              <a:t>new </a:t>
            </a:r>
            <a:r>
              <a:rPr lang="it-IT" sz="2600" dirty="0" err="1" smtClean="0">
                <a:solidFill>
                  <a:srgbClr val="0000FF"/>
                </a:solidFill>
              </a:rPr>
              <a:t>pathways</a:t>
            </a:r>
            <a:r>
              <a:rPr lang="it-IT" sz="2600" dirty="0" smtClean="0">
                <a:solidFill>
                  <a:srgbClr val="0000FF"/>
                </a:solidFill>
              </a:rPr>
              <a:t>, new targets, new </a:t>
            </a:r>
            <a:r>
              <a:rPr lang="it-IT" sz="2600" dirty="0" err="1" smtClean="0">
                <a:solidFill>
                  <a:srgbClr val="0000FF"/>
                </a:solidFill>
              </a:rPr>
              <a:t>drugs</a:t>
            </a:r>
            <a:endParaRPr lang="it-IT" sz="2600" dirty="0" smtClean="0">
              <a:solidFill>
                <a:srgbClr val="0000FF"/>
              </a:solidFill>
            </a:endParaRPr>
          </a:p>
          <a:p>
            <a:pPr>
              <a:lnSpc>
                <a:spcPct val="90000"/>
              </a:lnSpc>
              <a:buFontTx/>
              <a:buNone/>
            </a:pPr>
            <a:endParaRPr lang="it-IT" sz="2600" dirty="0" smtClean="0"/>
          </a:p>
          <a:p>
            <a:pPr>
              <a:lnSpc>
                <a:spcPct val="90000"/>
              </a:lnSpc>
              <a:buFontTx/>
              <a:buNone/>
            </a:pPr>
            <a:endParaRPr lang="it-IT" sz="2600" dirty="0" smtClean="0"/>
          </a:p>
        </p:txBody>
      </p:sp>
    </p:spTree>
    <p:extLst>
      <p:ext uri="{BB962C8B-B14F-4D97-AF65-F5344CB8AC3E}">
        <p14:creationId xmlns:p14="http://schemas.microsoft.com/office/powerpoint/2010/main" val="3750824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16" fill="hold" nodeType="clickEffect">
                                  <p:stCondLst>
                                    <p:cond delay="0"/>
                                  </p:stCondLst>
                                  <p:childTnLst>
                                    <p:set>
                                      <p:cBhvr>
                                        <p:cTn id="6" dur="1" fill="hold">
                                          <p:stCondLst>
                                            <p:cond delay="0"/>
                                          </p:stCondLst>
                                        </p:cTn>
                                        <p:tgtEl>
                                          <p:spTgt spid="18434">
                                            <p:txEl>
                                              <p:pRg st="0" end="0"/>
                                            </p:txEl>
                                          </p:spTgt>
                                        </p:tgtEl>
                                        <p:attrNameLst>
                                          <p:attrName>style.visibility</p:attrName>
                                        </p:attrNameLst>
                                      </p:cBhvr>
                                      <p:to>
                                        <p:strVal val="visible"/>
                                      </p:to>
                                    </p:set>
                                    <p:animEffect transition="in" filter="box(in)">
                                      <p:cBhvr>
                                        <p:cTn id="7" dur="500"/>
                                        <p:tgtEl>
                                          <p:spTgt spid="1843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8434">
                                            <p:txEl>
                                              <p:pRg st="2" end="2"/>
                                            </p:txEl>
                                          </p:spTgt>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843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z="4000" dirty="0" err="1" smtClean="0">
                <a:latin typeface="Arial" panose="020B0604020202020204" pitchFamily="34" charset="0"/>
                <a:cs typeface="Arial" panose="020B0604020202020204" pitchFamily="34" charset="0"/>
              </a:rPr>
              <a:t>Thank</a:t>
            </a:r>
            <a:r>
              <a:rPr lang="it-IT" sz="4000" dirty="0" smtClean="0">
                <a:latin typeface="Arial" panose="020B0604020202020204" pitchFamily="34" charset="0"/>
                <a:cs typeface="Arial" panose="020B0604020202020204" pitchFamily="34" charset="0"/>
              </a:rPr>
              <a:t> </a:t>
            </a:r>
            <a:r>
              <a:rPr lang="it-IT" sz="4000" dirty="0" err="1" smtClean="0">
                <a:latin typeface="Arial" panose="020B0604020202020204" pitchFamily="34" charset="0"/>
                <a:cs typeface="Arial" panose="020B0604020202020204" pitchFamily="34" charset="0"/>
              </a:rPr>
              <a:t>you</a:t>
            </a:r>
            <a:r>
              <a:rPr lang="it-IT" sz="4000" dirty="0" smtClean="0">
                <a:latin typeface="Arial" panose="020B0604020202020204" pitchFamily="34" charset="0"/>
                <a:cs typeface="Arial" panose="020B0604020202020204" pitchFamily="34" charset="0"/>
              </a:rPr>
              <a:t> for </a:t>
            </a:r>
            <a:r>
              <a:rPr lang="it-IT" sz="4000" dirty="0" err="1" smtClean="0">
                <a:latin typeface="Arial" panose="020B0604020202020204" pitchFamily="34" charset="0"/>
                <a:cs typeface="Arial" panose="020B0604020202020204" pitchFamily="34" charset="0"/>
              </a:rPr>
              <a:t>your</a:t>
            </a:r>
            <a:r>
              <a:rPr lang="it-IT" sz="4000" dirty="0" smtClean="0">
                <a:latin typeface="Arial" panose="020B0604020202020204" pitchFamily="34" charset="0"/>
                <a:cs typeface="Arial" panose="020B0604020202020204" pitchFamily="34" charset="0"/>
              </a:rPr>
              <a:t> </a:t>
            </a:r>
            <a:r>
              <a:rPr lang="it-IT" sz="4000" dirty="0" err="1" smtClean="0">
                <a:latin typeface="Arial" panose="020B0604020202020204" pitchFamily="34" charset="0"/>
                <a:cs typeface="Arial" panose="020B0604020202020204" pitchFamily="34" charset="0"/>
              </a:rPr>
              <a:t>Attention</a:t>
            </a:r>
            <a:endParaRPr lang="it-IT" sz="4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69139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1186" name="Picture 2"/>
          <p:cNvPicPr>
            <a:picLocks noChangeAspect="1" noChangeArrowheads="1"/>
          </p:cNvPicPr>
          <p:nvPr/>
        </p:nvPicPr>
        <p:blipFill>
          <a:blip r:embed="rId2" cstate="print"/>
          <a:srcRect/>
          <a:stretch>
            <a:fillRect/>
          </a:stretch>
        </p:blipFill>
        <p:spPr bwMode="auto">
          <a:xfrm>
            <a:off x="1524000" y="914400"/>
            <a:ext cx="7031038" cy="5056188"/>
          </a:xfrm>
          <a:prstGeom prst="rect">
            <a:avLst/>
          </a:prstGeom>
          <a:noFill/>
          <a:ln w="9525">
            <a:noFill/>
            <a:miter lim="800000"/>
            <a:headEnd/>
            <a:tailEnd/>
          </a:ln>
        </p:spPr>
      </p:pic>
      <p:pic>
        <p:nvPicPr>
          <p:cNvPr id="861187" name="Picture 3"/>
          <p:cNvPicPr>
            <a:picLocks noChangeAspect="1" noChangeArrowheads="1"/>
          </p:cNvPicPr>
          <p:nvPr/>
        </p:nvPicPr>
        <p:blipFill>
          <a:blip r:embed="rId3" cstate="print"/>
          <a:srcRect/>
          <a:stretch>
            <a:fillRect/>
          </a:stretch>
        </p:blipFill>
        <p:spPr bwMode="auto">
          <a:xfrm>
            <a:off x="762000" y="3048000"/>
            <a:ext cx="979488" cy="3386138"/>
          </a:xfrm>
          <a:prstGeom prst="rect">
            <a:avLst/>
          </a:prstGeom>
          <a:noFill/>
          <a:ln w="9525">
            <a:noFill/>
            <a:miter lim="800000"/>
            <a:headEnd/>
            <a:tailEnd/>
          </a:ln>
        </p:spPr>
      </p:pic>
      <p:pic>
        <p:nvPicPr>
          <p:cNvPr id="861188" name="Picture 4"/>
          <p:cNvPicPr>
            <a:picLocks noChangeAspect="1" noChangeArrowheads="1"/>
          </p:cNvPicPr>
          <p:nvPr/>
        </p:nvPicPr>
        <p:blipFill>
          <a:blip r:embed="rId4" cstate="print"/>
          <a:srcRect/>
          <a:stretch>
            <a:fillRect/>
          </a:stretch>
        </p:blipFill>
        <p:spPr bwMode="auto">
          <a:xfrm>
            <a:off x="457200" y="0"/>
            <a:ext cx="7851775" cy="865188"/>
          </a:xfrm>
          <a:prstGeom prst="rect">
            <a:avLst/>
          </a:prstGeom>
          <a:noFill/>
          <a:ln w="9525">
            <a:noFill/>
            <a:miter lim="800000"/>
            <a:headEnd/>
            <a:tailEnd/>
          </a:ln>
        </p:spPr>
      </p:pic>
      <p:sp>
        <p:nvSpPr>
          <p:cNvPr id="861189" name="Text Box 5"/>
          <p:cNvSpPr txBox="1">
            <a:spLocks noChangeArrowheads="1"/>
          </p:cNvSpPr>
          <p:nvPr/>
        </p:nvSpPr>
        <p:spPr bwMode="auto">
          <a:xfrm>
            <a:off x="5851525" y="6521450"/>
            <a:ext cx="2487613" cy="338138"/>
          </a:xfrm>
          <a:prstGeom prst="rect">
            <a:avLst/>
          </a:prstGeom>
          <a:noFill/>
          <a:ln w="9525">
            <a:noFill/>
            <a:miter lim="800000"/>
            <a:headEnd/>
            <a:tailEnd/>
          </a:ln>
        </p:spPr>
        <p:txBody>
          <a:bodyPr wrap="none" lIns="91404" tIns="45702" rIns="91404" bIns="45702">
            <a:spAutoFit/>
          </a:bodyPr>
          <a:lstStyle/>
          <a:p>
            <a:pPr fontAlgn="base">
              <a:spcBef>
                <a:spcPct val="0"/>
              </a:spcBef>
              <a:spcAft>
                <a:spcPct val="0"/>
              </a:spcAft>
            </a:pPr>
            <a:r>
              <a:rPr lang="it-IT" sz="1600" i="1" dirty="0">
                <a:solidFill>
                  <a:srgbClr val="000000"/>
                </a:solidFill>
                <a:latin typeface="Garamond" pitchFamily="18" charset="0"/>
                <a:ea typeface="ＭＳ Ｐゴシック" pitchFamily="34" charset="-128"/>
              </a:rPr>
              <a:t>Schnieder A </a:t>
            </a:r>
            <a:r>
              <a:rPr lang="it-IT" sz="1600" i="1" dirty="0" err="1">
                <a:solidFill>
                  <a:srgbClr val="000000"/>
                </a:solidFill>
                <a:latin typeface="Garamond" pitchFamily="18" charset="0"/>
                <a:ea typeface="ＭＳ Ｐゴシック" pitchFamily="34" charset="-128"/>
              </a:rPr>
              <a:t>Endocrinology</a:t>
            </a:r>
            <a:r>
              <a:rPr lang="it-IT" sz="1600" i="1" dirty="0">
                <a:solidFill>
                  <a:srgbClr val="000000"/>
                </a:solidFill>
                <a:latin typeface="Garamond" pitchFamily="18" charset="0"/>
                <a:ea typeface="ＭＳ Ｐゴシック" pitchFamily="34" charset="-128"/>
              </a:rPr>
              <a:t> 2005</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2212" name="Picture 4"/>
          <p:cNvPicPr>
            <a:picLocks noChangeAspect="1" noChangeArrowheads="1"/>
          </p:cNvPicPr>
          <p:nvPr/>
        </p:nvPicPr>
        <p:blipFill>
          <a:blip r:embed="rId2" cstate="print"/>
          <a:srcRect/>
          <a:stretch>
            <a:fillRect/>
          </a:stretch>
        </p:blipFill>
        <p:spPr bwMode="auto">
          <a:xfrm>
            <a:off x="1642441" y="2024062"/>
            <a:ext cx="979488" cy="3386138"/>
          </a:xfrm>
          <a:prstGeom prst="rect">
            <a:avLst/>
          </a:prstGeom>
          <a:noFill/>
          <a:ln w="9525">
            <a:noFill/>
            <a:miter lim="800000"/>
            <a:headEnd/>
            <a:tailEnd/>
          </a:ln>
        </p:spPr>
      </p:pic>
      <p:pic>
        <p:nvPicPr>
          <p:cNvPr id="862213" name="Picture 5"/>
          <p:cNvPicPr>
            <a:picLocks noChangeAspect="1" noChangeArrowheads="1"/>
          </p:cNvPicPr>
          <p:nvPr/>
        </p:nvPicPr>
        <p:blipFill>
          <a:blip r:embed="rId3" cstate="print"/>
          <a:srcRect/>
          <a:stretch>
            <a:fillRect/>
          </a:stretch>
        </p:blipFill>
        <p:spPr bwMode="auto">
          <a:xfrm>
            <a:off x="685800" y="304800"/>
            <a:ext cx="7391400" cy="860425"/>
          </a:xfrm>
          <a:prstGeom prst="rect">
            <a:avLst/>
          </a:prstGeom>
          <a:noFill/>
          <a:ln w="9525">
            <a:noFill/>
            <a:miter lim="800000"/>
            <a:headEnd/>
            <a:tailEnd/>
          </a:ln>
        </p:spPr>
      </p:pic>
      <p:sp>
        <p:nvSpPr>
          <p:cNvPr id="862214" name="Line 6"/>
          <p:cNvSpPr>
            <a:spLocks noChangeShapeType="1"/>
          </p:cNvSpPr>
          <p:nvPr/>
        </p:nvSpPr>
        <p:spPr bwMode="auto">
          <a:xfrm>
            <a:off x="533400" y="990600"/>
            <a:ext cx="7772400" cy="0"/>
          </a:xfrm>
          <a:prstGeom prst="line">
            <a:avLst/>
          </a:prstGeom>
          <a:noFill/>
          <a:ln w="9525">
            <a:solidFill>
              <a:schemeClr val="tx1"/>
            </a:solidFill>
            <a:round/>
            <a:headEnd/>
            <a:tailEnd/>
          </a:ln>
        </p:spPr>
        <p:txBody>
          <a:bodyPr/>
          <a:lstStyle/>
          <a:p>
            <a:pPr fontAlgn="base">
              <a:spcBef>
                <a:spcPct val="0"/>
              </a:spcBef>
              <a:spcAft>
                <a:spcPct val="0"/>
              </a:spcAft>
            </a:pPr>
            <a:endParaRPr lang="it-IT">
              <a:solidFill>
                <a:srgbClr val="000000"/>
              </a:solidFill>
              <a:latin typeface="Garamond" pitchFamily="18" charset="0"/>
              <a:ea typeface="ＭＳ Ｐゴシック" pitchFamily="34" charset="-128"/>
            </a:endParaRPr>
          </a:p>
        </p:txBody>
      </p:sp>
      <p:sp>
        <p:nvSpPr>
          <p:cNvPr id="862217" name="Rectangle 9"/>
          <p:cNvSpPr>
            <a:spLocks noChangeArrowheads="1"/>
          </p:cNvSpPr>
          <p:nvPr/>
        </p:nvSpPr>
        <p:spPr bwMode="auto">
          <a:xfrm>
            <a:off x="6977063" y="1066800"/>
            <a:ext cx="338137" cy="2743200"/>
          </a:xfrm>
          <a:prstGeom prst="rect">
            <a:avLst/>
          </a:prstGeom>
          <a:solidFill>
            <a:schemeClr val="bg1"/>
          </a:solidFill>
          <a:ln w="9525">
            <a:noFill/>
            <a:miter lim="800000"/>
            <a:headEnd/>
            <a:tailEnd/>
          </a:ln>
        </p:spPr>
        <p:txBody>
          <a:bodyPr wrap="none" anchor="ctr"/>
          <a:lstStyle/>
          <a:p>
            <a:pPr algn="ctr" eaLnBrk="0" fontAlgn="base" hangingPunct="0">
              <a:spcBef>
                <a:spcPct val="0"/>
              </a:spcBef>
              <a:spcAft>
                <a:spcPct val="0"/>
              </a:spcAft>
            </a:pPr>
            <a:endParaRPr lang="it-IT" sz="2400">
              <a:solidFill>
                <a:srgbClr val="FFFFFF"/>
              </a:solidFill>
              <a:latin typeface="Garamond" pitchFamily="18" charset="0"/>
              <a:ea typeface="ＭＳ Ｐゴシック" pitchFamily="34" charset="-128"/>
            </a:endParaRPr>
          </a:p>
        </p:txBody>
      </p:sp>
      <p:sp>
        <p:nvSpPr>
          <p:cNvPr id="862218" name="Rectangle 10"/>
          <p:cNvSpPr>
            <a:spLocks noChangeArrowheads="1"/>
          </p:cNvSpPr>
          <p:nvPr/>
        </p:nvSpPr>
        <p:spPr bwMode="auto">
          <a:xfrm>
            <a:off x="7789863" y="3962400"/>
            <a:ext cx="338137" cy="2895600"/>
          </a:xfrm>
          <a:prstGeom prst="rect">
            <a:avLst/>
          </a:prstGeom>
          <a:solidFill>
            <a:schemeClr val="bg1"/>
          </a:solidFill>
          <a:ln w="9525">
            <a:noFill/>
            <a:miter lim="800000"/>
            <a:headEnd/>
            <a:tailEnd/>
          </a:ln>
        </p:spPr>
        <p:txBody>
          <a:bodyPr wrap="none" anchor="ctr"/>
          <a:lstStyle/>
          <a:p>
            <a:pPr algn="ctr" eaLnBrk="0" fontAlgn="base" hangingPunct="0">
              <a:spcBef>
                <a:spcPct val="0"/>
              </a:spcBef>
              <a:spcAft>
                <a:spcPct val="0"/>
              </a:spcAft>
            </a:pPr>
            <a:endParaRPr lang="it-IT" sz="2400">
              <a:solidFill>
                <a:srgbClr val="FFFFFF"/>
              </a:solidFill>
              <a:latin typeface="Garamond" pitchFamily="18" charset="0"/>
              <a:ea typeface="ＭＳ Ｐゴシック" pitchFamily="34" charset="-128"/>
            </a:endParaRPr>
          </a:p>
        </p:txBody>
      </p:sp>
      <p:pic>
        <p:nvPicPr>
          <p:cNvPr id="11"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19872" y="1523999"/>
            <a:ext cx="2160239" cy="500688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2" name="Text Box 5"/>
          <p:cNvSpPr txBox="1">
            <a:spLocks noChangeArrowheads="1"/>
          </p:cNvSpPr>
          <p:nvPr/>
        </p:nvSpPr>
        <p:spPr bwMode="auto">
          <a:xfrm>
            <a:off x="5851525" y="6521450"/>
            <a:ext cx="2487613" cy="338138"/>
          </a:xfrm>
          <a:prstGeom prst="rect">
            <a:avLst/>
          </a:prstGeom>
          <a:noFill/>
          <a:ln w="9525">
            <a:noFill/>
            <a:miter lim="800000"/>
            <a:headEnd/>
            <a:tailEnd/>
          </a:ln>
        </p:spPr>
        <p:txBody>
          <a:bodyPr wrap="none" lIns="91404" tIns="45702" rIns="91404" bIns="45702">
            <a:spAutoFit/>
          </a:bodyPr>
          <a:lstStyle/>
          <a:p>
            <a:pPr fontAlgn="base">
              <a:spcBef>
                <a:spcPct val="0"/>
              </a:spcBef>
              <a:spcAft>
                <a:spcPct val="0"/>
              </a:spcAft>
            </a:pPr>
            <a:r>
              <a:rPr lang="it-IT" sz="1600" i="1" dirty="0">
                <a:solidFill>
                  <a:srgbClr val="000000"/>
                </a:solidFill>
                <a:latin typeface="Garamond" pitchFamily="18" charset="0"/>
                <a:ea typeface="ＭＳ Ｐゴシック" pitchFamily="34" charset="-128"/>
              </a:rPr>
              <a:t>Schnieder A </a:t>
            </a:r>
            <a:r>
              <a:rPr lang="it-IT" sz="1600" i="1" dirty="0" err="1">
                <a:solidFill>
                  <a:srgbClr val="000000"/>
                </a:solidFill>
                <a:latin typeface="Garamond" pitchFamily="18" charset="0"/>
                <a:ea typeface="ＭＳ Ｐゴシック" pitchFamily="34" charset="-128"/>
              </a:rPr>
              <a:t>Endocrinology</a:t>
            </a:r>
            <a:r>
              <a:rPr lang="it-IT" sz="1600" i="1" dirty="0">
                <a:solidFill>
                  <a:srgbClr val="000000"/>
                </a:solidFill>
                <a:latin typeface="Garamond" pitchFamily="18" charset="0"/>
                <a:ea typeface="ＭＳ Ｐゴシック" pitchFamily="34" charset="-128"/>
              </a:rPr>
              <a:t> 2005</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Titolo 1"/>
          <p:cNvSpPr>
            <a:spLocks noGrp="1"/>
          </p:cNvSpPr>
          <p:nvPr>
            <p:ph type="title"/>
          </p:nvPr>
        </p:nvSpPr>
        <p:spPr/>
        <p:txBody>
          <a:bodyPr/>
          <a:lstStyle/>
          <a:p>
            <a:pPr eaLnBrk="1" hangingPunct="1"/>
            <a:endParaRPr lang="it-IT" smtClean="0"/>
          </a:p>
        </p:txBody>
      </p:sp>
      <p:pic>
        <p:nvPicPr>
          <p:cNvPr id="201731" name="Picture 2"/>
          <p:cNvPicPr>
            <a:picLocks noGrp="1" noChangeAspect="1" noChangeArrowheads="1"/>
          </p:cNvPicPr>
          <p:nvPr>
            <p:ph idx="1"/>
          </p:nvPr>
        </p:nvPicPr>
        <p:blipFill>
          <a:blip r:embed="rId2" cstate="print"/>
          <a:srcRect/>
          <a:stretch>
            <a:fillRect/>
          </a:stretch>
        </p:blipFill>
        <p:spPr>
          <a:xfrm>
            <a:off x="1404044" y="1773246"/>
            <a:ext cx="6099220" cy="4103687"/>
          </a:xfrm>
        </p:spPr>
      </p:pic>
      <p:pic>
        <p:nvPicPr>
          <p:cNvPr id="201732" name="Picture 4"/>
          <p:cNvPicPr>
            <a:picLocks noChangeAspect="1" noChangeArrowheads="1"/>
          </p:cNvPicPr>
          <p:nvPr/>
        </p:nvPicPr>
        <p:blipFill>
          <a:blip r:embed="rId3" cstate="print"/>
          <a:srcRect/>
          <a:stretch>
            <a:fillRect/>
          </a:stretch>
        </p:blipFill>
        <p:spPr bwMode="auto">
          <a:xfrm>
            <a:off x="26" y="333375"/>
            <a:ext cx="9105357" cy="1079500"/>
          </a:xfrm>
          <a:prstGeom prst="rect">
            <a:avLst/>
          </a:prstGeom>
          <a:noFill/>
          <a:ln w="9525">
            <a:noFill/>
            <a:miter lim="800000"/>
            <a:headEnd/>
            <a:tailEnd/>
          </a:ln>
        </p:spPr>
      </p:pic>
      <p:sp>
        <p:nvSpPr>
          <p:cNvPr id="201733" name="CasellaDiTesto 6"/>
          <p:cNvSpPr txBox="1">
            <a:spLocks noChangeArrowheads="1"/>
          </p:cNvSpPr>
          <p:nvPr/>
        </p:nvSpPr>
        <p:spPr bwMode="auto">
          <a:xfrm>
            <a:off x="6269895" y="6488164"/>
            <a:ext cx="2685718" cy="369887"/>
          </a:xfrm>
          <a:prstGeom prst="rect">
            <a:avLst/>
          </a:prstGeom>
          <a:noFill/>
          <a:ln w="9525">
            <a:noFill/>
            <a:miter lim="800000"/>
            <a:headEnd/>
            <a:tailEnd/>
          </a:ln>
        </p:spPr>
        <p:txBody>
          <a:bodyPr wrap="none">
            <a:spAutoFit/>
          </a:bodyPr>
          <a:lstStyle/>
          <a:p>
            <a:pPr eaLnBrk="0" hangingPunct="0"/>
            <a:r>
              <a:rPr lang="it-IT" smtClean="0">
                <a:solidFill>
                  <a:srgbClr val="000000"/>
                </a:solidFill>
                <a:latin typeface="Calibri" pitchFamily="34" charset="0"/>
                <a:cs typeface="Arial" pitchFamily="34" charset="0"/>
              </a:rPr>
              <a:t>Lipton A  </a:t>
            </a:r>
            <a:r>
              <a:rPr lang="it-IT" i="1" smtClean="0">
                <a:solidFill>
                  <a:srgbClr val="000000"/>
                </a:solidFill>
                <a:latin typeface="Calibri" pitchFamily="34" charset="0"/>
                <a:cs typeface="Arial" pitchFamily="34" charset="0"/>
              </a:rPr>
              <a:t>J Clin Oncol 2011</a:t>
            </a:r>
          </a:p>
        </p:txBody>
      </p:sp>
      <p:sp>
        <p:nvSpPr>
          <p:cNvPr id="201734" name="CasellaDiTesto 8"/>
          <p:cNvSpPr txBox="1">
            <a:spLocks noChangeArrowheads="1"/>
          </p:cNvSpPr>
          <p:nvPr/>
        </p:nvSpPr>
        <p:spPr bwMode="auto">
          <a:xfrm>
            <a:off x="1186676" y="6092825"/>
            <a:ext cx="5941426" cy="369888"/>
          </a:xfrm>
          <a:prstGeom prst="rect">
            <a:avLst/>
          </a:prstGeom>
          <a:noFill/>
          <a:ln w="9525">
            <a:noFill/>
            <a:miter lim="800000"/>
            <a:headEnd/>
            <a:tailEnd/>
          </a:ln>
        </p:spPr>
        <p:txBody>
          <a:bodyPr wrap="none">
            <a:spAutoFit/>
          </a:bodyPr>
          <a:lstStyle/>
          <a:p>
            <a:pPr eaLnBrk="0" hangingPunct="0"/>
            <a:r>
              <a:rPr lang="it-IT" smtClean="0">
                <a:solidFill>
                  <a:srgbClr val="000000"/>
                </a:solidFill>
                <a:latin typeface="Calibri" pitchFamily="34" charset="0"/>
                <a:cs typeface="Arial" pitchFamily="34" charset="0"/>
              </a:rPr>
              <a:t>Pretreatment  serum CTX (&gt;0.710,) preditcs bone only relap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3874" name="Picture 2"/>
          <p:cNvPicPr>
            <a:picLocks noChangeAspect="1" noChangeArrowheads="1"/>
          </p:cNvPicPr>
          <p:nvPr/>
        </p:nvPicPr>
        <p:blipFill>
          <a:blip r:embed="rId2" cstate="print"/>
          <a:srcRect/>
          <a:stretch>
            <a:fillRect/>
          </a:stretch>
        </p:blipFill>
        <p:spPr bwMode="auto">
          <a:xfrm>
            <a:off x="358919" y="199159"/>
            <a:ext cx="7705725" cy="1028700"/>
          </a:xfrm>
          <a:prstGeom prst="rect">
            <a:avLst/>
          </a:prstGeom>
          <a:noFill/>
          <a:ln w="9525">
            <a:noFill/>
            <a:miter lim="800000"/>
            <a:headEnd/>
            <a:tailEnd/>
          </a:ln>
        </p:spPr>
      </p:pic>
      <p:pic>
        <p:nvPicPr>
          <p:cNvPr id="1743875" name="Picture 3"/>
          <p:cNvPicPr>
            <a:picLocks noChangeAspect="1" noChangeArrowheads="1"/>
          </p:cNvPicPr>
          <p:nvPr/>
        </p:nvPicPr>
        <p:blipFill>
          <a:blip r:embed="rId3" cstate="print"/>
          <a:srcRect/>
          <a:stretch>
            <a:fillRect/>
          </a:stretch>
        </p:blipFill>
        <p:spPr bwMode="auto">
          <a:xfrm>
            <a:off x="0" y="1821975"/>
            <a:ext cx="4810558" cy="4107770"/>
          </a:xfrm>
          <a:prstGeom prst="rect">
            <a:avLst/>
          </a:prstGeom>
          <a:noFill/>
          <a:ln w="9525">
            <a:noFill/>
            <a:miter lim="800000"/>
            <a:headEnd/>
            <a:tailEnd/>
          </a:ln>
        </p:spPr>
      </p:pic>
      <p:pic>
        <p:nvPicPr>
          <p:cNvPr id="1743876" name="Picture 4"/>
          <p:cNvPicPr>
            <a:picLocks noChangeAspect="1" noChangeArrowheads="1"/>
          </p:cNvPicPr>
          <p:nvPr/>
        </p:nvPicPr>
        <p:blipFill>
          <a:blip r:embed="rId4" cstate="print"/>
          <a:srcRect/>
          <a:stretch>
            <a:fillRect/>
          </a:stretch>
        </p:blipFill>
        <p:spPr bwMode="auto">
          <a:xfrm>
            <a:off x="4283845" y="2050472"/>
            <a:ext cx="5040263" cy="3893127"/>
          </a:xfrm>
          <a:prstGeom prst="rect">
            <a:avLst/>
          </a:prstGeom>
          <a:noFill/>
          <a:ln w="9525">
            <a:noFill/>
            <a:miter lim="800000"/>
            <a:headEnd/>
            <a:tailEnd/>
          </a:ln>
        </p:spPr>
      </p:pic>
      <p:sp>
        <p:nvSpPr>
          <p:cNvPr id="7" name="CasellaDiTesto 6"/>
          <p:cNvSpPr txBox="1"/>
          <p:nvPr/>
        </p:nvSpPr>
        <p:spPr>
          <a:xfrm>
            <a:off x="6470073" y="6363977"/>
            <a:ext cx="2234907" cy="307777"/>
          </a:xfrm>
          <a:prstGeom prst="rect">
            <a:avLst/>
          </a:prstGeom>
          <a:noFill/>
        </p:spPr>
        <p:txBody>
          <a:bodyPr wrap="none" rtlCol="0">
            <a:spAutoFit/>
          </a:bodyPr>
          <a:lstStyle/>
          <a:p>
            <a:pPr fontAlgn="base">
              <a:spcBef>
                <a:spcPct val="0"/>
              </a:spcBef>
              <a:spcAft>
                <a:spcPct val="0"/>
              </a:spcAft>
            </a:pPr>
            <a:r>
              <a:rPr lang="it-IT" sz="1400" dirty="0" err="1" smtClean="0">
                <a:solidFill>
                  <a:srgbClr val="000000"/>
                </a:solidFill>
                <a:latin typeface="Arial" charset="0"/>
                <a:cs typeface="Arial" charset="0"/>
              </a:rPr>
              <a:t>Kremer</a:t>
            </a:r>
            <a:r>
              <a:rPr lang="it-IT" sz="1400" dirty="0" smtClean="0">
                <a:solidFill>
                  <a:srgbClr val="000000"/>
                </a:solidFill>
                <a:latin typeface="Arial" charset="0"/>
                <a:cs typeface="Arial" charset="0"/>
              </a:rPr>
              <a:t> R </a:t>
            </a:r>
            <a:r>
              <a:rPr lang="it-IT" sz="1400" dirty="0" err="1" smtClean="0">
                <a:solidFill>
                  <a:srgbClr val="000000"/>
                </a:solidFill>
                <a:latin typeface="Arial" charset="0"/>
                <a:cs typeface="Arial" charset="0"/>
              </a:rPr>
              <a:t>et</a:t>
            </a:r>
            <a:r>
              <a:rPr lang="it-IT" sz="1400" dirty="0" smtClean="0">
                <a:solidFill>
                  <a:srgbClr val="000000"/>
                </a:solidFill>
                <a:latin typeface="Arial" charset="0"/>
                <a:cs typeface="Arial" charset="0"/>
              </a:rPr>
              <a:t> al </a:t>
            </a:r>
            <a:r>
              <a:rPr lang="it-IT" sz="1400" i="1" dirty="0" smtClean="0">
                <a:solidFill>
                  <a:srgbClr val="000000"/>
                </a:solidFill>
                <a:latin typeface="Arial" charset="0"/>
                <a:cs typeface="Arial" charset="0"/>
              </a:rPr>
              <a:t>JNCI 2014</a:t>
            </a:r>
            <a:endParaRPr lang="it-IT" sz="1400" i="1" dirty="0">
              <a:solidFill>
                <a:srgbClr val="000000"/>
              </a:solidFill>
              <a:latin typeface="Arial" charset="0"/>
              <a:cs typeface="Arial" charset="0"/>
            </a:endParaRPr>
          </a:p>
        </p:txBody>
      </p:sp>
      <p:sp>
        <p:nvSpPr>
          <p:cNvPr id="8" name="CasellaDiTesto 7"/>
          <p:cNvSpPr txBox="1"/>
          <p:nvPr/>
        </p:nvSpPr>
        <p:spPr>
          <a:xfrm>
            <a:off x="872837" y="1884218"/>
            <a:ext cx="2624886" cy="307777"/>
          </a:xfrm>
          <a:prstGeom prst="rect">
            <a:avLst/>
          </a:prstGeom>
          <a:solidFill>
            <a:schemeClr val="bg1"/>
          </a:solidFill>
        </p:spPr>
        <p:txBody>
          <a:bodyPr wrap="none" rtlCol="0">
            <a:spAutoFit/>
          </a:bodyPr>
          <a:lstStyle/>
          <a:p>
            <a:pPr fontAlgn="base">
              <a:spcBef>
                <a:spcPct val="0"/>
              </a:spcBef>
              <a:spcAft>
                <a:spcPct val="0"/>
              </a:spcAft>
            </a:pPr>
            <a:r>
              <a:rPr lang="it-IT" sz="1400" dirty="0" smtClean="0">
                <a:solidFill>
                  <a:srgbClr val="000000"/>
                </a:solidFill>
                <a:latin typeface="Arial" charset="0"/>
                <a:cs typeface="Arial" charset="0"/>
              </a:rPr>
              <a:t>TIME TO BONE METASTASIS</a:t>
            </a:r>
            <a:endParaRPr lang="it-IT" sz="1400" dirty="0">
              <a:solidFill>
                <a:srgbClr val="000000"/>
              </a:solidFill>
              <a:latin typeface="Arial" charset="0"/>
              <a:cs typeface="Arial" charset="0"/>
            </a:endParaRPr>
          </a:p>
        </p:txBody>
      </p:sp>
      <p:sp>
        <p:nvSpPr>
          <p:cNvPr id="9" name="CasellaDiTesto 8"/>
          <p:cNvSpPr txBox="1"/>
          <p:nvPr/>
        </p:nvSpPr>
        <p:spPr>
          <a:xfrm>
            <a:off x="4781190" y="1925782"/>
            <a:ext cx="3651256" cy="307777"/>
          </a:xfrm>
          <a:prstGeom prst="rect">
            <a:avLst/>
          </a:prstGeom>
          <a:solidFill>
            <a:schemeClr val="bg1"/>
          </a:solidFill>
        </p:spPr>
        <p:txBody>
          <a:bodyPr wrap="none" rtlCol="0">
            <a:spAutoFit/>
          </a:bodyPr>
          <a:lstStyle/>
          <a:p>
            <a:pPr fontAlgn="base">
              <a:spcBef>
                <a:spcPct val="0"/>
              </a:spcBef>
              <a:spcAft>
                <a:spcPct val="0"/>
              </a:spcAft>
            </a:pPr>
            <a:r>
              <a:rPr lang="it-IT" sz="1400" dirty="0" smtClean="0">
                <a:solidFill>
                  <a:srgbClr val="000000"/>
                </a:solidFill>
                <a:latin typeface="Arial" charset="0"/>
                <a:cs typeface="Arial" charset="0"/>
              </a:rPr>
              <a:t>TIME TO CANCER SPECIFIC MORTALITY</a:t>
            </a:r>
            <a:endParaRPr lang="it-IT" sz="1400" dirty="0">
              <a:solidFill>
                <a:srgbClr val="000000"/>
              </a:solidFill>
              <a:latin typeface="Arial" charset="0"/>
              <a:cs typeface="Arial" charset="0"/>
            </a:endParaRPr>
          </a:p>
        </p:txBody>
      </p:sp>
      <p:sp>
        <p:nvSpPr>
          <p:cNvPr id="10" name="CasellaDiTesto 9"/>
          <p:cNvSpPr txBox="1"/>
          <p:nvPr/>
        </p:nvSpPr>
        <p:spPr>
          <a:xfrm>
            <a:off x="401781" y="1260763"/>
            <a:ext cx="2582758" cy="307777"/>
          </a:xfrm>
          <a:prstGeom prst="rect">
            <a:avLst/>
          </a:prstGeom>
          <a:noFill/>
        </p:spPr>
        <p:txBody>
          <a:bodyPr wrap="none" rtlCol="0">
            <a:spAutoFit/>
          </a:bodyPr>
          <a:lstStyle/>
          <a:p>
            <a:pPr fontAlgn="base">
              <a:spcBef>
                <a:spcPct val="0"/>
              </a:spcBef>
              <a:spcAft>
                <a:spcPct val="0"/>
              </a:spcAft>
            </a:pPr>
            <a:r>
              <a:rPr lang="it-IT" sz="1400" dirty="0" smtClean="0">
                <a:solidFill>
                  <a:srgbClr val="000000"/>
                </a:solidFill>
                <a:latin typeface="Arial" charset="0"/>
                <a:cs typeface="Arial" charset="0"/>
              </a:rPr>
              <a:t>21.6664 BC pt  10 </a:t>
            </a:r>
            <a:r>
              <a:rPr lang="it-IT" sz="1400" dirty="0" err="1" smtClean="0">
                <a:solidFill>
                  <a:srgbClr val="000000"/>
                </a:solidFill>
                <a:latin typeface="Arial" charset="0"/>
                <a:cs typeface="Arial" charset="0"/>
              </a:rPr>
              <a:t>yr</a:t>
            </a:r>
            <a:r>
              <a:rPr lang="it-IT" sz="1400" dirty="0" smtClean="0">
                <a:solidFill>
                  <a:srgbClr val="000000"/>
                </a:solidFill>
                <a:latin typeface="Arial" charset="0"/>
                <a:cs typeface="Arial" charset="0"/>
              </a:rPr>
              <a:t> </a:t>
            </a:r>
            <a:r>
              <a:rPr lang="it-IT" sz="1400" dirty="0" err="1" smtClean="0">
                <a:solidFill>
                  <a:srgbClr val="000000"/>
                </a:solidFill>
                <a:latin typeface="Arial" charset="0"/>
                <a:cs typeface="Arial" charset="0"/>
              </a:rPr>
              <a:t>follow</a:t>
            </a:r>
            <a:r>
              <a:rPr lang="it-IT" sz="1400" dirty="0" smtClean="0">
                <a:solidFill>
                  <a:srgbClr val="000000"/>
                </a:solidFill>
                <a:latin typeface="Arial" charset="0"/>
                <a:cs typeface="Arial" charset="0"/>
              </a:rPr>
              <a:t> up</a:t>
            </a:r>
            <a:endParaRPr lang="it-IT" sz="1400" dirty="0">
              <a:solidFill>
                <a:srgbClr val="000000"/>
              </a:solidFill>
              <a:latin typeface="Arial" charset="0"/>
              <a:cs typeface="Arial"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7090" name="Picture 2"/>
          <p:cNvPicPr>
            <a:picLocks noChangeAspect="1" noChangeArrowheads="1"/>
          </p:cNvPicPr>
          <p:nvPr/>
        </p:nvPicPr>
        <p:blipFill>
          <a:blip r:embed="rId2" cstate="print"/>
          <a:srcRect/>
          <a:stretch>
            <a:fillRect/>
          </a:stretch>
        </p:blipFill>
        <p:spPr bwMode="auto">
          <a:xfrm>
            <a:off x="222250" y="1084263"/>
            <a:ext cx="8921750" cy="5318125"/>
          </a:xfrm>
          <a:prstGeom prst="rect">
            <a:avLst/>
          </a:prstGeom>
          <a:noFill/>
          <a:ln w="9525">
            <a:noFill/>
            <a:miter lim="800000"/>
            <a:headEnd/>
            <a:tailEnd/>
          </a:ln>
        </p:spPr>
      </p:pic>
      <p:pic>
        <p:nvPicPr>
          <p:cNvPr id="857091" name="Picture 3"/>
          <p:cNvPicPr>
            <a:picLocks noChangeAspect="1" noChangeArrowheads="1"/>
          </p:cNvPicPr>
          <p:nvPr/>
        </p:nvPicPr>
        <p:blipFill>
          <a:blip r:embed="rId3" cstate="print"/>
          <a:srcRect/>
          <a:stretch>
            <a:fillRect/>
          </a:stretch>
        </p:blipFill>
        <p:spPr bwMode="auto">
          <a:xfrm>
            <a:off x="5305425" y="6381750"/>
            <a:ext cx="3838575" cy="476250"/>
          </a:xfrm>
          <a:prstGeom prst="rect">
            <a:avLst/>
          </a:prstGeom>
          <a:noFill/>
          <a:ln w="9525">
            <a:noFill/>
            <a:miter lim="800000"/>
            <a:headEnd/>
            <a:tailEnd/>
          </a:ln>
        </p:spPr>
      </p:pic>
      <p:pic>
        <p:nvPicPr>
          <p:cNvPr id="857092" name="Picture 4"/>
          <p:cNvPicPr>
            <a:picLocks noChangeAspect="1" noChangeArrowheads="1"/>
          </p:cNvPicPr>
          <p:nvPr/>
        </p:nvPicPr>
        <p:blipFill>
          <a:blip r:embed="rId4" cstate="print"/>
          <a:srcRect/>
          <a:stretch>
            <a:fillRect/>
          </a:stretch>
        </p:blipFill>
        <p:spPr bwMode="auto">
          <a:xfrm>
            <a:off x="3708400" y="6453188"/>
            <a:ext cx="1638300" cy="296862"/>
          </a:xfrm>
          <a:prstGeom prst="rect">
            <a:avLst/>
          </a:prstGeom>
          <a:noFill/>
          <a:ln w="9525">
            <a:noFill/>
            <a:miter lim="800000"/>
            <a:headEnd/>
            <a:tailEnd/>
          </a:ln>
        </p:spPr>
      </p:pic>
      <p:sp>
        <p:nvSpPr>
          <p:cNvPr id="857093" name="CasellaDiTesto 6"/>
          <p:cNvSpPr txBox="1">
            <a:spLocks noChangeArrowheads="1"/>
          </p:cNvSpPr>
          <p:nvPr/>
        </p:nvSpPr>
        <p:spPr bwMode="auto">
          <a:xfrm>
            <a:off x="1362075" y="280988"/>
            <a:ext cx="6877050" cy="646112"/>
          </a:xfrm>
          <a:prstGeom prst="rect">
            <a:avLst/>
          </a:prstGeom>
          <a:noFill/>
          <a:ln w="9525">
            <a:noFill/>
            <a:miter lim="800000"/>
            <a:headEnd/>
            <a:tailEnd/>
          </a:ln>
        </p:spPr>
        <p:txBody>
          <a:bodyPr wrap="none">
            <a:spAutoFit/>
          </a:bodyPr>
          <a:lstStyle/>
          <a:p>
            <a:r>
              <a:rPr lang="it-IT" b="1">
                <a:solidFill>
                  <a:srgbClr val="000000"/>
                </a:solidFill>
                <a:latin typeface="Calibri" pitchFamily="34" charset="0"/>
              </a:rPr>
              <a:t>CORRELATIONS BETWEEN  BONE TURNOVER AND CLINICAL OUTCOME</a:t>
            </a:r>
          </a:p>
          <a:p>
            <a:r>
              <a:rPr lang="it-IT" b="1">
                <a:solidFill>
                  <a:srgbClr val="000000"/>
                </a:solidFill>
                <a:latin typeface="Calibri" pitchFamily="34" charset="0"/>
              </a:rPr>
              <a:t>IN PATIENTS WITH BONE METASTASES FROM SOLID TUMORS (</a:t>
            </a:r>
            <a:r>
              <a:rPr lang="it-IT" b="1">
                <a:solidFill>
                  <a:srgbClr val="FF0000"/>
                </a:solidFill>
                <a:latin typeface="Calibri" pitchFamily="34" charset="0"/>
              </a:rPr>
              <a:t>NO BPs</a:t>
            </a:r>
            <a:r>
              <a:rPr lang="it-IT" b="1">
                <a:solidFill>
                  <a:srgbClr val="000000"/>
                </a:solidFill>
                <a:latin typeface="Calibri" pitchFamily="34" charset="0"/>
              </a:rPr>
              <a:t>)</a:t>
            </a:r>
          </a:p>
        </p:txBody>
      </p:sp>
      <p:sp>
        <p:nvSpPr>
          <p:cNvPr id="857094" name="Rettangolo 6"/>
          <p:cNvSpPr>
            <a:spLocks noChangeArrowheads="1"/>
          </p:cNvSpPr>
          <p:nvPr/>
        </p:nvSpPr>
        <p:spPr bwMode="auto">
          <a:xfrm>
            <a:off x="1358900" y="4062413"/>
            <a:ext cx="2508250" cy="365125"/>
          </a:xfrm>
          <a:prstGeom prst="rect">
            <a:avLst/>
          </a:prstGeom>
          <a:noFill/>
          <a:ln w="38100" algn="ctr">
            <a:solidFill>
              <a:srgbClr val="FF0000"/>
            </a:solidFill>
            <a:round/>
            <a:headEnd/>
            <a:tailEnd/>
          </a:ln>
        </p:spPr>
        <p:txBody>
          <a:bodyPr/>
          <a:lstStyle/>
          <a:p>
            <a:pPr eaLnBrk="0" hangingPunct="0"/>
            <a:endParaRPr lang="it-IT" sz="2400">
              <a:solidFill>
                <a:srgbClr val="000000"/>
              </a:solidFill>
              <a:latin typeface="Arial" pitchFamily="34" charset="0"/>
            </a:endParaRPr>
          </a:p>
        </p:txBody>
      </p:sp>
      <p:sp>
        <p:nvSpPr>
          <p:cNvPr id="857095" name="Rettangolo 8"/>
          <p:cNvSpPr>
            <a:spLocks noChangeArrowheads="1"/>
          </p:cNvSpPr>
          <p:nvPr/>
        </p:nvSpPr>
        <p:spPr bwMode="auto">
          <a:xfrm>
            <a:off x="1379538" y="2530475"/>
            <a:ext cx="2508250" cy="365125"/>
          </a:xfrm>
          <a:prstGeom prst="rect">
            <a:avLst/>
          </a:prstGeom>
          <a:noFill/>
          <a:ln w="38100" algn="ctr">
            <a:solidFill>
              <a:srgbClr val="FF0000"/>
            </a:solidFill>
            <a:round/>
            <a:headEnd/>
            <a:tailEnd/>
          </a:ln>
        </p:spPr>
        <p:txBody>
          <a:bodyPr/>
          <a:lstStyle/>
          <a:p>
            <a:pPr eaLnBrk="0" hangingPunct="0"/>
            <a:endParaRPr lang="it-IT" sz="2400">
              <a:solidFill>
                <a:srgbClr val="000000"/>
              </a:solidFill>
              <a:latin typeface="Arial" pitchFamily="34" charset="0"/>
            </a:endParaRPr>
          </a:p>
        </p:txBody>
      </p:sp>
      <p:sp>
        <p:nvSpPr>
          <p:cNvPr id="857096" name="Rettangolo 9"/>
          <p:cNvSpPr>
            <a:spLocks noChangeArrowheads="1"/>
          </p:cNvSpPr>
          <p:nvPr/>
        </p:nvSpPr>
        <p:spPr bwMode="auto">
          <a:xfrm>
            <a:off x="1393825" y="1006475"/>
            <a:ext cx="2508250" cy="442913"/>
          </a:xfrm>
          <a:prstGeom prst="rect">
            <a:avLst/>
          </a:prstGeom>
          <a:noFill/>
          <a:ln w="38100" algn="ctr">
            <a:solidFill>
              <a:srgbClr val="FF0000"/>
            </a:solidFill>
            <a:round/>
            <a:headEnd/>
            <a:tailEnd/>
          </a:ln>
        </p:spPr>
        <p:txBody>
          <a:bodyPr/>
          <a:lstStyle/>
          <a:p>
            <a:pPr eaLnBrk="0" hangingPunct="0"/>
            <a:endParaRPr lang="it-IT" sz="2400">
              <a:solidFill>
                <a:srgbClr val="000000"/>
              </a:solidFill>
              <a:latin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TICKYSTYLE" val="AMG footer"/>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nV9uvwOkUC9PYj70mCmk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Uk.NiiLzk2FOl7yX0cQS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K7tISI3bEev_PnGLN5b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tcbLUbX7kCQ.OyVqDin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k5bwmz9mUC8KW78eLYx.Q"/>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3_Office Theme">
  <a:themeElements>
    <a:clrScheme name="1_Office Theme 7">
      <a:dk1>
        <a:srgbClr val="000000"/>
      </a:dk1>
      <a:lt1>
        <a:srgbClr val="FFFFFF"/>
      </a:lt1>
      <a:dk2>
        <a:srgbClr val="716673"/>
      </a:dk2>
      <a:lt2>
        <a:srgbClr val="E7E7E7"/>
      </a:lt2>
      <a:accent1>
        <a:srgbClr val="00446A"/>
      </a:accent1>
      <a:accent2>
        <a:srgbClr val="721F6B"/>
      </a:accent2>
      <a:accent3>
        <a:srgbClr val="FFFFFF"/>
      </a:accent3>
      <a:accent4>
        <a:srgbClr val="000000"/>
      </a:accent4>
      <a:accent5>
        <a:srgbClr val="AAB0B9"/>
      </a:accent5>
      <a:accent6>
        <a:srgbClr val="671B60"/>
      </a:accent6>
      <a:hlink>
        <a:srgbClr val="F26649"/>
      </a:hlink>
      <a:folHlink>
        <a:srgbClr val="EE987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5875">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Office Theme 1">
        <a:dk1>
          <a:srgbClr val="000000"/>
        </a:dk1>
        <a:lt1>
          <a:srgbClr val="FFFFFF"/>
        </a:lt1>
        <a:dk2>
          <a:srgbClr val="4A4746"/>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FFFFFF"/>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446A"/>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80008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716673"/>
        </a:dk2>
        <a:lt2>
          <a:srgbClr val="E7E7E7"/>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EE987D"/>
        </a:folHlink>
      </a:clrScheme>
      <a:clrMap bg1="lt1" tx1="dk1" bg2="lt2" tx2="dk2" accent1="accent1" accent2="accent2" accent3="accent3" accent4="accent4" accent5="accent5" accent6="accent6" hlink="hlink" folHlink="folHlink"/>
    </a:extraClrScheme>
    <a:extraClrScheme>
      <a:clrScheme name="1_Office Theme 1">
        <a:dk1>
          <a:srgbClr val="000000"/>
        </a:dk1>
        <a:lt1>
          <a:srgbClr val="FFFFFF"/>
        </a:lt1>
        <a:dk2>
          <a:srgbClr val="4A4746"/>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2">
        <a:dk1>
          <a:srgbClr val="000000"/>
        </a:dk1>
        <a:lt1>
          <a:srgbClr val="FFFFFF"/>
        </a:lt1>
        <a:dk2>
          <a:srgbClr val="FFFFFF"/>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3">
        <a:dk1>
          <a:srgbClr val="000000"/>
        </a:dk1>
        <a:lt1>
          <a:srgbClr val="FFFFFF"/>
        </a:lt1>
        <a:dk2>
          <a:srgbClr val="00446A"/>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4">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5">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800080"/>
        </a:folHlink>
      </a:clrScheme>
      <a:clrMap bg1="lt1" tx1="dk1" bg2="lt2" tx2="dk2" accent1="accent1" accent2="accent2" accent3="accent3" accent4="accent4" accent5="accent5" accent6="accent6" hlink="hlink" folHlink="folHlink"/>
    </a:extraClrScheme>
    <a:extraClrScheme>
      <a:clrScheme name="1_Office Theme 6">
        <a:dk1>
          <a:srgbClr val="000000"/>
        </a:dk1>
        <a:lt1>
          <a:srgbClr val="FFFFFF"/>
        </a:lt1>
        <a:dk2>
          <a:srgbClr val="716673"/>
        </a:dk2>
        <a:lt2>
          <a:srgbClr val="E7E7E7"/>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EE987D"/>
        </a:folHlink>
      </a:clrScheme>
      <a:clrMap bg1="lt1" tx1="dk1" bg2="lt2" tx2="dk2" accent1="accent1" accent2="accent2" accent3="accent3" accent4="accent4" accent5="accent5" accent6="accent6" hlink="hlink" folHlink="folHlink"/>
    </a:extraClrScheme>
    <a:extraClrScheme>
      <a:clrScheme name="1_Office Theme 7">
        <a:dk1>
          <a:srgbClr val="000000"/>
        </a:dk1>
        <a:lt1>
          <a:srgbClr val="FFFFFF"/>
        </a:lt1>
        <a:dk2>
          <a:srgbClr val="716673"/>
        </a:dk2>
        <a:lt2>
          <a:srgbClr val="E7E7E7"/>
        </a:lt2>
        <a:accent1>
          <a:srgbClr val="00446A"/>
        </a:accent1>
        <a:accent2>
          <a:srgbClr val="721F6B"/>
        </a:accent2>
        <a:accent3>
          <a:srgbClr val="FFFFFF"/>
        </a:accent3>
        <a:accent4>
          <a:srgbClr val="000000"/>
        </a:accent4>
        <a:accent5>
          <a:srgbClr val="AAB0B9"/>
        </a:accent5>
        <a:accent6>
          <a:srgbClr val="671B60"/>
        </a:accent6>
        <a:hlink>
          <a:srgbClr val="F26649"/>
        </a:hlink>
        <a:folHlink>
          <a:srgbClr val="EE987D"/>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resentationLoad">
  <a:themeElements>
    <a:clrScheme name="3_PresentationLoad 1">
      <a:dk1>
        <a:srgbClr val="000000"/>
      </a:dk1>
      <a:lt1>
        <a:srgbClr val="FFFFFF"/>
      </a:lt1>
      <a:dk2>
        <a:srgbClr val="A80404"/>
      </a:dk2>
      <a:lt2>
        <a:srgbClr val="737373"/>
      </a:lt2>
      <a:accent1>
        <a:srgbClr val="D03737"/>
      </a:accent1>
      <a:accent2>
        <a:srgbClr val="919191"/>
      </a:accent2>
      <a:accent3>
        <a:srgbClr val="FFFFFF"/>
      </a:accent3>
      <a:accent4>
        <a:srgbClr val="000000"/>
      </a:accent4>
      <a:accent5>
        <a:srgbClr val="E4AEAE"/>
      </a:accent5>
      <a:accent6>
        <a:srgbClr val="838383"/>
      </a:accent6>
      <a:hlink>
        <a:srgbClr val="AEAEAE"/>
      </a:hlink>
      <a:folHlink>
        <a:srgbClr val="C9C9C9"/>
      </a:folHlink>
    </a:clrScheme>
    <a:fontScheme name="3_PresentationLoad">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PresentationLoad 1">
        <a:dk1>
          <a:srgbClr val="000000"/>
        </a:dk1>
        <a:lt1>
          <a:srgbClr val="FFFFFF"/>
        </a:lt1>
        <a:dk2>
          <a:srgbClr val="A80404"/>
        </a:dk2>
        <a:lt2>
          <a:srgbClr val="737373"/>
        </a:lt2>
        <a:accent1>
          <a:srgbClr val="D03737"/>
        </a:accent1>
        <a:accent2>
          <a:srgbClr val="919191"/>
        </a:accent2>
        <a:accent3>
          <a:srgbClr val="FFFFFF"/>
        </a:accent3>
        <a:accent4>
          <a:srgbClr val="000000"/>
        </a:accent4>
        <a:accent5>
          <a:srgbClr val="E4AEAE"/>
        </a:accent5>
        <a:accent6>
          <a:srgbClr val="838383"/>
        </a:accent6>
        <a:hlink>
          <a:srgbClr val="AEAEAE"/>
        </a:hlink>
        <a:folHlink>
          <a:srgbClr val="C9C9C9"/>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1-0308_bayer_bhc-3">
  <a:themeElements>
    <a:clrScheme name="11-0308_bayer_bhc-3 1">
      <a:dk1>
        <a:srgbClr val="002864"/>
      </a:dk1>
      <a:lt1>
        <a:srgbClr val="6C7AA3"/>
      </a:lt1>
      <a:dk2>
        <a:srgbClr val="0090C5"/>
      </a:dk2>
      <a:lt2>
        <a:srgbClr val="FFFFFF"/>
      </a:lt2>
      <a:accent1>
        <a:srgbClr val="0090C5"/>
      </a:accent1>
      <a:accent2>
        <a:srgbClr val="6BC200"/>
      </a:accent2>
      <a:accent3>
        <a:srgbClr val="BABECE"/>
      </a:accent3>
      <a:accent4>
        <a:srgbClr val="002154"/>
      </a:accent4>
      <a:accent5>
        <a:srgbClr val="AAC6DF"/>
      </a:accent5>
      <a:accent6>
        <a:srgbClr val="60B000"/>
      </a:accent6>
      <a:hlink>
        <a:srgbClr val="676767"/>
      </a:hlink>
      <a:folHlink>
        <a:srgbClr val="000000"/>
      </a:folHlink>
    </a:clrScheme>
    <a:fontScheme name="11-0308_bayer_bhc-3">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rtlCol="0"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accent2"/>
            </a:solidFill>
            <a:effectLst/>
            <a:latin typeface="Arial" charset="0"/>
            <a:sym typeface="Wingdings" pitchFamily="2" charset="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chemeClr val="accent2"/>
            </a:solidFill>
            <a:effectLst/>
            <a:latin typeface="Arial" charset="0"/>
            <a:sym typeface="Wingdings" pitchFamily="2" charset="2"/>
          </a:defRPr>
        </a:defPPr>
      </a:lstStyle>
    </a:lnDef>
  </a:objectDefaults>
  <a:extraClrSchemeLst>
    <a:extraClrScheme>
      <a:clrScheme name="11-0308_bayer_bhc-3 1">
        <a:dk1>
          <a:srgbClr val="002864"/>
        </a:dk1>
        <a:lt1>
          <a:srgbClr val="6C7AA3"/>
        </a:lt1>
        <a:dk2>
          <a:srgbClr val="0090C5"/>
        </a:dk2>
        <a:lt2>
          <a:srgbClr val="FFFFFF"/>
        </a:lt2>
        <a:accent1>
          <a:srgbClr val="0090C5"/>
        </a:accent1>
        <a:accent2>
          <a:srgbClr val="6BC200"/>
        </a:accent2>
        <a:accent3>
          <a:srgbClr val="BABECE"/>
        </a:accent3>
        <a:accent4>
          <a:srgbClr val="002154"/>
        </a:accent4>
        <a:accent5>
          <a:srgbClr val="AAC6DF"/>
        </a:accent5>
        <a:accent6>
          <a:srgbClr val="60B000"/>
        </a:accent6>
        <a:hlink>
          <a:srgbClr val="676767"/>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2_Modèle par défaut">
  <a:themeElements>
    <a:clrScheme name="12_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2_Modèle par défau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2_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2_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2_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2_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2_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2_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2_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2_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2_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2_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2_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2_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4_Struttura predefinita">
  <a:themeElements>
    <a:clrScheme name="24_Struttura predefinita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4_Struttura predefinita">
      <a:majorFont>
        <a:latin typeface="Times New Roman"/>
        <a:ea typeface=""/>
        <a:cs typeface="Arial"/>
      </a:majorFont>
      <a:minorFont>
        <a:latin typeface="Times New Roman"/>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4_Struttura predefinita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4_Struttura predefinita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4_Struttura predefinita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4_Struttura predefinita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4_Struttura predefinita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4_Struttura predefinita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4_Struttura predefinita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Struttura predefinita">
  <a:themeElements>
    <a:clrScheme name="4_Struttura predefinita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4_Struttura predefinita">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200" b="1"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it-IT" sz="1200" b="1"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4_Struttura predefinita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4_Struttura predefinita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4_Struttura predefinita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4_Struttura predefinita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4_Struttura predefinita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4_Struttura predefinita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4_Struttura predefinita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0_Office Theme">
  <a:themeElements>
    <a:clrScheme name="1_Office Theme 7">
      <a:dk1>
        <a:srgbClr val="000000"/>
      </a:dk1>
      <a:lt1>
        <a:srgbClr val="FFFFFF"/>
      </a:lt1>
      <a:dk2>
        <a:srgbClr val="716673"/>
      </a:dk2>
      <a:lt2>
        <a:srgbClr val="E7E7E7"/>
      </a:lt2>
      <a:accent1>
        <a:srgbClr val="00446A"/>
      </a:accent1>
      <a:accent2>
        <a:srgbClr val="721F6B"/>
      </a:accent2>
      <a:accent3>
        <a:srgbClr val="FFFFFF"/>
      </a:accent3>
      <a:accent4>
        <a:srgbClr val="000000"/>
      </a:accent4>
      <a:accent5>
        <a:srgbClr val="AAB0B9"/>
      </a:accent5>
      <a:accent6>
        <a:srgbClr val="671B60"/>
      </a:accent6>
      <a:hlink>
        <a:srgbClr val="F26649"/>
      </a:hlink>
      <a:folHlink>
        <a:srgbClr val="EE987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5875">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Office Theme 1">
        <a:dk1>
          <a:srgbClr val="000000"/>
        </a:dk1>
        <a:lt1>
          <a:srgbClr val="FFFFFF"/>
        </a:lt1>
        <a:dk2>
          <a:srgbClr val="4A4746"/>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FFFFFF"/>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446A"/>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80008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716673"/>
        </a:dk2>
        <a:lt2>
          <a:srgbClr val="E7E7E7"/>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EE987D"/>
        </a:folHlink>
      </a:clrScheme>
      <a:clrMap bg1="lt1" tx1="dk1" bg2="lt2" tx2="dk2" accent1="accent1" accent2="accent2" accent3="accent3" accent4="accent4" accent5="accent5" accent6="accent6" hlink="hlink" folHlink="folHlink"/>
    </a:extraClrScheme>
    <a:extraClrScheme>
      <a:clrScheme name="1_Office Theme 1">
        <a:dk1>
          <a:srgbClr val="000000"/>
        </a:dk1>
        <a:lt1>
          <a:srgbClr val="FFFFFF"/>
        </a:lt1>
        <a:dk2>
          <a:srgbClr val="4A4746"/>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2">
        <a:dk1>
          <a:srgbClr val="000000"/>
        </a:dk1>
        <a:lt1>
          <a:srgbClr val="FFFFFF"/>
        </a:lt1>
        <a:dk2>
          <a:srgbClr val="FFFFFF"/>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3">
        <a:dk1>
          <a:srgbClr val="000000"/>
        </a:dk1>
        <a:lt1>
          <a:srgbClr val="FFFFFF"/>
        </a:lt1>
        <a:dk2>
          <a:srgbClr val="00446A"/>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4">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5">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800080"/>
        </a:folHlink>
      </a:clrScheme>
      <a:clrMap bg1="lt1" tx1="dk1" bg2="lt2" tx2="dk2" accent1="accent1" accent2="accent2" accent3="accent3" accent4="accent4" accent5="accent5" accent6="accent6" hlink="hlink" folHlink="folHlink"/>
    </a:extraClrScheme>
    <a:extraClrScheme>
      <a:clrScheme name="1_Office Theme 6">
        <a:dk1>
          <a:srgbClr val="000000"/>
        </a:dk1>
        <a:lt1>
          <a:srgbClr val="FFFFFF"/>
        </a:lt1>
        <a:dk2>
          <a:srgbClr val="716673"/>
        </a:dk2>
        <a:lt2>
          <a:srgbClr val="E7E7E7"/>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EE987D"/>
        </a:folHlink>
      </a:clrScheme>
      <a:clrMap bg1="lt1" tx1="dk1" bg2="lt2" tx2="dk2" accent1="accent1" accent2="accent2" accent3="accent3" accent4="accent4" accent5="accent5" accent6="accent6" hlink="hlink" folHlink="folHlink"/>
    </a:extraClrScheme>
    <a:extraClrScheme>
      <a:clrScheme name="1_Office Theme 7">
        <a:dk1>
          <a:srgbClr val="000000"/>
        </a:dk1>
        <a:lt1>
          <a:srgbClr val="FFFFFF"/>
        </a:lt1>
        <a:dk2>
          <a:srgbClr val="716673"/>
        </a:dk2>
        <a:lt2>
          <a:srgbClr val="E7E7E7"/>
        </a:lt2>
        <a:accent1>
          <a:srgbClr val="00446A"/>
        </a:accent1>
        <a:accent2>
          <a:srgbClr val="721F6B"/>
        </a:accent2>
        <a:accent3>
          <a:srgbClr val="FFFFFF"/>
        </a:accent3>
        <a:accent4>
          <a:srgbClr val="000000"/>
        </a:accent4>
        <a:accent5>
          <a:srgbClr val="AAB0B9"/>
        </a:accent5>
        <a:accent6>
          <a:srgbClr val="671B60"/>
        </a:accent6>
        <a:hlink>
          <a:srgbClr val="F26649"/>
        </a:hlink>
        <a:folHlink>
          <a:srgbClr val="EE987D"/>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sca-theme-3">
  <a:themeElements>
    <a:clrScheme name="sca-theme-3 1">
      <a:dk1>
        <a:srgbClr val="213C76"/>
      </a:dk1>
      <a:lt1>
        <a:srgbClr val="FFFFFF"/>
      </a:lt1>
      <a:dk2>
        <a:srgbClr val="1F497D"/>
      </a:dk2>
      <a:lt2>
        <a:srgbClr val="FFFFFF"/>
      </a:lt2>
      <a:accent1>
        <a:srgbClr val="3064AE"/>
      </a:accent1>
      <a:accent2>
        <a:srgbClr val="F49E00"/>
      </a:accent2>
      <a:accent3>
        <a:srgbClr val="FFFFFF"/>
      </a:accent3>
      <a:accent4>
        <a:srgbClr val="1B3264"/>
      </a:accent4>
      <a:accent5>
        <a:srgbClr val="ADB8D3"/>
      </a:accent5>
      <a:accent6>
        <a:srgbClr val="DD8F00"/>
      </a:accent6>
      <a:hlink>
        <a:srgbClr val="3C549D"/>
      </a:hlink>
      <a:folHlink>
        <a:srgbClr val="00547A"/>
      </a:folHlink>
    </a:clrScheme>
    <a:fontScheme name="sca-theme-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2400" b="0" i="0" u="none" strike="noStrike" cap="none" normalizeH="0" baseline="0" smtClean="0">
            <a:ln>
              <a:noFill/>
            </a:ln>
            <a:solidFill>
              <a:schemeClr val="bg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2400" b="0" i="0" u="none" strike="noStrike" cap="none" normalizeH="0" baseline="0" smtClean="0">
            <a:ln>
              <a:noFill/>
            </a:ln>
            <a:solidFill>
              <a:schemeClr val="bg1"/>
            </a:solidFill>
            <a:effectLst/>
            <a:latin typeface="Times New Roman" pitchFamily="18" charset="0"/>
          </a:defRPr>
        </a:defPPr>
      </a:lstStyle>
    </a:lnDef>
  </a:objectDefaults>
  <a:extraClrSchemeLst>
    <a:extraClrScheme>
      <a:clrScheme name="sca-theme-3 1">
        <a:dk1>
          <a:srgbClr val="213C76"/>
        </a:dk1>
        <a:lt1>
          <a:srgbClr val="FFFFFF"/>
        </a:lt1>
        <a:dk2>
          <a:srgbClr val="1F497D"/>
        </a:dk2>
        <a:lt2>
          <a:srgbClr val="FFFFFF"/>
        </a:lt2>
        <a:accent1>
          <a:srgbClr val="3064AE"/>
        </a:accent1>
        <a:accent2>
          <a:srgbClr val="F49E00"/>
        </a:accent2>
        <a:accent3>
          <a:srgbClr val="FFFFFF"/>
        </a:accent3>
        <a:accent4>
          <a:srgbClr val="1B3264"/>
        </a:accent4>
        <a:accent5>
          <a:srgbClr val="ADB8D3"/>
        </a:accent5>
        <a:accent6>
          <a:srgbClr val="DD8F00"/>
        </a:accent6>
        <a:hlink>
          <a:srgbClr val="3C549D"/>
        </a:hlink>
        <a:folHlink>
          <a:srgbClr val="00547A"/>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2_Office Theme">
  <a:themeElements>
    <a:clrScheme name="1_Office Theme 7">
      <a:dk1>
        <a:srgbClr val="000000"/>
      </a:dk1>
      <a:lt1>
        <a:srgbClr val="FFFFFF"/>
      </a:lt1>
      <a:dk2>
        <a:srgbClr val="716673"/>
      </a:dk2>
      <a:lt2>
        <a:srgbClr val="E7E7E7"/>
      </a:lt2>
      <a:accent1>
        <a:srgbClr val="00446A"/>
      </a:accent1>
      <a:accent2>
        <a:srgbClr val="721F6B"/>
      </a:accent2>
      <a:accent3>
        <a:srgbClr val="FFFFFF"/>
      </a:accent3>
      <a:accent4>
        <a:srgbClr val="000000"/>
      </a:accent4>
      <a:accent5>
        <a:srgbClr val="AAB0B9"/>
      </a:accent5>
      <a:accent6>
        <a:srgbClr val="671B60"/>
      </a:accent6>
      <a:hlink>
        <a:srgbClr val="F26649"/>
      </a:hlink>
      <a:folHlink>
        <a:srgbClr val="EE987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5875">
          <a:solidFill>
            <a:schemeClr val="tx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Office Theme 1">
        <a:dk1>
          <a:srgbClr val="000000"/>
        </a:dk1>
        <a:lt1>
          <a:srgbClr val="FFFFFF"/>
        </a:lt1>
        <a:dk2>
          <a:srgbClr val="4A4746"/>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FFFFFF"/>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446A"/>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80008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716673"/>
        </a:dk2>
        <a:lt2>
          <a:srgbClr val="E7E7E7"/>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EE987D"/>
        </a:folHlink>
      </a:clrScheme>
      <a:clrMap bg1="lt1" tx1="dk1" bg2="lt2" tx2="dk2" accent1="accent1" accent2="accent2" accent3="accent3" accent4="accent4" accent5="accent5" accent6="accent6" hlink="hlink" folHlink="folHlink"/>
    </a:extraClrScheme>
    <a:extraClrScheme>
      <a:clrScheme name="1_Office Theme 1">
        <a:dk1>
          <a:srgbClr val="000000"/>
        </a:dk1>
        <a:lt1>
          <a:srgbClr val="FFFFFF"/>
        </a:lt1>
        <a:dk2>
          <a:srgbClr val="4A4746"/>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2">
        <a:dk1>
          <a:srgbClr val="000000"/>
        </a:dk1>
        <a:lt1>
          <a:srgbClr val="FFFFFF"/>
        </a:lt1>
        <a:dk2>
          <a:srgbClr val="FFFFFF"/>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3">
        <a:dk1>
          <a:srgbClr val="000000"/>
        </a:dk1>
        <a:lt1>
          <a:srgbClr val="FFFFFF"/>
        </a:lt1>
        <a:dk2>
          <a:srgbClr val="00446A"/>
        </a:dk2>
        <a:lt2>
          <a:srgbClr val="BFBFBF"/>
        </a:lt2>
        <a:accent1>
          <a:srgbClr val="EE987D"/>
        </a:accent1>
        <a:accent2>
          <a:srgbClr val="7E2377"/>
        </a:accent2>
        <a:accent3>
          <a:srgbClr val="FFFFFF"/>
        </a:accent3>
        <a:accent4>
          <a:srgbClr val="000000"/>
        </a:accent4>
        <a:accent5>
          <a:srgbClr val="F5CABF"/>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4">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0000FF"/>
        </a:hlink>
        <a:folHlink>
          <a:srgbClr val="800080"/>
        </a:folHlink>
      </a:clrScheme>
      <a:clrMap bg1="lt1" tx1="dk1" bg2="lt2" tx2="dk2" accent1="accent1" accent2="accent2" accent3="accent3" accent4="accent4" accent5="accent5" accent6="accent6" hlink="hlink" folHlink="folHlink"/>
    </a:extraClrScheme>
    <a:extraClrScheme>
      <a:clrScheme name="1_Office Theme 5">
        <a:dk1>
          <a:srgbClr val="000000"/>
        </a:dk1>
        <a:lt1>
          <a:srgbClr val="FFFFFF"/>
        </a:lt1>
        <a:dk2>
          <a:srgbClr val="00446A"/>
        </a:dk2>
        <a:lt2>
          <a:srgbClr val="BFBFBF"/>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800080"/>
        </a:folHlink>
      </a:clrScheme>
      <a:clrMap bg1="lt1" tx1="dk1" bg2="lt2" tx2="dk2" accent1="accent1" accent2="accent2" accent3="accent3" accent4="accent4" accent5="accent5" accent6="accent6" hlink="hlink" folHlink="folHlink"/>
    </a:extraClrScheme>
    <a:extraClrScheme>
      <a:clrScheme name="1_Office Theme 6">
        <a:dk1>
          <a:srgbClr val="000000"/>
        </a:dk1>
        <a:lt1>
          <a:srgbClr val="FFFFFF"/>
        </a:lt1>
        <a:dk2>
          <a:srgbClr val="716673"/>
        </a:dk2>
        <a:lt2>
          <a:srgbClr val="E7E7E7"/>
        </a:lt2>
        <a:accent1>
          <a:srgbClr val="00446A"/>
        </a:accent1>
        <a:accent2>
          <a:srgbClr val="7E2377"/>
        </a:accent2>
        <a:accent3>
          <a:srgbClr val="FFFFFF"/>
        </a:accent3>
        <a:accent4>
          <a:srgbClr val="000000"/>
        </a:accent4>
        <a:accent5>
          <a:srgbClr val="AAB0B9"/>
        </a:accent5>
        <a:accent6>
          <a:srgbClr val="721F6B"/>
        </a:accent6>
        <a:hlink>
          <a:srgbClr val="F26649"/>
        </a:hlink>
        <a:folHlink>
          <a:srgbClr val="EE987D"/>
        </a:folHlink>
      </a:clrScheme>
      <a:clrMap bg1="lt1" tx1="dk1" bg2="lt2" tx2="dk2" accent1="accent1" accent2="accent2" accent3="accent3" accent4="accent4" accent5="accent5" accent6="accent6" hlink="hlink" folHlink="folHlink"/>
    </a:extraClrScheme>
    <a:extraClrScheme>
      <a:clrScheme name="1_Office Theme 7">
        <a:dk1>
          <a:srgbClr val="000000"/>
        </a:dk1>
        <a:lt1>
          <a:srgbClr val="FFFFFF"/>
        </a:lt1>
        <a:dk2>
          <a:srgbClr val="716673"/>
        </a:dk2>
        <a:lt2>
          <a:srgbClr val="E7E7E7"/>
        </a:lt2>
        <a:accent1>
          <a:srgbClr val="00446A"/>
        </a:accent1>
        <a:accent2>
          <a:srgbClr val="721F6B"/>
        </a:accent2>
        <a:accent3>
          <a:srgbClr val="FFFFFF"/>
        </a:accent3>
        <a:accent4>
          <a:srgbClr val="000000"/>
        </a:accent4>
        <a:accent5>
          <a:srgbClr val="AAB0B9"/>
        </a:accent5>
        <a:accent6>
          <a:srgbClr val="671B60"/>
        </a:accent6>
        <a:hlink>
          <a:srgbClr val="F26649"/>
        </a:hlink>
        <a:folHlink>
          <a:srgbClr val="EE987D"/>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6_Default Design">
  <a:themeElements>
    <a:clrScheme name="Custom 3">
      <a:dk1>
        <a:srgbClr val="00446A"/>
      </a:dk1>
      <a:lt1>
        <a:srgbClr val="FFFFFF"/>
      </a:lt1>
      <a:dk2>
        <a:srgbClr val="00446A"/>
      </a:dk2>
      <a:lt2>
        <a:srgbClr val="717073"/>
      </a:lt2>
      <a:accent1>
        <a:srgbClr val="F26649"/>
      </a:accent1>
      <a:accent2>
        <a:srgbClr val="717073"/>
      </a:accent2>
      <a:accent3>
        <a:srgbClr val="FFCF01"/>
      </a:accent3>
      <a:accent4>
        <a:srgbClr val="7E2377"/>
      </a:accent4>
      <a:accent5>
        <a:srgbClr val="F7B8B1"/>
      </a:accent5>
      <a:accent6>
        <a:srgbClr val="E25326"/>
      </a:accent6>
      <a:hlink>
        <a:srgbClr val="FFCF01"/>
      </a:hlink>
      <a:folHlink>
        <a:srgbClr val="F6072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F26649"/>
        </a:accent1>
        <a:accent2>
          <a:srgbClr val="00446A"/>
        </a:accent2>
        <a:accent3>
          <a:srgbClr val="FFFFFF"/>
        </a:accent3>
        <a:accent4>
          <a:srgbClr val="000000"/>
        </a:accent4>
        <a:accent5>
          <a:srgbClr val="F7B8B1"/>
        </a:accent5>
        <a:accent6>
          <a:srgbClr val="003D5F"/>
        </a:accent6>
        <a:hlink>
          <a:srgbClr val="FFCF01"/>
        </a:hlink>
        <a:folHlink>
          <a:srgbClr val="F60723"/>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1612</TotalTime>
  <Words>2095</Words>
  <Application>Microsoft Office PowerPoint</Application>
  <PresentationFormat>Presentazione su schermo (4:3)</PresentationFormat>
  <Paragraphs>417</Paragraphs>
  <Slides>43</Slides>
  <Notes>9</Notes>
  <HiddenSlides>0</HiddenSlides>
  <MMClips>0</MMClips>
  <ScaleCrop>false</ScaleCrop>
  <HeadingPairs>
    <vt:vector size="8" baseType="variant">
      <vt:variant>
        <vt:lpstr>Caratteri utilizzati</vt:lpstr>
      </vt:variant>
      <vt:variant>
        <vt:i4>12</vt:i4>
      </vt:variant>
      <vt:variant>
        <vt:lpstr>Tema</vt:lpstr>
      </vt:variant>
      <vt:variant>
        <vt:i4>12</vt:i4>
      </vt:variant>
      <vt:variant>
        <vt:lpstr>Server OLE incorporati</vt:lpstr>
      </vt:variant>
      <vt:variant>
        <vt:i4>1</vt:i4>
      </vt:variant>
      <vt:variant>
        <vt:lpstr>Titoli diapositive</vt:lpstr>
      </vt:variant>
      <vt:variant>
        <vt:i4>43</vt:i4>
      </vt:variant>
    </vt:vector>
  </HeadingPairs>
  <TitlesOfParts>
    <vt:vector size="68" baseType="lpstr">
      <vt:lpstr>ＭＳ Ｐゴシック</vt:lpstr>
      <vt:lpstr>ＭＳ Ｐゴシック</vt:lpstr>
      <vt:lpstr>Arial</vt:lpstr>
      <vt:lpstr>Calibri</vt:lpstr>
      <vt:lpstr>Calibri Light</vt:lpstr>
      <vt:lpstr>Comic Sans MS</vt:lpstr>
      <vt:lpstr>Garamond</vt:lpstr>
      <vt:lpstr>Helvetica Light</vt:lpstr>
      <vt:lpstr>Symbol</vt:lpstr>
      <vt:lpstr>Times New Roman</vt:lpstr>
      <vt:lpstr>Trebuchet MS</vt:lpstr>
      <vt:lpstr>Wingdings</vt:lpstr>
      <vt:lpstr>Tema di Office</vt:lpstr>
      <vt:lpstr>2_Struttura predefinita</vt:lpstr>
      <vt:lpstr>12_Modèle par défaut</vt:lpstr>
      <vt:lpstr>24_Struttura predefinita</vt:lpstr>
      <vt:lpstr>6_Struttura predefinita</vt:lpstr>
      <vt:lpstr>10_Office Theme</vt:lpstr>
      <vt:lpstr>2_sca-theme-3</vt:lpstr>
      <vt:lpstr>12_Office Theme</vt:lpstr>
      <vt:lpstr>6_Default Design</vt:lpstr>
      <vt:lpstr>13_Office Theme</vt:lpstr>
      <vt:lpstr>4_PresentationLoad</vt:lpstr>
      <vt:lpstr>11-0308_bayer_bhc-3</vt:lpstr>
      <vt:lpstr>think-cell Slide</vt:lpstr>
      <vt:lpstr>News in molecular biology of bone metastases</vt:lpstr>
      <vt:lpstr>My disclosures</vt:lpstr>
      <vt:lpstr>1. High bone turnover increases the risk of new bone metastases and of skeletal progression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2. Osteocytes have an important role in bone turnover regulation and in the metastatization process </vt:lpstr>
      <vt:lpstr>Presentazione standard di PowerPoint</vt:lpstr>
      <vt:lpstr>Osteocytic Connexin hemichannel suppress breast cancer growth and bone metastases</vt:lpstr>
      <vt:lpstr>3. Osteobasts have an important role in the bone homing of cancer cells</vt:lpstr>
      <vt:lpstr>Presentazione standard di PowerPoint</vt:lpstr>
      <vt:lpstr>Presentazione standard di PowerPoint</vt:lpstr>
      <vt:lpstr>RANK is expressed in humans by cancer cells both at primary tumor and at bone metastases</vt:lpstr>
      <vt:lpstr>RANK expression in primary tumours is associated with bone metastasis occurrence in breast cancer patients</vt:lpstr>
      <vt:lpstr>Presentazione standard di PowerPoint</vt:lpstr>
      <vt:lpstr>Presentazione standard di PowerPoint</vt:lpstr>
      <vt:lpstr>Presentazione standard di PowerPoint</vt:lpstr>
      <vt:lpstr>Presentazione standard di PowerPoint</vt:lpstr>
      <vt:lpstr>4. Role of bone microenvironment bone cells</vt:lpstr>
      <vt:lpstr>Interactions between cancer cells and bone microenvironment cells </vt:lpstr>
      <vt:lpstr>The cells of preneoplastic niche</vt:lpstr>
      <vt:lpstr>5. Role of preneopastic osteoblastic niche</vt:lpstr>
      <vt:lpstr>Presentazione standard di PowerPoint</vt:lpstr>
      <vt:lpstr>Presentazione standard di PowerPoint</vt:lpstr>
      <vt:lpstr>Presentazione standard di PowerPoint</vt:lpstr>
      <vt:lpstr>6. The vicious cycle in the  “modern era”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n summary</vt:lpstr>
      <vt:lpstr>I believe in a “bone revolution” </vt:lpstr>
      <vt:lpstr>Thank you for your Atten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VAIO</dc:creator>
  <cp:lastModifiedBy>Santini Daniele</cp:lastModifiedBy>
  <cp:revision>53</cp:revision>
  <dcterms:created xsi:type="dcterms:W3CDTF">2015-11-05T18:43:08Z</dcterms:created>
  <dcterms:modified xsi:type="dcterms:W3CDTF">2017-05-18T05:45:49Z</dcterms:modified>
</cp:coreProperties>
</file>